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8.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9.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10.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11.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ags/tag14.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15.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16.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1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9" r:id="rId4"/>
    <p:sldMasterId id="2147483803" r:id="rId5"/>
  </p:sldMasterIdLst>
  <p:notesMasterIdLst>
    <p:notesMasterId r:id="rId23"/>
  </p:notesMasterIdLst>
  <p:handoutMasterIdLst>
    <p:handoutMasterId r:id="rId24"/>
  </p:handoutMasterIdLst>
  <p:sldIdLst>
    <p:sldId id="1156" r:id="rId6"/>
    <p:sldId id="281" r:id="rId7"/>
    <p:sldId id="284" r:id="rId8"/>
    <p:sldId id="1159" r:id="rId9"/>
    <p:sldId id="1157" r:id="rId10"/>
    <p:sldId id="1160" r:id="rId11"/>
    <p:sldId id="1161" r:id="rId12"/>
    <p:sldId id="1163" r:id="rId13"/>
    <p:sldId id="1176" r:id="rId14"/>
    <p:sldId id="1165" r:id="rId15"/>
    <p:sldId id="1166" r:id="rId16"/>
    <p:sldId id="1167" r:id="rId17"/>
    <p:sldId id="1171" r:id="rId18"/>
    <p:sldId id="1173" r:id="rId19"/>
    <p:sldId id="1174" r:id="rId20"/>
    <p:sldId id="531" r:id="rId21"/>
    <p:sldId id="278" r:id="rId22"/>
  </p:sldIdLst>
  <p:sldSz cx="12192000" cy="6858000"/>
  <p:notesSz cx="6865938" cy="9998075"/>
  <p:custDataLst>
    <p:tags r:id="rId25"/>
  </p:custDataLst>
  <p:defaultTextStyle>
    <a:defPPr>
      <a:defRPr lang="en-US"/>
    </a:defPPr>
    <a:lvl1pPr marL="0" algn="l" defTabSz="768004" rtl="0" eaLnBrk="1" latinLnBrk="0" hangingPunct="1">
      <a:defRPr sz="1512" kern="1200">
        <a:solidFill>
          <a:schemeClr val="tx1"/>
        </a:solidFill>
        <a:latin typeface="+mn-lt"/>
        <a:ea typeface="+mn-ea"/>
        <a:cs typeface="+mn-cs"/>
      </a:defRPr>
    </a:lvl1pPr>
    <a:lvl2pPr marL="384002" algn="l" defTabSz="768004" rtl="0" eaLnBrk="1" latinLnBrk="0" hangingPunct="1">
      <a:defRPr sz="1512" kern="1200">
        <a:solidFill>
          <a:schemeClr val="tx1"/>
        </a:solidFill>
        <a:latin typeface="+mn-lt"/>
        <a:ea typeface="+mn-ea"/>
        <a:cs typeface="+mn-cs"/>
      </a:defRPr>
    </a:lvl2pPr>
    <a:lvl3pPr marL="768004" algn="l" defTabSz="768004" rtl="0" eaLnBrk="1" latinLnBrk="0" hangingPunct="1">
      <a:defRPr sz="1512" kern="1200">
        <a:solidFill>
          <a:schemeClr val="tx1"/>
        </a:solidFill>
        <a:latin typeface="+mn-lt"/>
        <a:ea typeface="+mn-ea"/>
        <a:cs typeface="+mn-cs"/>
      </a:defRPr>
    </a:lvl3pPr>
    <a:lvl4pPr marL="1152006" algn="l" defTabSz="768004" rtl="0" eaLnBrk="1" latinLnBrk="0" hangingPunct="1">
      <a:defRPr sz="1512" kern="1200">
        <a:solidFill>
          <a:schemeClr val="tx1"/>
        </a:solidFill>
        <a:latin typeface="+mn-lt"/>
        <a:ea typeface="+mn-ea"/>
        <a:cs typeface="+mn-cs"/>
      </a:defRPr>
    </a:lvl4pPr>
    <a:lvl5pPr marL="1536008" algn="l" defTabSz="768004" rtl="0" eaLnBrk="1" latinLnBrk="0" hangingPunct="1">
      <a:defRPr sz="1512" kern="1200">
        <a:solidFill>
          <a:schemeClr val="tx1"/>
        </a:solidFill>
        <a:latin typeface="+mn-lt"/>
        <a:ea typeface="+mn-ea"/>
        <a:cs typeface="+mn-cs"/>
      </a:defRPr>
    </a:lvl5pPr>
    <a:lvl6pPr marL="1920010" algn="l" defTabSz="768004" rtl="0" eaLnBrk="1" latinLnBrk="0" hangingPunct="1">
      <a:defRPr sz="1512" kern="1200">
        <a:solidFill>
          <a:schemeClr val="tx1"/>
        </a:solidFill>
        <a:latin typeface="+mn-lt"/>
        <a:ea typeface="+mn-ea"/>
        <a:cs typeface="+mn-cs"/>
      </a:defRPr>
    </a:lvl6pPr>
    <a:lvl7pPr marL="2304011" algn="l" defTabSz="768004" rtl="0" eaLnBrk="1" latinLnBrk="0" hangingPunct="1">
      <a:defRPr sz="1512" kern="1200">
        <a:solidFill>
          <a:schemeClr val="tx1"/>
        </a:solidFill>
        <a:latin typeface="+mn-lt"/>
        <a:ea typeface="+mn-ea"/>
        <a:cs typeface="+mn-cs"/>
      </a:defRPr>
    </a:lvl7pPr>
    <a:lvl8pPr marL="2688013" algn="l" defTabSz="768004" rtl="0" eaLnBrk="1" latinLnBrk="0" hangingPunct="1">
      <a:defRPr sz="1512" kern="1200">
        <a:solidFill>
          <a:schemeClr val="tx1"/>
        </a:solidFill>
        <a:latin typeface="+mn-lt"/>
        <a:ea typeface="+mn-ea"/>
        <a:cs typeface="+mn-cs"/>
      </a:defRPr>
    </a:lvl8pPr>
    <a:lvl9pPr marL="3072016" algn="l" defTabSz="768004" rtl="0" eaLnBrk="1" latinLnBrk="0" hangingPunct="1">
      <a:defRPr sz="1512" kern="1200">
        <a:solidFill>
          <a:schemeClr val="tx1"/>
        </a:solidFill>
        <a:latin typeface="+mn-lt"/>
        <a:ea typeface="+mn-ea"/>
        <a:cs typeface="+mn-cs"/>
      </a:defRPr>
    </a:lvl9pPr>
  </p:defaultTextStyle>
  <p:extLst>
    <p:ext uri="{EFAFB233-063F-42B5-8137-9DF3F51BA10A}">
      <p15:sldGuideLst xmlns:p15="http://schemas.microsoft.com/office/powerpoint/2012/main">
        <p15:guide id="46" pos="3908" userDrawn="1">
          <p15:clr>
            <a:srgbClr val="A4A3A4"/>
          </p15:clr>
        </p15:guide>
        <p15:guide id="47" pos="2116" userDrawn="1">
          <p15:clr>
            <a:srgbClr val="A4A3A4"/>
          </p15:clr>
        </p15:guide>
        <p15:guide id="48" pos="2593" userDrawn="1">
          <p15:clr>
            <a:srgbClr val="A4A3A4"/>
          </p15:clr>
        </p15:guide>
        <p15:guide id="49" orient="horz" pos="354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tanaska Mileva" initials="AM" lastIdx="1" clrIdx="0">
    <p:extLst>
      <p:ext uri="{19B8F6BF-5375-455C-9EA6-DF929625EA0E}">
        <p15:presenceInfo xmlns:p15="http://schemas.microsoft.com/office/powerpoint/2012/main" userId="385e76e31c1f2a63" providerId="Windows Live"/>
      </p:ext>
    </p:extLst>
  </p:cmAuthor>
  <p:cmAuthor id="2" name="Victor Marinov" initials="VM" lastIdx="1" clrIdx="1">
    <p:extLst>
      <p:ext uri="{19B8F6BF-5375-455C-9EA6-DF929625EA0E}">
        <p15:presenceInfo xmlns:p15="http://schemas.microsoft.com/office/powerpoint/2012/main" userId="S::victor@quikfox.onmicrosoft.com::41e92a35-437e-4f7c-b3c7-59f5d2213016" providerId="AD"/>
      </p:ext>
    </p:extLst>
  </p:cmAuthor>
  <p:cmAuthor id="3" name="Sabrina Blättler" initials="SB" lastIdx="2" clrIdx="2">
    <p:extLst>
      <p:ext uri="{19B8F6BF-5375-455C-9EA6-DF929625EA0E}">
        <p15:presenceInfo xmlns:p15="http://schemas.microsoft.com/office/powerpoint/2012/main" userId="S::SBlaettler@SBlaettler.onmicrosoft.com::13b2c9ad-31d8-44e0-bcaf-a2fb107128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CB4"/>
    <a:srgbClr val="FA9E27"/>
    <a:srgbClr val="0E59D8"/>
    <a:srgbClr val="78B4FA"/>
    <a:srgbClr val="D8E6F8"/>
    <a:srgbClr val="8AB4EA"/>
    <a:srgbClr val="75195C"/>
    <a:srgbClr val="E7E6E6"/>
    <a:srgbClr val="FFC333"/>
    <a:srgbClr val="1640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4D3107-62EA-43A3-84D5-68CF6DBAF7CA}" v="35" dt="2023-07-18T12:44:21.821"/>
    <p1510:client id="{C9C7586F-518A-45E1-BB97-308E1E05B9A0}" vWet="4" dt="2023-07-18T12:43:11.748"/>
  </p1510:revLst>
</p1510:revInfo>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568" autoAdjust="0"/>
    <p:restoredTop sz="96054" autoAdjust="0"/>
  </p:normalViewPr>
  <p:slideViewPr>
    <p:cSldViewPr snapToGrid="0">
      <p:cViewPr varScale="1">
        <p:scale>
          <a:sx n="111" d="100"/>
          <a:sy n="111" d="100"/>
        </p:scale>
        <p:origin x="672" y="96"/>
      </p:cViewPr>
      <p:guideLst>
        <p:guide pos="3908"/>
        <p:guide pos="2116"/>
        <p:guide pos="2593"/>
        <p:guide orient="horz" pos="3543"/>
      </p:guideLst>
    </p:cSldViewPr>
  </p:slideViewPr>
  <p:outlineViewPr>
    <p:cViewPr>
      <p:scale>
        <a:sx n="33" d="100"/>
        <a:sy n="33" d="100"/>
      </p:scale>
      <p:origin x="0" y="-55800"/>
    </p:cViewPr>
  </p:outlin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ura Colledani" userId="cd6b0277-8609-4ccb-bdcf-74f48eefb2cc" providerId="ADAL" clId="{914D3107-62EA-43A3-84D5-68CF6DBAF7CA}"/>
    <pc:docChg chg="modSld">
      <pc:chgData name="Laura Colledani" userId="cd6b0277-8609-4ccb-bdcf-74f48eefb2cc" providerId="ADAL" clId="{914D3107-62EA-43A3-84D5-68CF6DBAF7CA}" dt="2023-07-18T13:24:25.427" v="44" actId="20577"/>
      <pc:docMkLst>
        <pc:docMk/>
      </pc:docMkLst>
      <pc:sldChg chg="modSp mod">
        <pc:chgData name="Laura Colledani" userId="cd6b0277-8609-4ccb-bdcf-74f48eefb2cc" providerId="ADAL" clId="{914D3107-62EA-43A3-84D5-68CF6DBAF7CA}" dt="2023-07-18T13:24:11.931" v="25" actId="20577"/>
        <pc:sldMkLst>
          <pc:docMk/>
          <pc:sldMk cId="473929483" sldId="1161"/>
        </pc:sldMkLst>
        <pc:spChg chg="mod">
          <ac:chgData name="Laura Colledani" userId="cd6b0277-8609-4ccb-bdcf-74f48eefb2cc" providerId="ADAL" clId="{914D3107-62EA-43A3-84D5-68CF6DBAF7CA}" dt="2023-07-18T13:24:11.931" v="25" actId="20577"/>
          <ac:spMkLst>
            <pc:docMk/>
            <pc:sldMk cId="473929483" sldId="1161"/>
            <ac:spMk id="12" creationId="{CA6F02A4-D978-41C9-9C79-EEA6C42D7CCB}"/>
          </ac:spMkLst>
        </pc:spChg>
      </pc:sldChg>
      <pc:sldChg chg="modSp mod">
        <pc:chgData name="Laura Colledani" userId="cd6b0277-8609-4ccb-bdcf-74f48eefb2cc" providerId="ADAL" clId="{914D3107-62EA-43A3-84D5-68CF6DBAF7CA}" dt="2023-07-18T13:24:25.427" v="44" actId="20577"/>
        <pc:sldMkLst>
          <pc:docMk/>
          <pc:sldMk cId="930216864" sldId="1163"/>
        </pc:sldMkLst>
        <pc:spChg chg="mod">
          <ac:chgData name="Laura Colledani" userId="cd6b0277-8609-4ccb-bdcf-74f48eefb2cc" providerId="ADAL" clId="{914D3107-62EA-43A3-84D5-68CF6DBAF7CA}" dt="2023-07-18T13:24:25.427" v="44" actId="20577"/>
          <ac:spMkLst>
            <pc:docMk/>
            <pc:sldMk cId="930216864" sldId="1163"/>
            <ac:spMk id="12" creationId="{CA6F02A4-D978-41C9-9C79-EEA6C42D7CCB}"/>
          </ac:spMkLst>
        </pc:spChg>
      </pc:sldChg>
      <pc:sldChg chg="modSp mod">
        <pc:chgData name="Laura Colledani" userId="cd6b0277-8609-4ccb-bdcf-74f48eefb2cc" providerId="ADAL" clId="{914D3107-62EA-43A3-84D5-68CF6DBAF7CA}" dt="2023-07-18T12:44:21.821" v="4" actId="20577"/>
        <pc:sldMkLst>
          <pc:docMk/>
          <pc:sldMk cId="3883359406" sldId="1176"/>
        </pc:sldMkLst>
        <pc:spChg chg="mod">
          <ac:chgData name="Laura Colledani" userId="cd6b0277-8609-4ccb-bdcf-74f48eefb2cc" providerId="ADAL" clId="{914D3107-62EA-43A3-84D5-68CF6DBAF7CA}" dt="2023-07-18T12:44:21.821" v="4" actId="20577"/>
          <ac:spMkLst>
            <pc:docMk/>
            <pc:sldMk cId="3883359406" sldId="1176"/>
            <ac:spMk id="12" creationId="{CA6F02A4-D978-41C9-9C79-EEA6C42D7CCB}"/>
          </ac:spMkLst>
        </pc:spChg>
      </pc:sldChg>
    </pc:docChg>
  </pc:docChgLst>
  <pc:docChgLst>
    <pc:chgData name="Laura" userId="cd6b0277-8609-4ccb-bdcf-74f48eefb2cc" providerId="ADAL" clId="{914D3107-62EA-43A3-84D5-68CF6DBAF7CA}"/>
    <pc:docChg chg="undo custSel addSld delSld modSld sldOrd">
      <pc:chgData name="Laura" userId="cd6b0277-8609-4ccb-bdcf-74f48eefb2cc" providerId="ADAL" clId="{914D3107-62EA-43A3-84D5-68CF6DBAF7CA}" dt="2023-07-13T15:24:08.622" v="1229" actId="20577"/>
      <pc:docMkLst>
        <pc:docMk/>
      </pc:docMkLst>
      <pc:sldChg chg="delSp mod">
        <pc:chgData name="Laura" userId="cd6b0277-8609-4ccb-bdcf-74f48eefb2cc" providerId="ADAL" clId="{914D3107-62EA-43A3-84D5-68CF6DBAF7CA}" dt="2023-07-13T12:11:48.521" v="601" actId="478"/>
        <pc:sldMkLst>
          <pc:docMk/>
          <pc:sldMk cId="3846017887" sldId="281"/>
        </pc:sldMkLst>
        <pc:spChg chg="del">
          <ac:chgData name="Laura" userId="cd6b0277-8609-4ccb-bdcf-74f48eefb2cc" providerId="ADAL" clId="{914D3107-62EA-43A3-84D5-68CF6DBAF7CA}" dt="2023-07-13T12:11:48.521" v="601" actId="478"/>
          <ac:spMkLst>
            <pc:docMk/>
            <pc:sldMk cId="3846017887" sldId="281"/>
            <ac:spMk id="8" creationId="{734523C9-60BC-FE09-72BB-EECAEB4B9497}"/>
          </ac:spMkLst>
        </pc:spChg>
      </pc:sldChg>
      <pc:sldChg chg="modSp mod">
        <pc:chgData name="Laura" userId="cd6b0277-8609-4ccb-bdcf-74f48eefb2cc" providerId="ADAL" clId="{914D3107-62EA-43A3-84D5-68CF6DBAF7CA}" dt="2023-07-13T15:24:08.622" v="1229" actId="20577"/>
        <pc:sldMkLst>
          <pc:docMk/>
          <pc:sldMk cId="1924962639" sldId="284"/>
        </pc:sldMkLst>
        <pc:spChg chg="mod">
          <ac:chgData name="Laura" userId="cd6b0277-8609-4ccb-bdcf-74f48eefb2cc" providerId="ADAL" clId="{914D3107-62EA-43A3-84D5-68CF6DBAF7CA}" dt="2023-07-13T15:24:08.622" v="1229" actId="20577"/>
          <ac:spMkLst>
            <pc:docMk/>
            <pc:sldMk cId="1924962639" sldId="284"/>
            <ac:spMk id="8" creationId="{6F25936B-626C-4999-BCF4-145FEDB9A83A}"/>
          </ac:spMkLst>
        </pc:spChg>
      </pc:sldChg>
      <pc:sldChg chg="modSp mod">
        <pc:chgData name="Laura" userId="cd6b0277-8609-4ccb-bdcf-74f48eefb2cc" providerId="ADAL" clId="{914D3107-62EA-43A3-84D5-68CF6DBAF7CA}" dt="2023-07-13T12:08:06.274" v="428" actId="20577"/>
        <pc:sldMkLst>
          <pc:docMk/>
          <pc:sldMk cId="3642483616" sldId="531"/>
        </pc:sldMkLst>
        <pc:spChg chg="mod">
          <ac:chgData name="Laura" userId="cd6b0277-8609-4ccb-bdcf-74f48eefb2cc" providerId="ADAL" clId="{914D3107-62EA-43A3-84D5-68CF6DBAF7CA}" dt="2023-07-13T12:08:06.274" v="428" actId="20577"/>
          <ac:spMkLst>
            <pc:docMk/>
            <pc:sldMk cId="3642483616" sldId="531"/>
            <ac:spMk id="4" creationId="{A26F7996-FC1D-4D51-B1C4-C03CB6A4F598}"/>
          </ac:spMkLst>
        </pc:spChg>
      </pc:sldChg>
      <pc:sldChg chg="del">
        <pc:chgData name="Laura" userId="cd6b0277-8609-4ccb-bdcf-74f48eefb2cc" providerId="ADAL" clId="{914D3107-62EA-43A3-84D5-68CF6DBAF7CA}" dt="2023-07-13T12:10:53.782" v="575" actId="47"/>
        <pc:sldMkLst>
          <pc:docMk/>
          <pc:sldMk cId="1187312005" sldId="537"/>
        </pc:sldMkLst>
      </pc:sldChg>
      <pc:sldChg chg="del">
        <pc:chgData name="Laura" userId="cd6b0277-8609-4ccb-bdcf-74f48eefb2cc" providerId="ADAL" clId="{914D3107-62EA-43A3-84D5-68CF6DBAF7CA}" dt="2023-07-13T12:10:53.782" v="575" actId="47"/>
        <pc:sldMkLst>
          <pc:docMk/>
          <pc:sldMk cId="1360999532" sldId="538"/>
        </pc:sldMkLst>
      </pc:sldChg>
      <pc:sldChg chg="del">
        <pc:chgData name="Laura" userId="cd6b0277-8609-4ccb-bdcf-74f48eefb2cc" providerId="ADAL" clId="{914D3107-62EA-43A3-84D5-68CF6DBAF7CA}" dt="2023-07-13T12:10:53.782" v="575" actId="47"/>
        <pc:sldMkLst>
          <pc:docMk/>
          <pc:sldMk cId="230046780" sldId="539"/>
        </pc:sldMkLst>
      </pc:sldChg>
      <pc:sldChg chg="delSp modSp mod">
        <pc:chgData name="Laura" userId="cd6b0277-8609-4ccb-bdcf-74f48eefb2cc" providerId="ADAL" clId="{914D3107-62EA-43A3-84D5-68CF6DBAF7CA}" dt="2023-07-13T12:11:34.581" v="598" actId="6549"/>
        <pc:sldMkLst>
          <pc:docMk/>
          <pc:sldMk cId="1313017999" sldId="1156"/>
        </pc:sldMkLst>
        <pc:spChg chg="mod">
          <ac:chgData name="Laura" userId="cd6b0277-8609-4ccb-bdcf-74f48eefb2cc" providerId="ADAL" clId="{914D3107-62EA-43A3-84D5-68CF6DBAF7CA}" dt="2023-07-13T12:11:34.581" v="598" actId="6549"/>
          <ac:spMkLst>
            <pc:docMk/>
            <pc:sldMk cId="1313017999" sldId="1156"/>
            <ac:spMk id="8" creationId="{0EBCDB79-B9CD-6949-8345-34B192AC5BEC}"/>
          </ac:spMkLst>
        </pc:spChg>
        <pc:spChg chg="mod">
          <ac:chgData name="Laura" userId="cd6b0277-8609-4ccb-bdcf-74f48eefb2cc" providerId="ADAL" clId="{914D3107-62EA-43A3-84D5-68CF6DBAF7CA}" dt="2023-07-13T12:11:26.412" v="588" actId="20577"/>
          <ac:spMkLst>
            <pc:docMk/>
            <pc:sldMk cId="1313017999" sldId="1156"/>
            <ac:spMk id="10" creationId="{876B3156-076A-7161-66B7-FA8E5C463F21}"/>
          </ac:spMkLst>
        </pc:spChg>
        <pc:spChg chg="del">
          <ac:chgData name="Laura" userId="cd6b0277-8609-4ccb-bdcf-74f48eefb2cc" providerId="ADAL" clId="{914D3107-62EA-43A3-84D5-68CF6DBAF7CA}" dt="2023-07-13T12:11:19.959" v="582" actId="478"/>
          <ac:spMkLst>
            <pc:docMk/>
            <pc:sldMk cId="1313017999" sldId="1156"/>
            <ac:spMk id="14" creationId="{80324EAF-8924-831B-4BC3-5B26234BDFB9}"/>
          </ac:spMkLst>
        </pc:spChg>
      </pc:sldChg>
      <pc:sldChg chg="addSp delSp modSp mod">
        <pc:chgData name="Laura" userId="cd6b0277-8609-4ccb-bdcf-74f48eefb2cc" providerId="ADAL" clId="{914D3107-62EA-43A3-84D5-68CF6DBAF7CA}" dt="2023-07-13T08:36:33.037" v="196" actId="207"/>
        <pc:sldMkLst>
          <pc:docMk/>
          <pc:sldMk cId="3020321987" sldId="1157"/>
        </pc:sldMkLst>
        <pc:spChg chg="del">
          <ac:chgData name="Laura" userId="cd6b0277-8609-4ccb-bdcf-74f48eefb2cc" providerId="ADAL" clId="{914D3107-62EA-43A3-84D5-68CF6DBAF7CA}" dt="2023-07-13T08:02:45.590" v="133" actId="478"/>
          <ac:spMkLst>
            <pc:docMk/>
            <pc:sldMk cId="3020321987" sldId="1157"/>
            <ac:spMk id="6" creationId="{9E1DD1DE-A699-4681-A47E-0FBB323C3EF2}"/>
          </ac:spMkLst>
        </pc:spChg>
        <pc:spChg chg="add mod">
          <ac:chgData name="Laura" userId="cd6b0277-8609-4ccb-bdcf-74f48eefb2cc" providerId="ADAL" clId="{914D3107-62EA-43A3-84D5-68CF6DBAF7CA}" dt="2023-07-13T08:00:35.602" v="132" actId="207"/>
          <ac:spMkLst>
            <pc:docMk/>
            <pc:sldMk cId="3020321987" sldId="1157"/>
            <ac:spMk id="7" creationId="{384B6ABD-E847-E912-7E60-02B1863923C7}"/>
          </ac:spMkLst>
        </pc:spChg>
        <pc:spChg chg="add mod">
          <ac:chgData name="Laura" userId="cd6b0277-8609-4ccb-bdcf-74f48eefb2cc" providerId="ADAL" clId="{914D3107-62EA-43A3-84D5-68CF6DBAF7CA}" dt="2023-07-13T08:02:45.590" v="133" actId="478"/>
          <ac:spMkLst>
            <pc:docMk/>
            <pc:sldMk cId="3020321987" sldId="1157"/>
            <ac:spMk id="9" creationId="{3A1F6798-4DF4-685F-5F42-B1B78C0E9CFB}"/>
          </ac:spMkLst>
        </pc:spChg>
        <pc:spChg chg="mod">
          <ac:chgData name="Laura" userId="cd6b0277-8609-4ccb-bdcf-74f48eefb2cc" providerId="ADAL" clId="{914D3107-62EA-43A3-84D5-68CF6DBAF7CA}" dt="2023-07-13T07:59:45.566" v="55" actId="1037"/>
          <ac:spMkLst>
            <pc:docMk/>
            <pc:sldMk cId="3020321987" sldId="1157"/>
            <ac:spMk id="19" creationId="{977C40A6-CBB2-F908-617E-5AE4C14E7638}"/>
          </ac:spMkLst>
        </pc:spChg>
        <pc:spChg chg="mod">
          <ac:chgData name="Laura" userId="cd6b0277-8609-4ccb-bdcf-74f48eefb2cc" providerId="ADAL" clId="{914D3107-62EA-43A3-84D5-68CF6DBAF7CA}" dt="2023-07-13T08:36:33.037" v="196" actId="207"/>
          <ac:spMkLst>
            <pc:docMk/>
            <pc:sldMk cId="3020321987" sldId="1157"/>
            <ac:spMk id="20" creationId="{E1372DE1-DDBB-653E-4360-72F809978CBE}"/>
          </ac:spMkLst>
        </pc:spChg>
      </pc:sldChg>
      <pc:sldChg chg="del">
        <pc:chgData name="Laura" userId="cd6b0277-8609-4ccb-bdcf-74f48eefb2cc" providerId="ADAL" clId="{914D3107-62EA-43A3-84D5-68CF6DBAF7CA}" dt="2023-07-13T12:10:53.782" v="575" actId="47"/>
        <pc:sldMkLst>
          <pc:docMk/>
          <pc:sldMk cId="1543717585" sldId="1158"/>
        </pc:sldMkLst>
      </pc:sldChg>
      <pc:sldChg chg="modSp mod">
        <pc:chgData name="Laura" userId="cd6b0277-8609-4ccb-bdcf-74f48eefb2cc" providerId="ADAL" clId="{914D3107-62EA-43A3-84D5-68CF6DBAF7CA}" dt="2023-07-13T12:10:57.836" v="577" actId="20577"/>
        <pc:sldMkLst>
          <pc:docMk/>
          <pc:sldMk cId="3881443685" sldId="1159"/>
        </pc:sldMkLst>
        <pc:spChg chg="mod">
          <ac:chgData name="Laura" userId="cd6b0277-8609-4ccb-bdcf-74f48eefb2cc" providerId="ADAL" clId="{914D3107-62EA-43A3-84D5-68CF6DBAF7CA}" dt="2023-07-13T12:10:57.836" v="577" actId="20577"/>
          <ac:spMkLst>
            <pc:docMk/>
            <pc:sldMk cId="3881443685" sldId="1159"/>
            <ac:spMk id="2" creationId="{6BE7892E-8464-4AF5-BAA4-3DF368ABB83C}"/>
          </ac:spMkLst>
        </pc:spChg>
      </pc:sldChg>
      <pc:sldChg chg="addSp delSp modSp mod">
        <pc:chgData name="Laura" userId="cd6b0277-8609-4ccb-bdcf-74f48eefb2cc" providerId="ADAL" clId="{914D3107-62EA-43A3-84D5-68CF6DBAF7CA}" dt="2023-07-13T15:10:07.463" v="890" actId="20577"/>
        <pc:sldMkLst>
          <pc:docMk/>
          <pc:sldMk cId="104766305" sldId="1160"/>
        </pc:sldMkLst>
        <pc:spChg chg="mod">
          <ac:chgData name="Laura" userId="cd6b0277-8609-4ccb-bdcf-74f48eefb2cc" providerId="ADAL" clId="{914D3107-62EA-43A3-84D5-68CF6DBAF7CA}" dt="2023-07-13T15:10:07.463" v="890" actId="20577"/>
          <ac:spMkLst>
            <pc:docMk/>
            <pc:sldMk cId="104766305" sldId="1160"/>
            <ac:spMk id="5" creationId="{32DE6835-2BA5-4907-960B-26860B9E3DE3}"/>
          </ac:spMkLst>
        </pc:spChg>
        <pc:spChg chg="del">
          <ac:chgData name="Laura" userId="cd6b0277-8609-4ccb-bdcf-74f48eefb2cc" providerId="ADAL" clId="{914D3107-62EA-43A3-84D5-68CF6DBAF7CA}" dt="2023-07-13T08:02:51.304" v="134" actId="478"/>
          <ac:spMkLst>
            <pc:docMk/>
            <pc:sldMk cId="104766305" sldId="1160"/>
            <ac:spMk id="6" creationId="{9E1DD1DE-A699-4681-A47E-0FBB323C3EF2}"/>
          </ac:spMkLst>
        </pc:spChg>
        <pc:spChg chg="del">
          <ac:chgData name="Laura" userId="cd6b0277-8609-4ccb-bdcf-74f48eefb2cc" providerId="ADAL" clId="{914D3107-62EA-43A3-84D5-68CF6DBAF7CA}" dt="2023-07-13T08:03:21.896" v="140" actId="478"/>
          <ac:spMkLst>
            <pc:docMk/>
            <pc:sldMk cId="104766305" sldId="1160"/>
            <ac:spMk id="7" creationId="{13EBE70E-4284-54E9-F43D-DED13CB451D4}"/>
          </ac:spMkLst>
        </pc:spChg>
        <pc:spChg chg="del">
          <ac:chgData name="Laura" userId="cd6b0277-8609-4ccb-bdcf-74f48eefb2cc" providerId="ADAL" clId="{914D3107-62EA-43A3-84D5-68CF6DBAF7CA}" dt="2023-07-13T08:03:12.733" v="138" actId="478"/>
          <ac:spMkLst>
            <pc:docMk/>
            <pc:sldMk cId="104766305" sldId="1160"/>
            <ac:spMk id="9" creationId="{9EFCBEB0-7B81-EB6B-7E69-B1FA2ED9FEDC}"/>
          </ac:spMkLst>
        </pc:spChg>
        <pc:spChg chg="del">
          <ac:chgData name="Laura" userId="cd6b0277-8609-4ccb-bdcf-74f48eefb2cc" providerId="ADAL" clId="{914D3107-62EA-43A3-84D5-68CF6DBAF7CA}" dt="2023-07-13T08:03:15.394" v="139" actId="478"/>
          <ac:spMkLst>
            <pc:docMk/>
            <pc:sldMk cId="104766305" sldId="1160"/>
            <ac:spMk id="10" creationId="{C132C60E-74D4-009C-977C-250950DDEC68}"/>
          </ac:spMkLst>
        </pc:spChg>
        <pc:spChg chg="add mod">
          <ac:chgData name="Laura" userId="cd6b0277-8609-4ccb-bdcf-74f48eefb2cc" providerId="ADAL" clId="{914D3107-62EA-43A3-84D5-68CF6DBAF7CA}" dt="2023-07-13T08:02:51.304" v="134" actId="478"/>
          <ac:spMkLst>
            <pc:docMk/>
            <pc:sldMk cId="104766305" sldId="1160"/>
            <ac:spMk id="11" creationId="{1C5C11F3-6898-E8A2-0ACB-1CF7ED082B3B}"/>
          </ac:spMkLst>
        </pc:spChg>
        <pc:spChg chg="mod">
          <ac:chgData name="Laura" userId="cd6b0277-8609-4ccb-bdcf-74f48eefb2cc" providerId="ADAL" clId="{914D3107-62EA-43A3-84D5-68CF6DBAF7CA}" dt="2023-07-13T08:33:10.419" v="165" actId="20577"/>
          <ac:spMkLst>
            <pc:docMk/>
            <pc:sldMk cId="104766305" sldId="1160"/>
            <ac:spMk id="12" creationId="{CA6F02A4-D978-41C9-9C79-EEA6C42D7CCB}"/>
          </ac:spMkLst>
        </pc:spChg>
        <pc:spChg chg="add mod">
          <ac:chgData name="Laura" userId="cd6b0277-8609-4ccb-bdcf-74f48eefb2cc" providerId="ADAL" clId="{914D3107-62EA-43A3-84D5-68CF6DBAF7CA}" dt="2023-07-13T08:39:49.889" v="243" actId="1036"/>
          <ac:spMkLst>
            <pc:docMk/>
            <pc:sldMk cId="104766305" sldId="1160"/>
            <ac:spMk id="13" creationId="{CB7F6F49-C2C0-3D38-D4D6-7EF071C52186}"/>
          </ac:spMkLst>
        </pc:spChg>
        <pc:spChg chg="del">
          <ac:chgData name="Laura" userId="cd6b0277-8609-4ccb-bdcf-74f48eefb2cc" providerId="ADAL" clId="{914D3107-62EA-43A3-84D5-68CF6DBAF7CA}" dt="2023-07-13T08:03:03.985" v="137" actId="478"/>
          <ac:spMkLst>
            <pc:docMk/>
            <pc:sldMk cId="104766305" sldId="1160"/>
            <ac:spMk id="15" creationId="{53E30072-E234-1301-B5AF-97B29FB4BA13}"/>
          </ac:spMkLst>
        </pc:spChg>
        <pc:spChg chg="del">
          <ac:chgData name="Laura" userId="cd6b0277-8609-4ccb-bdcf-74f48eefb2cc" providerId="ADAL" clId="{914D3107-62EA-43A3-84D5-68CF6DBAF7CA}" dt="2023-07-13T08:03:01.583" v="136" actId="478"/>
          <ac:spMkLst>
            <pc:docMk/>
            <pc:sldMk cId="104766305" sldId="1160"/>
            <ac:spMk id="21" creationId="{80A98902-035E-20DC-C40E-92FB2F1C6908}"/>
          </ac:spMkLst>
        </pc:spChg>
      </pc:sldChg>
      <pc:sldChg chg="addSp delSp modSp mod ord">
        <pc:chgData name="Laura" userId="cd6b0277-8609-4ccb-bdcf-74f48eefb2cc" providerId="ADAL" clId="{914D3107-62EA-43A3-84D5-68CF6DBAF7CA}" dt="2023-07-13T15:19:32.867" v="904" actId="20577"/>
        <pc:sldMkLst>
          <pc:docMk/>
          <pc:sldMk cId="473929483" sldId="1161"/>
        </pc:sldMkLst>
        <pc:spChg chg="mod">
          <ac:chgData name="Laura" userId="cd6b0277-8609-4ccb-bdcf-74f48eefb2cc" providerId="ADAL" clId="{914D3107-62EA-43A3-84D5-68CF6DBAF7CA}" dt="2023-07-13T15:08:08.265" v="860" actId="1076"/>
          <ac:spMkLst>
            <pc:docMk/>
            <pc:sldMk cId="473929483" sldId="1161"/>
            <ac:spMk id="5" creationId="{32DE6835-2BA5-4907-960B-26860B9E3DE3}"/>
          </ac:spMkLst>
        </pc:spChg>
        <pc:spChg chg="del">
          <ac:chgData name="Laura" userId="cd6b0277-8609-4ccb-bdcf-74f48eefb2cc" providerId="ADAL" clId="{914D3107-62EA-43A3-84D5-68CF6DBAF7CA}" dt="2023-07-13T12:41:55.597" v="744" actId="478"/>
          <ac:spMkLst>
            <pc:docMk/>
            <pc:sldMk cId="473929483" sldId="1161"/>
            <ac:spMk id="6" creationId="{9E1DD1DE-A699-4681-A47E-0FBB323C3EF2}"/>
          </ac:spMkLst>
        </pc:spChg>
        <pc:spChg chg="del">
          <ac:chgData name="Laura" userId="cd6b0277-8609-4ccb-bdcf-74f48eefb2cc" providerId="ADAL" clId="{914D3107-62EA-43A3-84D5-68CF6DBAF7CA}" dt="2023-07-13T08:32:09.226" v="146" actId="478"/>
          <ac:spMkLst>
            <pc:docMk/>
            <pc:sldMk cId="473929483" sldId="1161"/>
            <ac:spMk id="10" creationId="{B276ACCA-B4F5-6DC4-4C74-6AB8DF2B3B57}"/>
          </ac:spMkLst>
        </pc:spChg>
        <pc:spChg chg="mod">
          <ac:chgData name="Laura" userId="cd6b0277-8609-4ccb-bdcf-74f48eefb2cc" providerId="ADAL" clId="{914D3107-62EA-43A3-84D5-68CF6DBAF7CA}" dt="2023-07-13T08:05:09.562" v="141" actId="20577"/>
          <ac:spMkLst>
            <pc:docMk/>
            <pc:sldMk cId="473929483" sldId="1161"/>
            <ac:spMk id="12" creationId="{CA6F02A4-D978-41C9-9C79-EEA6C42D7CCB}"/>
          </ac:spMkLst>
        </pc:spChg>
        <pc:spChg chg="mod">
          <ac:chgData name="Laura" userId="cd6b0277-8609-4ccb-bdcf-74f48eefb2cc" providerId="ADAL" clId="{914D3107-62EA-43A3-84D5-68CF6DBAF7CA}" dt="2023-07-13T15:19:32.867" v="904" actId="20577"/>
          <ac:spMkLst>
            <pc:docMk/>
            <pc:sldMk cId="473929483" sldId="1161"/>
            <ac:spMk id="13" creationId="{887B5F63-8DBC-CB93-C92D-ECFB5090B26E}"/>
          </ac:spMkLst>
        </pc:spChg>
        <pc:spChg chg="del">
          <ac:chgData name="Laura" userId="cd6b0277-8609-4ccb-bdcf-74f48eefb2cc" providerId="ADAL" clId="{914D3107-62EA-43A3-84D5-68CF6DBAF7CA}" dt="2023-07-13T08:07:09.305" v="142" actId="478"/>
          <ac:spMkLst>
            <pc:docMk/>
            <pc:sldMk cId="473929483" sldId="1161"/>
            <ac:spMk id="15" creationId="{53E30072-E234-1301-B5AF-97B29FB4BA13}"/>
          </ac:spMkLst>
        </pc:spChg>
        <pc:spChg chg="del">
          <ac:chgData name="Laura" userId="cd6b0277-8609-4ccb-bdcf-74f48eefb2cc" providerId="ADAL" clId="{914D3107-62EA-43A3-84D5-68CF6DBAF7CA}" dt="2023-07-13T08:07:11.461" v="143" actId="478"/>
          <ac:spMkLst>
            <pc:docMk/>
            <pc:sldMk cId="473929483" sldId="1161"/>
            <ac:spMk id="21" creationId="{80A98902-035E-20DC-C40E-92FB2F1C6908}"/>
          </ac:spMkLst>
        </pc:spChg>
        <pc:spChg chg="del">
          <ac:chgData name="Laura" userId="cd6b0277-8609-4ccb-bdcf-74f48eefb2cc" providerId="ADAL" clId="{914D3107-62EA-43A3-84D5-68CF6DBAF7CA}" dt="2023-07-13T08:32:11.807" v="147" actId="478"/>
          <ac:spMkLst>
            <pc:docMk/>
            <pc:sldMk cId="473929483" sldId="1161"/>
            <ac:spMk id="26" creationId="{8F5E31F5-1EEE-6B0B-CA5E-1B49369A35E0}"/>
          </ac:spMkLst>
        </pc:spChg>
        <pc:spChg chg="del">
          <ac:chgData name="Laura" userId="cd6b0277-8609-4ccb-bdcf-74f48eefb2cc" providerId="ADAL" clId="{914D3107-62EA-43A3-84D5-68CF6DBAF7CA}" dt="2023-07-13T08:32:18.920" v="150" actId="478"/>
          <ac:spMkLst>
            <pc:docMk/>
            <pc:sldMk cId="473929483" sldId="1161"/>
            <ac:spMk id="27" creationId="{2203B1BF-4EB6-BEC4-3CB7-5421406E5D8F}"/>
          </ac:spMkLst>
        </pc:spChg>
        <pc:spChg chg="del">
          <ac:chgData name="Laura" userId="cd6b0277-8609-4ccb-bdcf-74f48eefb2cc" providerId="ADAL" clId="{914D3107-62EA-43A3-84D5-68CF6DBAF7CA}" dt="2023-07-13T08:32:16.520" v="149" actId="478"/>
          <ac:spMkLst>
            <pc:docMk/>
            <pc:sldMk cId="473929483" sldId="1161"/>
            <ac:spMk id="28" creationId="{92617B5C-3A72-C86A-1215-CD1CC852BAF2}"/>
          </ac:spMkLst>
        </pc:spChg>
        <pc:spChg chg="mod">
          <ac:chgData name="Laura" userId="cd6b0277-8609-4ccb-bdcf-74f48eefb2cc" providerId="ADAL" clId="{914D3107-62EA-43A3-84D5-68CF6DBAF7CA}" dt="2023-07-13T15:18:49.377" v="895" actId="108"/>
          <ac:spMkLst>
            <pc:docMk/>
            <pc:sldMk cId="473929483" sldId="1161"/>
            <ac:spMk id="30" creationId="{E58C080D-3016-ACD3-4D5E-2062ED5C4432}"/>
          </ac:spMkLst>
        </pc:spChg>
        <pc:spChg chg="del">
          <ac:chgData name="Laura" userId="cd6b0277-8609-4ccb-bdcf-74f48eefb2cc" providerId="ADAL" clId="{914D3107-62EA-43A3-84D5-68CF6DBAF7CA}" dt="2023-07-13T08:32:14.677" v="148" actId="478"/>
          <ac:spMkLst>
            <pc:docMk/>
            <pc:sldMk cId="473929483" sldId="1161"/>
            <ac:spMk id="31" creationId="{3AA7B6E4-746E-58F4-0E7C-4087A0D15338}"/>
          </ac:spMkLst>
        </pc:spChg>
        <pc:spChg chg="del">
          <ac:chgData name="Laura" userId="cd6b0277-8609-4ccb-bdcf-74f48eefb2cc" providerId="ADAL" clId="{914D3107-62EA-43A3-84D5-68CF6DBAF7CA}" dt="2023-07-13T08:32:06.909" v="145" actId="478"/>
          <ac:spMkLst>
            <pc:docMk/>
            <pc:sldMk cId="473929483" sldId="1161"/>
            <ac:spMk id="32" creationId="{3F46C93C-94A8-AA14-8201-D22946A2C294}"/>
          </ac:spMkLst>
        </pc:spChg>
        <pc:spChg chg="del">
          <ac:chgData name="Laura" userId="cd6b0277-8609-4ccb-bdcf-74f48eefb2cc" providerId="ADAL" clId="{914D3107-62EA-43A3-84D5-68CF6DBAF7CA}" dt="2023-07-13T08:32:03.785" v="144" actId="478"/>
          <ac:spMkLst>
            <pc:docMk/>
            <pc:sldMk cId="473929483" sldId="1161"/>
            <ac:spMk id="33" creationId="{2E2950D8-B35C-974F-24EE-B3E7663D839B}"/>
          </ac:spMkLst>
        </pc:spChg>
        <pc:spChg chg="add mod">
          <ac:chgData name="Laura" userId="cd6b0277-8609-4ccb-bdcf-74f48eefb2cc" providerId="ADAL" clId="{914D3107-62EA-43A3-84D5-68CF6DBAF7CA}" dt="2023-07-13T08:34:11.534" v="168" actId="208"/>
          <ac:spMkLst>
            <pc:docMk/>
            <pc:sldMk cId="473929483" sldId="1161"/>
            <ac:spMk id="34" creationId="{FDA438F8-61C1-0EF7-5585-3CFC7D66C3B3}"/>
          </ac:spMkLst>
        </pc:spChg>
        <pc:spChg chg="add mod">
          <ac:chgData name="Laura" userId="cd6b0277-8609-4ccb-bdcf-74f48eefb2cc" providerId="ADAL" clId="{914D3107-62EA-43A3-84D5-68CF6DBAF7CA}" dt="2023-07-13T08:34:21.744" v="171" actId="14100"/>
          <ac:spMkLst>
            <pc:docMk/>
            <pc:sldMk cId="473929483" sldId="1161"/>
            <ac:spMk id="35" creationId="{9DE23683-7D37-4660-F189-DF16923FF10C}"/>
          </ac:spMkLst>
        </pc:spChg>
        <pc:spChg chg="add del mod">
          <ac:chgData name="Laura" userId="cd6b0277-8609-4ccb-bdcf-74f48eefb2cc" providerId="ADAL" clId="{914D3107-62EA-43A3-84D5-68CF6DBAF7CA}" dt="2023-07-13T15:08:13.155" v="861" actId="478"/>
          <ac:spMkLst>
            <pc:docMk/>
            <pc:sldMk cId="473929483" sldId="1161"/>
            <ac:spMk id="37" creationId="{B160DF60-EB82-0FE9-B011-5A377F111F55}"/>
          </ac:spMkLst>
        </pc:spChg>
        <pc:spChg chg="add mod">
          <ac:chgData name="Laura" userId="cd6b0277-8609-4ccb-bdcf-74f48eefb2cc" providerId="ADAL" clId="{914D3107-62EA-43A3-84D5-68CF6DBAF7CA}" dt="2023-07-13T13:06:11.263" v="751" actId="14100"/>
          <ac:spMkLst>
            <pc:docMk/>
            <pc:sldMk cId="473929483" sldId="1161"/>
            <ac:spMk id="38" creationId="{D204F956-8A26-F45E-F783-01A595532A4A}"/>
          </ac:spMkLst>
        </pc:spChg>
        <pc:spChg chg="add mod">
          <ac:chgData name="Laura" userId="cd6b0277-8609-4ccb-bdcf-74f48eefb2cc" providerId="ADAL" clId="{914D3107-62EA-43A3-84D5-68CF6DBAF7CA}" dt="2023-07-13T13:06:49.862" v="757" actId="1038"/>
          <ac:spMkLst>
            <pc:docMk/>
            <pc:sldMk cId="473929483" sldId="1161"/>
            <ac:spMk id="39" creationId="{B95E2A4A-B808-3297-1CE6-EB0B9EDD088F}"/>
          </ac:spMkLst>
        </pc:spChg>
      </pc:sldChg>
      <pc:sldChg chg="addSp delSp modSp del mod">
        <pc:chgData name="Laura" userId="cd6b0277-8609-4ccb-bdcf-74f48eefb2cc" providerId="ADAL" clId="{914D3107-62EA-43A3-84D5-68CF6DBAF7CA}" dt="2023-07-13T13:07:23.032" v="758" actId="47"/>
        <pc:sldMkLst>
          <pc:docMk/>
          <pc:sldMk cId="1128321547" sldId="1162"/>
        </pc:sldMkLst>
        <pc:spChg chg="del">
          <ac:chgData name="Laura" userId="cd6b0277-8609-4ccb-bdcf-74f48eefb2cc" providerId="ADAL" clId="{914D3107-62EA-43A3-84D5-68CF6DBAF7CA}" dt="2023-07-13T12:41:50.379" v="743" actId="478"/>
          <ac:spMkLst>
            <pc:docMk/>
            <pc:sldMk cId="1128321547" sldId="1162"/>
            <ac:spMk id="6" creationId="{9E1DD1DE-A699-4681-A47E-0FBB323C3EF2}"/>
          </ac:spMkLst>
        </pc:spChg>
        <pc:spChg chg="del">
          <ac:chgData name="Laura" userId="cd6b0277-8609-4ccb-bdcf-74f48eefb2cc" providerId="ADAL" clId="{914D3107-62EA-43A3-84D5-68CF6DBAF7CA}" dt="2023-07-13T12:02:35.910" v="349" actId="478"/>
          <ac:spMkLst>
            <pc:docMk/>
            <pc:sldMk cId="1128321547" sldId="1162"/>
            <ac:spMk id="9" creationId="{C0D7FEAE-C177-2394-349C-71963BD298F3}"/>
          </ac:spMkLst>
        </pc:spChg>
        <pc:spChg chg="mod">
          <ac:chgData name="Laura" userId="cd6b0277-8609-4ccb-bdcf-74f48eefb2cc" providerId="ADAL" clId="{914D3107-62EA-43A3-84D5-68CF6DBAF7CA}" dt="2023-07-13T08:35:16.378" v="188" actId="20577"/>
          <ac:spMkLst>
            <pc:docMk/>
            <pc:sldMk cId="1128321547" sldId="1162"/>
            <ac:spMk id="12" creationId="{CA6F02A4-D978-41C9-9C79-EEA6C42D7CCB}"/>
          </ac:spMkLst>
        </pc:spChg>
        <pc:spChg chg="del">
          <ac:chgData name="Laura" userId="cd6b0277-8609-4ccb-bdcf-74f48eefb2cc" providerId="ADAL" clId="{914D3107-62EA-43A3-84D5-68CF6DBAF7CA}" dt="2023-07-13T12:02:35.910" v="349" actId="478"/>
          <ac:spMkLst>
            <pc:docMk/>
            <pc:sldMk cId="1128321547" sldId="1162"/>
            <ac:spMk id="13" creationId="{009F596C-30A4-9937-FE9F-72BE693103A9}"/>
          </ac:spMkLst>
        </pc:spChg>
        <pc:spChg chg="del">
          <ac:chgData name="Laura" userId="cd6b0277-8609-4ccb-bdcf-74f48eefb2cc" providerId="ADAL" clId="{914D3107-62EA-43A3-84D5-68CF6DBAF7CA}" dt="2023-07-13T08:35:07.829" v="174" actId="478"/>
          <ac:spMkLst>
            <pc:docMk/>
            <pc:sldMk cId="1128321547" sldId="1162"/>
            <ac:spMk id="15" creationId="{53E30072-E234-1301-B5AF-97B29FB4BA13}"/>
          </ac:spMkLst>
        </pc:spChg>
        <pc:spChg chg="del">
          <ac:chgData name="Laura" userId="cd6b0277-8609-4ccb-bdcf-74f48eefb2cc" providerId="ADAL" clId="{914D3107-62EA-43A3-84D5-68CF6DBAF7CA}" dt="2023-07-13T12:02:35.910" v="349" actId="478"/>
          <ac:spMkLst>
            <pc:docMk/>
            <pc:sldMk cId="1128321547" sldId="1162"/>
            <ac:spMk id="16" creationId="{79DF1A51-C206-AAB1-0BFD-79572CCC9FA4}"/>
          </ac:spMkLst>
        </pc:spChg>
        <pc:spChg chg="add del mod">
          <ac:chgData name="Laura" userId="cd6b0277-8609-4ccb-bdcf-74f48eefb2cc" providerId="ADAL" clId="{914D3107-62EA-43A3-84D5-68CF6DBAF7CA}" dt="2023-07-13T12:02:23.480" v="348" actId="1076"/>
          <ac:spMkLst>
            <pc:docMk/>
            <pc:sldMk cId="1128321547" sldId="1162"/>
            <ac:spMk id="18" creationId="{DDEA4F8F-80EF-FFD5-957A-C0E20677A4DE}"/>
          </ac:spMkLst>
        </pc:spChg>
        <pc:spChg chg="del">
          <ac:chgData name="Laura" userId="cd6b0277-8609-4ccb-bdcf-74f48eefb2cc" providerId="ADAL" clId="{914D3107-62EA-43A3-84D5-68CF6DBAF7CA}" dt="2023-07-13T12:02:35.910" v="349" actId="478"/>
          <ac:spMkLst>
            <pc:docMk/>
            <pc:sldMk cId="1128321547" sldId="1162"/>
            <ac:spMk id="19" creationId="{39247E1C-F06F-6CDE-57DA-A49913383C60}"/>
          </ac:spMkLst>
        </pc:spChg>
        <pc:spChg chg="del">
          <ac:chgData name="Laura" userId="cd6b0277-8609-4ccb-bdcf-74f48eefb2cc" providerId="ADAL" clId="{914D3107-62EA-43A3-84D5-68CF6DBAF7CA}" dt="2023-07-13T08:35:20.572" v="189" actId="478"/>
          <ac:spMkLst>
            <pc:docMk/>
            <pc:sldMk cId="1128321547" sldId="1162"/>
            <ac:spMk id="20" creationId="{0B7379B4-5068-39EB-8E91-239486815D6C}"/>
          </ac:spMkLst>
        </pc:spChg>
        <pc:spChg chg="del">
          <ac:chgData name="Laura" userId="cd6b0277-8609-4ccb-bdcf-74f48eefb2cc" providerId="ADAL" clId="{914D3107-62EA-43A3-84D5-68CF6DBAF7CA}" dt="2023-07-13T08:35:04.505" v="173" actId="478"/>
          <ac:spMkLst>
            <pc:docMk/>
            <pc:sldMk cId="1128321547" sldId="1162"/>
            <ac:spMk id="21" creationId="{80A98902-035E-20DC-C40E-92FB2F1C6908}"/>
          </ac:spMkLst>
        </pc:spChg>
        <pc:spChg chg="del">
          <ac:chgData name="Laura" userId="cd6b0277-8609-4ccb-bdcf-74f48eefb2cc" providerId="ADAL" clId="{914D3107-62EA-43A3-84D5-68CF6DBAF7CA}" dt="2023-07-13T08:35:32.796" v="192" actId="478"/>
          <ac:spMkLst>
            <pc:docMk/>
            <pc:sldMk cId="1128321547" sldId="1162"/>
            <ac:spMk id="22" creationId="{54F0E6BF-BCA1-FD35-D6EA-91E7D58B47B7}"/>
          </ac:spMkLst>
        </pc:spChg>
        <pc:spChg chg="del">
          <ac:chgData name="Laura" userId="cd6b0277-8609-4ccb-bdcf-74f48eefb2cc" providerId="ADAL" clId="{914D3107-62EA-43A3-84D5-68CF6DBAF7CA}" dt="2023-07-13T08:35:30.085" v="191" actId="478"/>
          <ac:spMkLst>
            <pc:docMk/>
            <pc:sldMk cId="1128321547" sldId="1162"/>
            <ac:spMk id="23" creationId="{48FBF6EE-DFF7-5B48-63CF-47D54A1E5504}"/>
          </ac:spMkLst>
        </pc:spChg>
        <pc:spChg chg="del">
          <ac:chgData name="Laura" userId="cd6b0277-8609-4ccb-bdcf-74f48eefb2cc" providerId="ADAL" clId="{914D3107-62EA-43A3-84D5-68CF6DBAF7CA}" dt="2023-07-13T08:35:23.387" v="190" actId="478"/>
          <ac:spMkLst>
            <pc:docMk/>
            <pc:sldMk cId="1128321547" sldId="1162"/>
            <ac:spMk id="25" creationId="{DD9F511E-C205-D2B9-E393-64D44B08B3D0}"/>
          </ac:spMkLst>
        </pc:spChg>
        <pc:spChg chg="del">
          <ac:chgData name="Laura" userId="cd6b0277-8609-4ccb-bdcf-74f48eefb2cc" providerId="ADAL" clId="{914D3107-62EA-43A3-84D5-68CF6DBAF7CA}" dt="2023-07-13T08:35:35.647" v="193" actId="478"/>
          <ac:spMkLst>
            <pc:docMk/>
            <pc:sldMk cId="1128321547" sldId="1162"/>
            <ac:spMk id="26" creationId="{07768C38-9C46-A8DF-2996-E9CD13F65CD5}"/>
          </ac:spMkLst>
        </pc:spChg>
        <pc:spChg chg="del">
          <ac:chgData name="Laura" userId="cd6b0277-8609-4ccb-bdcf-74f48eefb2cc" providerId="ADAL" clId="{914D3107-62EA-43A3-84D5-68CF6DBAF7CA}" dt="2023-07-13T12:02:46.569" v="350" actId="478"/>
          <ac:spMkLst>
            <pc:docMk/>
            <pc:sldMk cId="1128321547" sldId="1162"/>
            <ac:spMk id="28" creationId="{BAFEC7AF-8FCE-0657-C85D-D50FDBCC3D84}"/>
          </ac:spMkLst>
        </pc:spChg>
        <pc:spChg chg="add mod">
          <ac:chgData name="Laura" userId="cd6b0277-8609-4ccb-bdcf-74f48eefb2cc" providerId="ADAL" clId="{914D3107-62EA-43A3-84D5-68CF6DBAF7CA}" dt="2023-07-13T12:03:17.722" v="356" actId="20577"/>
          <ac:spMkLst>
            <pc:docMk/>
            <pc:sldMk cId="1128321547" sldId="1162"/>
            <ac:spMk id="29" creationId="{C63E591A-2F96-E351-97CD-3A186E8E3EBB}"/>
          </ac:spMkLst>
        </pc:spChg>
        <pc:spChg chg="add mod">
          <ac:chgData name="Laura" userId="cd6b0277-8609-4ccb-bdcf-74f48eefb2cc" providerId="ADAL" clId="{914D3107-62EA-43A3-84D5-68CF6DBAF7CA}" dt="2023-07-13T12:41:50.379" v="743" actId="478"/>
          <ac:spMkLst>
            <pc:docMk/>
            <pc:sldMk cId="1128321547" sldId="1162"/>
            <ac:spMk id="31" creationId="{CA437E2D-F89B-FDDA-EAFC-FBBD6306518E}"/>
          </ac:spMkLst>
        </pc:spChg>
        <pc:spChg chg="del">
          <ac:chgData name="Laura" userId="cd6b0277-8609-4ccb-bdcf-74f48eefb2cc" providerId="ADAL" clId="{914D3107-62EA-43A3-84D5-68CF6DBAF7CA}" dt="2023-07-13T12:02:49.977" v="351" actId="478"/>
          <ac:spMkLst>
            <pc:docMk/>
            <pc:sldMk cId="1128321547" sldId="1162"/>
            <ac:spMk id="37" creationId="{ADD9026D-DE19-CEEC-63E7-9EBD15B52794}"/>
          </ac:spMkLst>
        </pc:spChg>
        <pc:spChg chg="del">
          <ac:chgData name="Laura" userId="cd6b0277-8609-4ccb-bdcf-74f48eefb2cc" providerId="ADAL" clId="{914D3107-62EA-43A3-84D5-68CF6DBAF7CA}" dt="2023-07-13T12:02:35.910" v="349" actId="478"/>
          <ac:spMkLst>
            <pc:docMk/>
            <pc:sldMk cId="1128321547" sldId="1162"/>
            <ac:spMk id="41" creationId="{99FA493E-ED74-FB10-899F-8B9070992766}"/>
          </ac:spMkLst>
        </pc:spChg>
        <pc:spChg chg="del">
          <ac:chgData name="Laura" userId="cd6b0277-8609-4ccb-bdcf-74f48eefb2cc" providerId="ADAL" clId="{914D3107-62EA-43A3-84D5-68CF6DBAF7CA}" dt="2023-07-13T12:02:35.910" v="349" actId="478"/>
          <ac:spMkLst>
            <pc:docMk/>
            <pc:sldMk cId="1128321547" sldId="1162"/>
            <ac:spMk id="48" creationId="{C8D27AA6-BF81-EA4B-C750-048A132CA252}"/>
          </ac:spMkLst>
        </pc:spChg>
        <pc:spChg chg="del">
          <ac:chgData name="Laura" userId="cd6b0277-8609-4ccb-bdcf-74f48eefb2cc" providerId="ADAL" clId="{914D3107-62EA-43A3-84D5-68CF6DBAF7CA}" dt="2023-07-13T12:02:35.910" v="349" actId="478"/>
          <ac:spMkLst>
            <pc:docMk/>
            <pc:sldMk cId="1128321547" sldId="1162"/>
            <ac:spMk id="63" creationId="{BC9CC33C-B1E1-595A-F247-C5FEDA8A0C6C}"/>
          </ac:spMkLst>
        </pc:spChg>
        <pc:grpChg chg="del">
          <ac:chgData name="Laura" userId="cd6b0277-8609-4ccb-bdcf-74f48eefb2cc" providerId="ADAL" clId="{914D3107-62EA-43A3-84D5-68CF6DBAF7CA}" dt="2023-07-13T12:02:35.910" v="349" actId="478"/>
          <ac:grpSpMkLst>
            <pc:docMk/>
            <pc:sldMk cId="1128321547" sldId="1162"/>
            <ac:grpSpMk id="10" creationId="{A4F0A9FD-2582-E455-53C6-25F6DAFF5032}"/>
          </ac:grpSpMkLst>
        </pc:grpChg>
        <pc:grpChg chg="del">
          <ac:chgData name="Laura" userId="cd6b0277-8609-4ccb-bdcf-74f48eefb2cc" providerId="ADAL" clId="{914D3107-62EA-43A3-84D5-68CF6DBAF7CA}" dt="2023-07-13T12:02:35.910" v="349" actId="478"/>
          <ac:grpSpMkLst>
            <pc:docMk/>
            <pc:sldMk cId="1128321547" sldId="1162"/>
            <ac:grpSpMk id="116" creationId="{667B7FC5-FB96-3822-5B5C-E322F118B4F3}"/>
          </ac:grpSpMkLst>
        </pc:grpChg>
        <pc:grpChg chg="del">
          <ac:chgData name="Laura" userId="cd6b0277-8609-4ccb-bdcf-74f48eefb2cc" providerId="ADAL" clId="{914D3107-62EA-43A3-84D5-68CF6DBAF7CA}" dt="2023-07-13T12:02:35.910" v="349" actId="478"/>
          <ac:grpSpMkLst>
            <pc:docMk/>
            <pc:sldMk cId="1128321547" sldId="1162"/>
            <ac:grpSpMk id="126" creationId="{A9772C33-6C11-D47E-0E72-D5B59B625EB9}"/>
          </ac:grpSpMkLst>
        </pc:grpChg>
      </pc:sldChg>
      <pc:sldChg chg="addSp delSp modSp mod">
        <pc:chgData name="Laura" userId="cd6b0277-8609-4ccb-bdcf-74f48eefb2cc" providerId="ADAL" clId="{914D3107-62EA-43A3-84D5-68CF6DBAF7CA}" dt="2023-07-13T12:41:45.299" v="742" actId="478"/>
        <pc:sldMkLst>
          <pc:docMk/>
          <pc:sldMk cId="930216864" sldId="1163"/>
        </pc:sldMkLst>
        <pc:spChg chg="del">
          <ac:chgData name="Laura" userId="cd6b0277-8609-4ccb-bdcf-74f48eefb2cc" providerId="ADAL" clId="{914D3107-62EA-43A3-84D5-68CF6DBAF7CA}" dt="2023-07-13T12:41:45.299" v="742" actId="478"/>
          <ac:spMkLst>
            <pc:docMk/>
            <pc:sldMk cId="930216864" sldId="1163"/>
            <ac:spMk id="6" creationId="{9E1DD1DE-A699-4681-A47E-0FBB323C3EF2}"/>
          </ac:spMkLst>
        </pc:spChg>
        <pc:spChg chg="add mod">
          <ac:chgData name="Laura" userId="cd6b0277-8609-4ccb-bdcf-74f48eefb2cc" providerId="ADAL" clId="{914D3107-62EA-43A3-84D5-68CF6DBAF7CA}" dt="2023-07-13T12:37:45.809" v="734" actId="1035"/>
          <ac:spMkLst>
            <pc:docMk/>
            <pc:sldMk cId="930216864" sldId="1163"/>
            <ac:spMk id="8" creationId="{3A6AD41D-AF08-B0AD-B268-D938BFC69D99}"/>
          </ac:spMkLst>
        </pc:spChg>
        <pc:spChg chg="add mod">
          <ac:chgData name="Laura" userId="cd6b0277-8609-4ccb-bdcf-74f48eefb2cc" providerId="ADAL" clId="{914D3107-62EA-43A3-84D5-68CF6DBAF7CA}" dt="2023-07-13T12:37:49.857" v="735" actId="14100"/>
          <ac:spMkLst>
            <pc:docMk/>
            <pc:sldMk cId="930216864" sldId="1163"/>
            <ac:spMk id="9" creationId="{139632B8-8C45-3C20-48B1-DFB8676EF8E0}"/>
          </ac:spMkLst>
        </pc:spChg>
        <pc:spChg chg="add del mod">
          <ac:chgData name="Laura" userId="cd6b0277-8609-4ccb-bdcf-74f48eefb2cc" providerId="ADAL" clId="{914D3107-62EA-43A3-84D5-68CF6DBAF7CA}" dt="2023-07-13T12:37:35.250" v="731" actId="478"/>
          <ac:spMkLst>
            <pc:docMk/>
            <pc:sldMk cId="930216864" sldId="1163"/>
            <ac:spMk id="10" creationId="{372E50F5-28E3-42DD-4874-F167E97510AB}"/>
          </ac:spMkLst>
        </pc:spChg>
        <pc:spChg chg="add mod">
          <ac:chgData name="Laura" userId="cd6b0277-8609-4ccb-bdcf-74f48eefb2cc" providerId="ADAL" clId="{914D3107-62EA-43A3-84D5-68CF6DBAF7CA}" dt="2023-07-13T12:41:45.299" v="742" actId="478"/>
          <ac:spMkLst>
            <pc:docMk/>
            <pc:sldMk cId="930216864" sldId="1163"/>
            <ac:spMk id="13" creationId="{249C6F1A-B9C2-5447-0E1F-C199C7C41378}"/>
          </ac:spMkLst>
        </pc:spChg>
        <pc:spChg chg="mod">
          <ac:chgData name="Laura" userId="cd6b0277-8609-4ccb-bdcf-74f48eefb2cc" providerId="ADAL" clId="{914D3107-62EA-43A3-84D5-68CF6DBAF7CA}" dt="2023-07-13T08:36:49.780" v="197" actId="20577"/>
          <ac:spMkLst>
            <pc:docMk/>
            <pc:sldMk cId="930216864" sldId="1163"/>
            <ac:spMk id="17" creationId="{447A77EE-B03F-A7E6-7EE5-1B03CE23C345}"/>
          </ac:spMkLst>
        </pc:spChg>
        <pc:spChg chg="mod">
          <ac:chgData name="Laura" userId="cd6b0277-8609-4ccb-bdcf-74f48eefb2cc" providerId="ADAL" clId="{914D3107-62EA-43A3-84D5-68CF6DBAF7CA}" dt="2023-07-13T12:38:50.149" v="737" actId="20577"/>
          <ac:spMkLst>
            <pc:docMk/>
            <pc:sldMk cId="930216864" sldId="1163"/>
            <ac:spMk id="18" creationId="{37AC0B77-8C5F-E4F3-02CE-02F85085D584}"/>
          </ac:spMkLst>
        </pc:spChg>
      </pc:sldChg>
      <pc:sldChg chg="modSp mod">
        <pc:chgData name="Laura" userId="cd6b0277-8609-4ccb-bdcf-74f48eefb2cc" providerId="ADAL" clId="{914D3107-62EA-43A3-84D5-68CF6DBAF7CA}" dt="2023-07-13T12:11:05.270" v="579" actId="20577"/>
        <pc:sldMkLst>
          <pc:docMk/>
          <pc:sldMk cId="2015383814" sldId="1165"/>
        </pc:sldMkLst>
        <pc:spChg chg="mod">
          <ac:chgData name="Laura" userId="cd6b0277-8609-4ccb-bdcf-74f48eefb2cc" providerId="ADAL" clId="{914D3107-62EA-43A3-84D5-68CF6DBAF7CA}" dt="2023-07-13T12:11:05.270" v="579" actId="20577"/>
          <ac:spMkLst>
            <pc:docMk/>
            <pc:sldMk cId="2015383814" sldId="1165"/>
            <ac:spMk id="2" creationId="{6BE7892E-8464-4AF5-BAA4-3DF368ABB83C}"/>
          </ac:spMkLst>
        </pc:spChg>
      </pc:sldChg>
      <pc:sldChg chg="addSp delSp modSp mod">
        <pc:chgData name="Laura" userId="cd6b0277-8609-4ccb-bdcf-74f48eefb2cc" providerId="ADAL" clId="{914D3107-62EA-43A3-84D5-68CF6DBAF7CA}" dt="2023-07-13T15:22:05.969" v="1012" actId="20577"/>
        <pc:sldMkLst>
          <pc:docMk/>
          <pc:sldMk cId="3736428226" sldId="1166"/>
        </pc:sldMkLst>
        <pc:spChg chg="mod">
          <ac:chgData name="Laura" userId="cd6b0277-8609-4ccb-bdcf-74f48eefb2cc" providerId="ADAL" clId="{914D3107-62EA-43A3-84D5-68CF6DBAF7CA}" dt="2023-07-13T15:22:05.969" v="1012" actId="20577"/>
          <ac:spMkLst>
            <pc:docMk/>
            <pc:sldMk cId="3736428226" sldId="1166"/>
            <ac:spMk id="5" creationId="{32DE6835-2BA5-4907-960B-26860B9E3DE3}"/>
          </ac:spMkLst>
        </pc:spChg>
        <pc:spChg chg="del">
          <ac:chgData name="Laura" userId="cd6b0277-8609-4ccb-bdcf-74f48eefb2cc" providerId="ADAL" clId="{914D3107-62EA-43A3-84D5-68CF6DBAF7CA}" dt="2023-07-13T12:41:32.276" v="740" actId="478"/>
          <ac:spMkLst>
            <pc:docMk/>
            <pc:sldMk cId="3736428226" sldId="1166"/>
            <ac:spMk id="6" creationId="{9E1DD1DE-A699-4681-A47E-0FBB323C3EF2}"/>
          </ac:spMkLst>
        </pc:spChg>
        <pc:spChg chg="del">
          <ac:chgData name="Laura" userId="cd6b0277-8609-4ccb-bdcf-74f48eefb2cc" providerId="ADAL" clId="{914D3107-62EA-43A3-84D5-68CF6DBAF7CA}" dt="2023-07-13T08:40:50.350" v="259" actId="478"/>
          <ac:spMkLst>
            <pc:docMk/>
            <pc:sldMk cId="3736428226" sldId="1166"/>
            <ac:spMk id="7" creationId="{78C1C068-32E0-8731-1B73-6B28381689FF}"/>
          </ac:spMkLst>
        </pc:spChg>
        <pc:spChg chg="del">
          <ac:chgData name="Laura" userId="cd6b0277-8609-4ccb-bdcf-74f48eefb2cc" providerId="ADAL" clId="{914D3107-62EA-43A3-84D5-68CF6DBAF7CA}" dt="2023-07-13T08:41:04.360" v="261" actId="478"/>
          <ac:spMkLst>
            <pc:docMk/>
            <pc:sldMk cId="3736428226" sldId="1166"/>
            <ac:spMk id="8" creationId="{3573F572-0A5F-0AC7-A445-19CAF913FA77}"/>
          </ac:spMkLst>
        </pc:spChg>
        <pc:spChg chg="add mod">
          <ac:chgData name="Laura" userId="cd6b0277-8609-4ccb-bdcf-74f48eefb2cc" providerId="ADAL" clId="{914D3107-62EA-43A3-84D5-68CF6DBAF7CA}" dt="2023-07-13T12:04:01.205" v="357"/>
          <ac:spMkLst>
            <pc:docMk/>
            <pc:sldMk cId="3736428226" sldId="1166"/>
            <ac:spMk id="9" creationId="{3581C346-B946-B926-24A4-718E6CDA1F5E}"/>
          </ac:spMkLst>
        </pc:spChg>
        <pc:spChg chg="del">
          <ac:chgData name="Laura" userId="cd6b0277-8609-4ccb-bdcf-74f48eefb2cc" providerId="ADAL" clId="{914D3107-62EA-43A3-84D5-68CF6DBAF7CA}" dt="2023-07-13T08:41:05.521" v="262" actId="478"/>
          <ac:spMkLst>
            <pc:docMk/>
            <pc:sldMk cId="3736428226" sldId="1166"/>
            <ac:spMk id="10" creationId="{B698491F-931E-6706-5894-1F3681645B89}"/>
          </ac:spMkLst>
        </pc:spChg>
        <pc:spChg chg="del">
          <ac:chgData name="Laura" userId="cd6b0277-8609-4ccb-bdcf-74f48eefb2cc" providerId="ADAL" clId="{914D3107-62EA-43A3-84D5-68CF6DBAF7CA}" dt="2023-07-13T08:41:10.413" v="264" actId="478"/>
          <ac:spMkLst>
            <pc:docMk/>
            <pc:sldMk cId="3736428226" sldId="1166"/>
            <ac:spMk id="11" creationId="{27F45CCA-44FA-23F1-4991-408B3F886E6B}"/>
          </ac:spMkLst>
        </pc:spChg>
        <pc:spChg chg="mod">
          <ac:chgData name="Laura" userId="cd6b0277-8609-4ccb-bdcf-74f48eefb2cc" providerId="ADAL" clId="{914D3107-62EA-43A3-84D5-68CF6DBAF7CA}" dt="2023-07-13T08:40:41.838" v="256" actId="20577"/>
          <ac:spMkLst>
            <pc:docMk/>
            <pc:sldMk cId="3736428226" sldId="1166"/>
            <ac:spMk id="12" creationId="{CA6F02A4-D978-41C9-9C79-EEA6C42D7CCB}"/>
          </ac:spMkLst>
        </pc:spChg>
        <pc:spChg chg="del">
          <ac:chgData name="Laura" userId="cd6b0277-8609-4ccb-bdcf-74f48eefb2cc" providerId="ADAL" clId="{914D3107-62EA-43A3-84D5-68CF6DBAF7CA}" dt="2023-07-13T08:41:03.249" v="260" actId="478"/>
          <ac:spMkLst>
            <pc:docMk/>
            <pc:sldMk cId="3736428226" sldId="1166"/>
            <ac:spMk id="13" creationId="{E512CEBF-1912-AC4D-CD80-E1CA32FBDEE2}"/>
          </ac:spMkLst>
        </pc:spChg>
        <pc:spChg chg="del">
          <ac:chgData name="Laura" userId="cd6b0277-8609-4ccb-bdcf-74f48eefb2cc" providerId="ADAL" clId="{914D3107-62EA-43A3-84D5-68CF6DBAF7CA}" dt="2023-07-13T08:40:46.250" v="258" actId="478"/>
          <ac:spMkLst>
            <pc:docMk/>
            <pc:sldMk cId="3736428226" sldId="1166"/>
            <ac:spMk id="15" creationId="{53E30072-E234-1301-B5AF-97B29FB4BA13}"/>
          </ac:spMkLst>
        </pc:spChg>
        <pc:spChg chg="del">
          <ac:chgData name="Laura" userId="cd6b0277-8609-4ccb-bdcf-74f48eefb2cc" providerId="ADAL" clId="{914D3107-62EA-43A3-84D5-68CF6DBAF7CA}" dt="2023-07-13T08:41:07.032" v="263" actId="478"/>
          <ac:spMkLst>
            <pc:docMk/>
            <pc:sldMk cId="3736428226" sldId="1166"/>
            <ac:spMk id="16" creationId="{F6CF3290-DCA3-F1C7-73F9-8F6196CA05EA}"/>
          </ac:spMkLst>
        </pc:spChg>
        <pc:spChg chg="del">
          <ac:chgData name="Laura" userId="cd6b0277-8609-4ccb-bdcf-74f48eefb2cc" providerId="ADAL" clId="{914D3107-62EA-43A3-84D5-68CF6DBAF7CA}" dt="2023-07-13T08:41:11.761" v="265" actId="478"/>
          <ac:spMkLst>
            <pc:docMk/>
            <pc:sldMk cId="3736428226" sldId="1166"/>
            <ac:spMk id="17" creationId="{39D35DED-DD8C-9C3B-B14C-71B1D9188EDC}"/>
          </ac:spMkLst>
        </pc:spChg>
        <pc:spChg chg="del">
          <ac:chgData name="Laura" userId="cd6b0277-8609-4ccb-bdcf-74f48eefb2cc" providerId="ADAL" clId="{914D3107-62EA-43A3-84D5-68CF6DBAF7CA}" dt="2023-07-13T08:41:13.786" v="266" actId="478"/>
          <ac:spMkLst>
            <pc:docMk/>
            <pc:sldMk cId="3736428226" sldId="1166"/>
            <ac:spMk id="18" creationId="{72DFC0B8-1314-5FD5-1C3D-B69031137005}"/>
          </ac:spMkLst>
        </pc:spChg>
        <pc:spChg chg="del">
          <ac:chgData name="Laura" userId="cd6b0277-8609-4ccb-bdcf-74f48eefb2cc" providerId="ADAL" clId="{914D3107-62EA-43A3-84D5-68CF6DBAF7CA}" dt="2023-07-13T08:41:18.661" v="270" actId="478"/>
          <ac:spMkLst>
            <pc:docMk/>
            <pc:sldMk cId="3736428226" sldId="1166"/>
            <ac:spMk id="19" creationId="{2EDD471F-2D93-8F2D-AAED-3B95F4322289}"/>
          </ac:spMkLst>
        </pc:spChg>
        <pc:spChg chg="del">
          <ac:chgData name="Laura" userId="cd6b0277-8609-4ccb-bdcf-74f48eefb2cc" providerId="ADAL" clId="{914D3107-62EA-43A3-84D5-68CF6DBAF7CA}" dt="2023-07-13T08:41:20.003" v="271" actId="478"/>
          <ac:spMkLst>
            <pc:docMk/>
            <pc:sldMk cId="3736428226" sldId="1166"/>
            <ac:spMk id="20" creationId="{B281FD23-543C-6A54-1ED3-815B200E5F40}"/>
          </ac:spMkLst>
        </pc:spChg>
        <pc:spChg chg="del">
          <ac:chgData name="Laura" userId="cd6b0277-8609-4ccb-bdcf-74f48eefb2cc" providerId="ADAL" clId="{914D3107-62EA-43A3-84D5-68CF6DBAF7CA}" dt="2023-07-13T08:40:44.025" v="257" actId="478"/>
          <ac:spMkLst>
            <pc:docMk/>
            <pc:sldMk cId="3736428226" sldId="1166"/>
            <ac:spMk id="21" creationId="{80A98902-035E-20DC-C40E-92FB2F1C6908}"/>
          </ac:spMkLst>
        </pc:spChg>
        <pc:spChg chg="del">
          <ac:chgData name="Laura" userId="cd6b0277-8609-4ccb-bdcf-74f48eefb2cc" providerId="ADAL" clId="{914D3107-62EA-43A3-84D5-68CF6DBAF7CA}" dt="2023-07-13T08:41:14.929" v="267" actId="478"/>
          <ac:spMkLst>
            <pc:docMk/>
            <pc:sldMk cId="3736428226" sldId="1166"/>
            <ac:spMk id="23" creationId="{C8D63026-1A8E-4DF4-35F9-7788E46573D6}"/>
          </ac:spMkLst>
        </pc:spChg>
        <pc:spChg chg="del">
          <ac:chgData name="Laura" userId="cd6b0277-8609-4ccb-bdcf-74f48eefb2cc" providerId="ADAL" clId="{914D3107-62EA-43A3-84D5-68CF6DBAF7CA}" dt="2023-07-13T08:41:16.282" v="268" actId="478"/>
          <ac:spMkLst>
            <pc:docMk/>
            <pc:sldMk cId="3736428226" sldId="1166"/>
            <ac:spMk id="26" creationId="{9E2BF692-7CD5-2CF4-76F5-4380D11E01E3}"/>
          </ac:spMkLst>
        </pc:spChg>
        <pc:spChg chg="del">
          <ac:chgData name="Laura" userId="cd6b0277-8609-4ccb-bdcf-74f48eefb2cc" providerId="ADAL" clId="{914D3107-62EA-43A3-84D5-68CF6DBAF7CA}" dt="2023-07-13T08:41:17.312" v="269" actId="478"/>
          <ac:spMkLst>
            <pc:docMk/>
            <pc:sldMk cId="3736428226" sldId="1166"/>
            <ac:spMk id="27" creationId="{51F634D9-E9B3-6C09-8AF6-8BCF6638D5C5}"/>
          </ac:spMkLst>
        </pc:spChg>
        <pc:spChg chg="del">
          <ac:chgData name="Laura" userId="cd6b0277-8609-4ccb-bdcf-74f48eefb2cc" providerId="ADAL" clId="{914D3107-62EA-43A3-84D5-68CF6DBAF7CA}" dt="2023-07-13T08:41:23.013" v="273" actId="478"/>
          <ac:spMkLst>
            <pc:docMk/>
            <pc:sldMk cId="3736428226" sldId="1166"/>
            <ac:spMk id="28" creationId="{9D7D7256-1406-3C2A-FFE7-452ECF17F6E2}"/>
          </ac:spMkLst>
        </pc:spChg>
        <pc:spChg chg="del">
          <ac:chgData name="Laura" userId="cd6b0277-8609-4ccb-bdcf-74f48eefb2cc" providerId="ADAL" clId="{914D3107-62EA-43A3-84D5-68CF6DBAF7CA}" dt="2023-07-13T08:41:21.613" v="272" actId="478"/>
          <ac:spMkLst>
            <pc:docMk/>
            <pc:sldMk cId="3736428226" sldId="1166"/>
            <ac:spMk id="29" creationId="{831F5682-DEF3-2E80-5E46-B8BF35B679EB}"/>
          </ac:spMkLst>
        </pc:spChg>
        <pc:spChg chg="del">
          <ac:chgData name="Laura" userId="cd6b0277-8609-4ccb-bdcf-74f48eefb2cc" providerId="ADAL" clId="{914D3107-62EA-43A3-84D5-68CF6DBAF7CA}" dt="2023-07-13T08:41:24.295" v="274" actId="478"/>
          <ac:spMkLst>
            <pc:docMk/>
            <pc:sldMk cId="3736428226" sldId="1166"/>
            <ac:spMk id="30" creationId="{BC17CDAD-C257-2540-C4E9-80310B19851D}"/>
          </ac:spMkLst>
        </pc:spChg>
        <pc:spChg chg="del">
          <ac:chgData name="Laura" userId="cd6b0277-8609-4ccb-bdcf-74f48eefb2cc" providerId="ADAL" clId="{914D3107-62EA-43A3-84D5-68CF6DBAF7CA}" dt="2023-07-13T08:44:47.871" v="279" actId="478"/>
          <ac:spMkLst>
            <pc:docMk/>
            <pc:sldMk cId="3736428226" sldId="1166"/>
            <ac:spMk id="31" creationId="{0F8ACFC4-C0E8-B250-9787-B1E3DD027BCF}"/>
          </ac:spMkLst>
        </pc:spChg>
        <pc:spChg chg="del">
          <ac:chgData name="Laura" userId="cd6b0277-8609-4ccb-bdcf-74f48eefb2cc" providerId="ADAL" clId="{914D3107-62EA-43A3-84D5-68CF6DBAF7CA}" dt="2023-07-13T08:44:48.949" v="280" actId="478"/>
          <ac:spMkLst>
            <pc:docMk/>
            <pc:sldMk cId="3736428226" sldId="1166"/>
            <ac:spMk id="32" creationId="{1B3F6BBE-1237-A0AF-1F69-30454AD94E99}"/>
          </ac:spMkLst>
        </pc:spChg>
        <pc:spChg chg="del">
          <ac:chgData name="Laura" userId="cd6b0277-8609-4ccb-bdcf-74f48eefb2cc" providerId="ADAL" clId="{914D3107-62EA-43A3-84D5-68CF6DBAF7CA}" dt="2023-07-13T08:44:45.387" v="278" actId="478"/>
          <ac:spMkLst>
            <pc:docMk/>
            <pc:sldMk cId="3736428226" sldId="1166"/>
            <ac:spMk id="33" creationId="{D58DF4E4-21F4-D04C-8A19-D45AD9A5DAED}"/>
          </ac:spMkLst>
        </pc:spChg>
        <pc:spChg chg="del">
          <ac:chgData name="Laura" userId="cd6b0277-8609-4ccb-bdcf-74f48eefb2cc" providerId="ADAL" clId="{914D3107-62EA-43A3-84D5-68CF6DBAF7CA}" dt="2023-07-13T08:44:50.285" v="281" actId="478"/>
          <ac:spMkLst>
            <pc:docMk/>
            <pc:sldMk cId="3736428226" sldId="1166"/>
            <ac:spMk id="34" creationId="{890DED5E-6F28-723B-6F7B-D48C3AA3608E}"/>
          </ac:spMkLst>
        </pc:spChg>
        <pc:spChg chg="del">
          <ac:chgData name="Laura" userId="cd6b0277-8609-4ccb-bdcf-74f48eefb2cc" providerId="ADAL" clId="{914D3107-62EA-43A3-84D5-68CF6DBAF7CA}" dt="2023-07-13T08:44:52.645" v="282" actId="478"/>
          <ac:spMkLst>
            <pc:docMk/>
            <pc:sldMk cId="3736428226" sldId="1166"/>
            <ac:spMk id="35" creationId="{8C2340FA-9BCB-F1E0-FEBB-4712E3C33C98}"/>
          </ac:spMkLst>
        </pc:spChg>
        <pc:spChg chg="del">
          <ac:chgData name="Laura" userId="cd6b0277-8609-4ccb-bdcf-74f48eefb2cc" providerId="ADAL" clId="{914D3107-62EA-43A3-84D5-68CF6DBAF7CA}" dt="2023-07-13T08:44:38.410" v="275" actId="478"/>
          <ac:spMkLst>
            <pc:docMk/>
            <pc:sldMk cId="3736428226" sldId="1166"/>
            <ac:spMk id="36" creationId="{D129DAA9-1493-51C0-2BAD-172EC01955E6}"/>
          </ac:spMkLst>
        </pc:spChg>
        <pc:spChg chg="del">
          <ac:chgData name="Laura" userId="cd6b0277-8609-4ccb-bdcf-74f48eefb2cc" providerId="ADAL" clId="{914D3107-62EA-43A3-84D5-68CF6DBAF7CA}" dt="2023-07-13T08:44:42.292" v="276" actId="478"/>
          <ac:spMkLst>
            <pc:docMk/>
            <pc:sldMk cId="3736428226" sldId="1166"/>
            <ac:spMk id="37" creationId="{67136471-1A6F-0345-1DD8-1680D31AAED9}"/>
          </ac:spMkLst>
        </pc:spChg>
        <pc:spChg chg="del">
          <ac:chgData name="Laura" userId="cd6b0277-8609-4ccb-bdcf-74f48eefb2cc" providerId="ADAL" clId="{914D3107-62EA-43A3-84D5-68CF6DBAF7CA}" dt="2023-07-13T08:44:43.748" v="277" actId="478"/>
          <ac:spMkLst>
            <pc:docMk/>
            <pc:sldMk cId="3736428226" sldId="1166"/>
            <ac:spMk id="38" creationId="{D20065D3-C1D3-D7C3-5C82-A466A4405062}"/>
          </ac:spMkLst>
        </pc:spChg>
        <pc:spChg chg="add mod">
          <ac:chgData name="Laura" userId="cd6b0277-8609-4ccb-bdcf-74f48eefb2cc" providerId="ADAL" clId="{914D3107-62EA-43A3-84D5-68CF6DBAF7CA}" dt="2023-07-13T12:04:18.971" v="360" actId="1038"/>
          <ac:spMkLst>
            <pc:docMk/>
            <pc:sldMk cId="3736428226" sldId="1166"/>
            <ac:spMk id="39" creationId="{E0E048B3-B0FC-51D2-8196-0C180A3DA908}"/>
          </ac:spMkLst>
        </pc:spChg>
        <pc:spChg chg="add mod">
          <ac:chgData name="Laura" userId="cd6b0277-8609-4ccb-bdcf-74f48eefb2cc" providerId="ADAL" clId="{914D3107-62EA-43A3-84D5-68CF6DBAF7CA}" dt="2023-07-13T12:05:18.232" v="366" actId="20577"/>
          <ac:spMkLst>
            <pc:docMk/>
            <pc:sldMk cId="3736428226" sldId="1166"/>
            <ac:spMk id="40" creationId="{BAEE7448-F8C9-DED2-F09D-9F6BEB02AB90}"/>
          </ac:spMkLst>
        </pc:spChg>
        <pc:spChg chg="add mod">
          <ac:chgData name="Laura" userId="cd6b0277-8609-4ccb-bdcf-74f48eefb2cc" providerId="ADAL" clId="{914D3107-62EA-43A3-84D5-68CF6DBAF7CA}" dt="2023-07-13T12:05:52.302" v="369" actId="1076"/>
          <ac:spMkLst>
            <pc:docMk/>
            <pc:sldMk cId="3736428226" sldId="1166"/>
            <ac:spMk id="41" creationId="{4D9C3D4F-F161-F322-2852-5B31A32ADDF0}"/>
          </ac:spMkLst>
        </pc:spChg>
        <pc:spChg chg="add mod">
          <ac:chgData name="Laura" userId="cd6b0277-8609-4ccb-bdcf-74f48eefb2cc" providerId="ADAL" clId="{914D3107-62EA-43A3-84D5-68CF6DBAF7CA}" dt="2023-07-13T12:41:32.276" v="740" actId="478"/>
          <ac:spMkLst>
            <pc:docMk/>
            <pc:sldMk cId="3736428226" sldId="1166"/>
            <ac:spMk id="43" creationId="{3FB12082-BDC8-54DF-67CE-3A028F7965A6}"/>
          </ac:spMkLst>
        </pc:spChg>
        <pc:spChg chg="add mod">
          <ac:chgData name="Laura" userId="cd6b0277-8609-4ccb-bdcf-74f48eefb2cc" providerId="ADAL" clId="{914D3107-62EA-43A3-84D5-68CF6DBAF7CA}" dt="2023-07-13T13:11:43.803" v="760" actId="1076"/>
          <ac:spMkLst>
            <pc:docMk/>
            <pc:sldMk cId="3736428226" sldId="1166"/>
            <ac:spMk id="44" creationId="{25D72F31-2E1E-5113-121C-655B436FA697}"/>
          </ac:spMkLst>
        </pc:spChg>
      </pc:sldChg>
      <pc:sldChg chg="addSp delSp modSp mod">
        <pc:chgData name="Laura" userId="cd6b0277-8609-4ccb-bdcf-74f48eefb2cc" providerId="ADAL" clId="{914D3107-62EA-43A3-84D5-68CF6DBAF7CA}" dt="2023-07-13T15:22:13.487" v="1021" actId="20577"/>
        <pc:sldMkLst>
          <pc:docMk/>
          <pc:sldMk cId="2810503002" sldId="1167"/>
        </pc:sldMkLst>
        <pc:spChg chg="mod">
          <ac:chgData name="Laura" userId="cd6b0277-8609-4ccb-bdcf-74f48eefb2cc" providerId="ADAL" clId="{914D3107-62EA-43A3-84D5-68CF6DBAF7CA}" dt="2023-07-13T15:22:13.487" v="1021" actId="20577"/>
          <ac:spMkLst>
            <pc:docMk/>
            <pc:sldMk cId="2810503002" sldId="1167"/>
            <ac:spMk id="5" creationId="{32DE6835-2BA5-4907-960B-26860B9E3DE3}"/>
          </ac:spMkLst>
        </pc:spChg>
        <pc:spChg chg="del">
          <ac:chgData name="Laura" userId="cd6b0277-8609-4ccb-bdcf-74f48eefb2cc" providerId="ADAL" clId="{914D3107-62EA-43A3-84D5-68CF6DBAF7CA}" dt="2023-07-13T12:41:28.238" v="739" actId="478"/>
          <ac:spMkLst>
            <pc:docMk/>
            <pc:sldMk cId="2810503002" sldId="1167"/>
            <ac:spMk id="6" creationId="{9E1DD1DE-A699-4681-A47E-0FBB323C3EF2}"/>
          </ac:spMkLst>
        </pc:spChg>
        <pc:spChg chg="add mod">
          <ac:chgData name="Laura" userId="cd6b0277-8609-4ccb-bdcf-74f48eefb2cc" providerId="ADAL" clId="{914D3107-62EA-43A3-84D5-68CF6DBAF7CA}" dt="2023-07-13T12:06:27.190" v="374" actId="20577"/>
          <ac:spMkLst>
            <pc:docMk/>
            <pc:sldMk cId="2810503002" sldId="1167"/>
            <ac:spMk id="9" creationId="{8AB6314F-A756-D28F-E8A8-FB70BCC89311}"/>
          </ac:spMkLst>
        </pc:spChg>
        <pc:spChg chg="del">
          <ac:chgData name="Laura" userId="cd6b0277-8609-4ccb-bdcf-74f48eefb2cc" providerId="ADAL" clId="{914D3107-62EA-43A3-84D5-68CF6DBAF7CA}" dt="2023-07-13T08:46:05.147" v="286" actId="478"/>
          <ac:spMkLst>
            <pc:docMk/>
            <pc:sldMk cId="2810503002" sldId="1167"/>
            <ac:spMk id="11" creationId="{0740A884-DA6C-FBE2-F43D-47B73EC8DC1E}"/>
          </ac:spMkLst>
        </pc:spChg>
        <pc:spChg chg="mod">
          <ac:chgData name="Laura" userId="cd6b0277-8609-4ccb-bdcf-74f48eefb2cc" providerId="ADAL" clId="{914D3107-62EA-43A3-84D5-68CF6DBAF7CA}" dt="2023-07-13T08:45:41.108" v="283" actId="20577"/>
          <ac:spMkLst>
            <pc:docMk/>
            <pc:sldMk cId="2810503002" sldId="1167"/>
            <ac:spMk id="12" creationId="{CA6F02A4-D978-41C9-9C79-EEA6C42D7CCB}"/>
          </ac:spMkLst>
        </pc:spChg>
        <pc:spChg chg="del">
          <ac:chgData name="Laura" userId="cd6b0277-8609-4ccb-bdcf-74f48eefb2cc" providerId="ADAL" clId="{914D3107-62EA-43A3-84D5-68CF6DBAF7CA}" dt="2023-07-13T08:46:06.382" v="287" actId="478"/>
          <ac:spMkLst>
            <pc:docMk/>
            <pc:sldMk cId="2810503002" sldId="1167"/>
            <ac:spMk id="14" creationId="{A8E0B06C-D43C-4A55-3DF7-C4ED46667BCD}"/>
          </ac:spMkLst>
        </pc:spChg>
        <pc:spChg chg="del">
          <ac:chgData name="Laura" userId="cd6b0277-8609-4ccb-bdcf-74f48eefb2cc" providerId="ADAL" clId="{914D3107-62EA-43A3-84D5-68CF6DBAF7CA}" dt="2023-07-13T08:45:45.462" v="285" actId="478"/>
          <ac:spMkLst>
            <pc:docMk/>
            <pc:sldMk cId="2810503002" sldId="1167"/>
            <ac:spMk id="15" creationId="{53E30072-E234-1301-B5AF-97B29FB4BA13}"/>
          </ac:spMkLst>
        </pc:spChg>
        <pc:spChg chg="del">
          <ac:chgData name="Laura" userId="cd6b0277-8609-4ccb-bdcf-74f48eefb2cc" providerId="ADAL" clId="{914D3107-62EA-43A3-84D5-68CF6DBAF7CA}" dt="2023-07-13T08:46:09.533" v="289" actId="478"/>
          <ac:spMkLst>
            <pc:docMk/>
            <pc:sldMk cId="2810503002" sldId="1167"/>
            <ac:spMk id="16" creationId="{3A9643AA-D7DE-9DD3-422F-009A8B8C68C5}"/>
          </ac:spMkLst>
        </pc:spChg>
        <pc:spChg chg="del">
          <ac:chgData name="Laura" userId="cd6b0277-8609-4ccb-bdcf-74f48eefb2cc" providerId="ADAL" clId="{914D3107-62EA-43A3-84D5-68CF6DBAF7CA}" dt="2023-07-13T08:46:07.623" v="288" actId="478"/>
          <ac:spMkLst>
            <pc:docMk/>
            <pc:sldMk cId="2810503002" sldId="1167"/>
            <ac:spMk id="17" creationId="{DBE19D6D-4767-CF3E-5BDB-B68FD340A932}"/>
          </ac:spMkLst>
        </pc:spChg>
        <pc:spChg chg="del">
          <ac:chgData name="Laura" userId="cd6b0277-8609-4ccb-bdcf-74f48eefb2cc" providerId="ADAL" clId="{914D3107-62EA-43A3-84D5-68CF6DBAF7CA}" dt="2023-07-13T08:46:27.072" v="290" actId="478"/>
          <ac:spMkLst>
            <pc:docMk/>
            <pc:sldMk cId="2810503002" sldId="1167"/>
            <ac:spMk id="18" creationId="{03D8EE53-292C-AC58-3C8A-F53230F3D7E4}"/>
          </ac:spMkLst>
        </pc:spChg>
        <pc:spChg chg="del">
          <ac:chgData name="Laura" userId="cd6b0277-8609-4ccb-bdcf-74f48eefb2cc" providerId="ADAL" clId="{914D3107-62EA-43A3-84D5-68CF6DBAF7CA}" dt="2023-07-13T08:46:28.390" v="291" actId="478"/>
          <ac:spMkLst>
            <pc:docMk/>
            <pc:sldMk cId="2810503002" sldId="1167"/>
            <ac:spMk id="19" creationId="{AD5EC615-E9DE-7453-D923-324EF728994C}"/>
          </ac:spMkLst>
        </pc:spChg>
        <pc:spChg chg="del">
          <ac:chgData name="Laura" userId="cd6b0277-8609-4ccb-bdcf-74f48eefb2cc" providerId="ADAL" clId="{914D3107-62EA-43A3-84D5-68CF6DBAF7CA}" dt="2023-07-13T08:46:29.483" v="292" actId="478"/>
          <ac:spMkLst>
            <pc:docMk/>
            <pc:sldMk cId="2810503002" sldId="1167"/>
            <ac:spMk id="20" creationId="{5396AC3C-BCE9-5FB0-38E1-6E39AADC3EA3}"/>
          </ac:spMkLst>
        </pc:spChg>
        <pc:spChg chg="del">
          <ac:chgData name="Laura" userId="cd6b0277-8609-4ccb-bdcf-74f48eefb2cc" providerId="ADAL" clId="{914D3107-62EA-43A3-84D5-68CF6DBAF7CA}" dt="2023-07-13T08:45:43.890" v="284" actId="478"/>
          <ac:spMkLst>
            <pc:docMk/>
            <pc:sldMk cId="2810503002" sldId="1167"/>
            <ac:spMk id="21" creationId="{80A98902-035E-20DC-C40E-92FB2F1C6908}"/>
          </ac:spMkLst>
        </pc:spChg>
        <pc:spChg chg="del">
          <ac:chgData name="Laura" userId="cd6b0277-8609-4ccb-bdcf-74f48eefb2cc" providerId="ADAL" clId="{914D3107-62EA-43A3-84D5-68CF6DBAF7CA}" dt="2023-07-13T08:46:32.349" v="293" actId="478"/>
          <ac:spMkLst>
            <pc:docMk/>
            <pc:sldMk cId="2810503002" sldId="1167"/>
            <ac:spMk id="23" creationId="{950235F5-FB2E-7974-63D6-BB94C8566AA2}"/>
          </ac:spMkLst>
        </pc:spChg>
        <pc:spChg chg="del">
          <ac:chgData name="Laura" userId="cd6b0277-8609-4ccb-bdcf-74f48eefb2cc" providerId="ADAL" clId="{914D3107-62EA-43A3-84D5-68CF6DBAF7CA}" dt="2023-07-13T08:46:35.009" v="295" actId="478"/>
          <ac:spMkLst>
            <pc:docMk/>
            <pc:sldMk cId="2810503002" sldId="1167"/>
            <ac:spMk id="24" creationId="{CC073DD4-979A-E610-3CFE-4CC6DEB09349}"/>
          </ac:spMkLst>
        </pc:spChg>
        <pc:spChg chg="del">
          <ac:chgData name="Laura" userId="cd6b0277-8609-4ccb-bdcf-74f48eefb2cc" providerId="ADAL" clId="{914D3107-62EA-43A3-84D5-68CF6DBAF7CA}" dt="2023-07-13T08:46:36.577" v="296" actId="478"/>
          <ac:spMkLst>
            <pc:docMk/>
            <pc:sldMk cId="2810503002" sldId="1167"/>
            <ac:spMk id="26" creationId="{A9893178-1ED3-C4ED-0BD2-5520AACCBB85}"/>
          </ac:spMkLst>
        </pc:spChg>
        <pc:spChg chg="del">
          <ac:chgData name="Laura" userId="cd6b0277-8609-4ccb-bdcf-74f48eefb2cc" providerId="ADAL" clId="{914D3107-62EA-43A3-84D5-68CF6DBAF7CA}" dt="2023-07-13T08:46:38.212" v="297" actId="478"/>
          <ac:spMkLst>
            <pc:docMk/>
            <pc:sldMk cId="2810503002" sldId="1167"/>
            <ac:spMk id="27" creationId="{183878E9-C13D-2813-5B5A-7C770467DECD}"/>
          </ac:spMkLst>
        </pc:spChg>
        <pc:spChg chg="del">
          <ac:chgData name="Laura" userId="cd6b0277-8609-4ccb-bdcf-74f48eefb2cc" providerId="ADAL" clId="{914D3107-62EA-43A3-84D5-68CF6DBAF7CA}" dt="2023-07-13T08:46:33.457" v="294" actId="478"/>
          <ac:spMkLst>
            <pc:docMk/>
            <pc:sldMk cId="2810503002" sldId="1167"/>
            <ac:spMk id="28" creationId="{A65DD620-FC53-4E6D-A70C-E0EA777671F3}"/>
          </ac:spMkLst>
        </pc:spChg>
        <pc:spChg chg="add mod">
          <ac:chgData name="Laura" userId="cd6b0277-8609-4ccb-bdcf-74f48eefb2cc" providerId="ADAL" clId="{914D3107-62EA-43A3-84D5-68CF6DBAF7CA}" dt="2023-07-13T12:41:28.238" v="739" actId="478"/>
          <ac:spMkLst>
            <pc:docMk/>
            <pc:sldMk cId="2810503002" sldId="1167"/>
            <ac:spMk id="30" creationId="{D8F89A79-EE3B-6111-72E9-6C49FA634301}"/>
          </ac:spMkLst>
        </pc:spChg>
      </pc:sldChg>
      <pc:sldChg chg="del">
        <pc:chgData name="Laura" userId="cd6b0277-8609-4ccb-bdcf-74f48eefb2cc" providerId="ADAL" clId="{914D3107-62EA-43A3-84D5-68CF6DBAF7CA}" dt="2023-07-13T08:46:54.368" v="298" actId="2696"/>
        <pc:sldMkLst>
          <pc:docMk/>
          <pc:sldMk cId="3785861278" sldId="1168"/>
        </pc:sldMkLst>
      </pc:sldChg>
      <pc:sldChg chg="addSp delSp modSp del mod">
        <pc:chgData name="Laura" userId="cd6b0277-8609-4ccb-bdcf-74f48eefb2cc" providerId="ADAL" clId="{914D3107-62EA-43A3-84D5-68CF6DBAF7CA}" dt="2023-07-13T12:08:16.027" v="429" actId="47"/>
        <pc:sldMkLst>
          <pc:docMk/>
          <pc:sldMk cId="2274493226" sldId="1169"/>
        </pc:sldMkLst>
        <pc:spChg chg="del">
          <ac:chgData name="Laura" userId="cd6b0277-8609-4ccb-bdcf-74f48eefb2cc" providerId="ADAL" clId="{914D3107-62EA-43A3-84D5-68CF6DBAF7CA}" dt="2023-07-13T12:06:55.430" v="375" actId="478"/>
          <ac:spMkLst>
            <pc:docMk/>
            <pc:sldMk cId="2274493226" sldId="1169"/>
            <ac:spMk id="6" creationId="{9E1DD1DE-A699-4681-A47E-0FBB323C3EF2}"/>
          </ac:spMkLst>
        </pc:spChg>
        <pc:spChg chg="del">
          <ac:chgData name="Laura" userId="cd6b0277-8609-4ccb-bdcf-74f48eefb2cc" providerId="ADAL" clId="{914D3107-62EA-43A3-84D5-68CF6DBAF7CA}" dt="2023-07-13T08:47:47.378" v="312" actId="478"/>
          <ac:spMkLst>
            <pc:docMk/>
            <pc:sldMk cId="2274493226" sldId="1169"/>
            <ac:spMk id="7" creationId="{321AD176-D5DE-6769-4FC0-574DCCC89F99}"/>
          </ac:spMkLst>
        </pc:spChg>
        <pc:spChg chg="mod">
          <ac:chgData name="Laura" userId="cd6b0277-8609-4ccb-bdcf-74f48eefb2cc" providerId="ADAL" clId="{914D3107-62EA-43A3-84D5-68CF6DBAF7CA}" dt="2023-07-13T08:47:44.369" v="311" actId="20577"/>
          <ac:spMkLst>
            <pc:docMk/>
            <pc:sldMk cId="2274493226" sldId="1169"/>
            <ac:spMk id="12" creationId="{CA6F02A4-D978-41C9-9C79-EEA6C42D7CCB}"/>
          </ac:spMkLst>
        </pc:spChg>
        <pc:spChg chg="del">
          <ac:chgData name="Laura" userId="cd6b0277-8609-4ccb-bdcf-74f48eefb2cc" providerId="ADAL" clId="{914D3107-62EA-43A3-84D5-68CF6DBAF7CA}" dt="2023-07-13T08:47:48.842" v="313" actId="478"/>
          <ac:spMkLst>
            <pc:docMk/>
            <pc:sldMk cId="2274493226" sldId="1169"/>
            <ac:spMk id="14" creationId="{9886FCB7-8D1B-3C3D-A1E0-2A329EB4D6CA}"/>
          </ac:spMkLst>
        </pc:spChg>
        <pc:spChg chg="del">
          <ac:chgData name="Laura" userId="cd6b0277-8609-4ccb-bdcf-74f48eefb2cc" providerId="ADAL" clId="{914D3107-62EA-43A3-84D5-68CF6DBAF7CA}" dt="2023-07-13T08:47:40.628" v="302" actId="478"/>
          <ac:spMkLst>
            <pc:docMk/>
            <pc:sldMk cId="2274493226" sldId="1169"/>
            <ac:spMk id="15" creationId="{53E30072-E234-1301-B5AF-97B29FB4BA13}"/>
          </ac:spMkLst>
        </pc:spChg>
        <pc:spChg chg="del">
          <ac:chgData name="Laura" userId="cd6b0277-8609-4ccb-bdcf-74f48eefb2cc" providerId="ADAL" clId="{914D3107-62EA-43A3-84D5-68CF6DBAF7CA}" dt="2023-07-13T08:47:50.716" v="314" actId="478"/>
          <ac:spMkLst>
            <pc:docMk/>
            <pc:sldMk cId="2274493226" sldId="1169"/>
            <ac:spMk id="16" creationId="{C7627EA3-7D35-771F-7BDB-76EB0C61405C}"/>
          </ac:spMkLst>
        </pc:spChg>
        <pc:spChg chg="add mod">
          <ac:chgData name="Laura" userId="cd6b0277-8609-4ccb-bdcf-74f48eefb2cc" providerId="ADAL" clId="{914D3107-62EA-43A3-84D5-68CF6DBAF7CA}" dt="2023-07-13T12:06:55.430" v="375" actId="478"/>
          <ac:spMkLst>
            <pc:docMk/>
            <pc:sldMk cId="2274493226" sldId="1169"/>
            <ac:spMk id="19" creationId="{EDE1DE92-27C2-9B08-D83C-9D2DEEC06D05}"/>
          </ac:spMkLst>
        </pc:spChg>
        <pc:spChg chg="del">
          <ac:chgData name="Laura" userId="cd6b0277-8609-4ccb-bdcf-74f48eefb2cc" providerId="ADAL" clId="{914D3107-62EA-43A3-84D5-68CF6DBAF7CA}" dt="2023-07-13T08:47:38.244" v="301" actId="478"/>
          <ac:spMkLst>
            <pc:docMk/>
            <pc:sldMk cId="2274493226" sldId="1169"/>
            <ac:spMk id="21" creationId="{80A98902-035E-20DC-C40E-92FB2F1C6908}"/>
          </ac:spMkLst>
        </pc:spChg>
      </pc:sldChg>
      <pc:sldChg chg="addSp delSp modSp mod">
        <pc:chgData name="Laura" userId="cd6b0277-8609-4ccb-bdcf-74f48eefb2cc" providerId="ADAL" clId="{914D3107-62EA-43A3-84D5-68CF6DBAF7CA}" dt="2023-07-13T15:23:02.095" v="1144" actId="20577"/>
        <pc:sldMkLst>
          <pc:docMk/>
          <pc:sldMk cId="1792729618" sldId="1171"/>
        </pc:sldMkLst>
        <pc:spChg chg="mod">
          <ac:chgData name="Laura" userId="cd6b0277-8609-4ccb-bdcf-74f48eefb2cc" providerId="ADAL" clId="{914D3107-62EA-43A3-84D5-68CF6DBAF7CA}" dt="2023-07-13T15:23:02.095" v="1144" actId="20577"/>
          <ac:spMkLst>
            <pc:docMk/>
            <pc:sldMk cId="1792729618" sldId="1171"/>
            <ac:spMk id="5" creationId="{32DE6835-2BA5-4907-960B-26860B9E3DE3}"/>
          </ac:spMkLst>
        </pc:spChg>
        <pc:spChg chg="del">
          <ac:chgData name="Laura" userId="cd6b0277-8609-4ccb-bdcf-74f48eefb2cc" providerId="ADAL" clId="{914D3107-62EA-43A3-84D5-68CF6DBAF7CA}" dt="2023-07-13T12:08:20.071" v="430" actId="478"/>
          <ac:spMkLst>
            <pc:docMk/>
            <pc:sldMk cId="1792729618" sldId="1171"/>
            <ac:spMk id="6" creationId="{9E1DD1DE-A699-4681-A47E-0FBB323C3EF2}"/>
          </ac:spMkLst>
        </pc:spChg>
        <pc:spChg chg="del">
          <ac:chgData name="Laura" userId="cd6b0277-8609-4ccb-bdcf-74f48eefb2cc" providerId="ADAL" clId="{914D3107-62EA-43A3-84D5-68CF6DBAF7CA}" dt="2023-07-13T08:48:31.863" v="319" actId="478"/>
          <ac:spMkLst>
            <pc:docMk/>
            <pc:sldMk cId="1792729618" sldId="1171"/>
            <ac:spMk id="7" creationId="{2941F3B1-26C5-2492-EE8C-6CF0417EC1FF}"/>
          </ac:spMkLst>
        </pc:spChg>
        <pc:spChg chg="add mod">
          <ac:chgData name="Laura" userId="cd6b0277-8609-4ccb-bdcf-74f48eefb2cc" providerId="ADAL" clId="{914D3107-62EA-43A3-84D5-68CF6DBAF7CA}" dt="2023-07-13T12:07:17.833" v="416" actId="1035"/>
          <ac:spMkLst>
            <pc:docMk/>
            <pc:sldMk cId="1792729618" sldId="1171"/>
            <ac:spMk id="9" creationId="{0EC61C5C-44CB-C4CD-5CDD-3B6F71B5DA8E}"/>
          </ac:spMkLst>
        </pc:spChg>
        <pc:spChg chg="mod">
          <ac:chgData name="Laura" userId="cd6b0277-8609-4ccb-bdcf-74f48eefb2cc" providerId="ADAL" clId="{914D3107-62EA-43A3-84D5-68CF6DBAF7CA}" dt="2023-07-13T15:22:48.939" v="1074" actId="20577"/>
          <ac:spMkLst>
            <pc:docMk/>
            <pc:sldMk cId="1792729618" sldId="1171"/>
            <ac:spMk id="12" creationId="{CA6F02A4-D978-41C9-9C79-EEA6C42D7CCB}"/>
          </ac:spMkLst>
        </pc:spChg>
        <pc:spChg chg="del">
          <ac:chgData name="Laura" userId="cd6b0277-8609-4ccb-bdcf-74f48eefb2cc" providerId="ADAL" clId="{914D3107-62EA-43A3-84D5-68CF6DBAF7CA}" dt="2023-07-13T08:48:29.954" v="318" actId="478"/>
          <ac:spMkLst>
            <pc:docMk/>
            <pc:sldMk cId="1792729618" sldId="1171"/>
            <ac:spMk id="14" creationId="{1D273E3D-82AE-5BBC-EDA1-6601B31F4BD0}"/>
          </ac:spMkLst>
        </pc:spChg>
        <pc:spChg chg="del">
          <ac:chgData name="Laura" userId="cd6b0277-8609-4ccb-bdcf-74f48eefb2cc" providerId="ADAL" clId="{914D3107-62EA-43A3-84D5-68CF6DBAF7CA}" dt="2023-07-13T08:48:19.549" v="317" actId="478"/>
          <ac:spMkLst>
            <pc:docMk/>
            <pc:sldMk cId="1792729618" sldId="1171"/>
            <ac:spMk id="15" creationId="{53E30072-E234-1301-B5AF-97B29FB4BA13}"/>
          </ac:spMkLst>
        </pc:spChg>
        <pc:spChg chg="del">
          <ac:chgData name="Laura" userId="cd6b0277-8609-4ccb-bdcf-74f48eefb2cc" providerId="ADAL" clId="{914D3107-62EA-43A3-84D5-68CF6DBAF7CA}" dt="2023-07-13T08:48:32.947" v="320" actId="478"/>
          <ac:spMkLst>
            <pc:docMk/>
            <pc:sldMk cId="1792729618" sldId="1171"/>
            <ac:spMk id="16" creationId="{AF9B8464-85B5-68A2-1077-A7170E0FF845}"/>
          </ac:spMkLst>
        </pc:spChg>
        <pc:spChg chg="del">
          <ac:chgData name="Laura" userId="cd6b0277-8609-4ccb-bdcf-74f48eefb2cc" providerId="ADAL" clId="{914D3107-62EA-43A3-84D5-68CF6DBAF7CA}" dt="2023-07-13T08:48:35.316" v="321" actId="478"/>
          <ac:spMkLst>
            <pc:docMk/>
            <pc:sldMk cId="1792729618" sldId="1171"/>
            <ac:spMk id="17" creationId="{236A76D1-E91B-1AB9-8754-AF82EEE4DE8C}"/>
          </ac:spMkLst>
        </pc:spChg>
        <pc:spChg chg="del">
          <ac:chgData name="Laura" userId="cd6b0277-8609-4ccb-bdcf-74f48eefb2cc" providerId="ADAL" clId="{914D3107-62EA-43A3-84D5-68CF6DBAF7CA}" dt="2023-07-13T08:48:38.630" v="322" actId="478"/>
          <ac:spMkLst>
            <pc:docMk/>
            <pc:sldMk cId="1792729618" sldId="1171"/>
            <ac:spMk id="18" creationId="{433902F5-A430-2AB3-8D33-EDBBC70344B6}"/>
          </ac:spMkLst>
        </pc:spChg>
        <pc:spChg chg="del">
          <ac:chgData name="Laura" userId="cd6b0277-8609-4ccb-bdcf-74f48eefb2cc" providerId="ADAL" clId="{914D3107-62EA-43A3-84D5-68CF6DBAF7CA}" dt="2023-07-13T08:48:40.828" v="323" actId="478"/>
          <ac:spMkLst>
            <pc:docMk/>
            <pc:sldMk cId="1792729618" sldId="1171"/>
            <ac:spMk id="19" creationId="{F65FB7AA-DF07-B009-1322-D9ADA2EF8DEA}"/>
          </ac:spMkLst>
        </pc:spChg>
        <pc:spChg chg="add mod">
          <ac:chgData name="Laura" userId="cd6b0277-8609-4ccb-bdcf-74f48eefb2cc" providerId="ADAL" clId="{914D3107-62EA-43A3-84D5-68CF6DBAF7CA}" dt="2023-07-13T12:07:37.879" v="418" actId="1076"/>
          <ac:spMkLst>
            <pc:docMk/>
            <pc:sldMk cId="1792729618" sldId="1171"/>
            <ac:spMk id="20" creationId="{05A45D5A-1B3D-3B34-1B2A-3259C441279C}"/>
          </ac:spMkLst>
        </pc:spChg>
        <pc:spChg chg="del">
          <ac:chgData name="Laura" userId="cd6b0277-8609-4ccb-bdcf-74f48eefb2cc" providerId="ADAL" clId="{914D3107-62EA-43A3-84D5-68CF6DBAF7CA}" dt="2023-07-13T08:48:16.777" v="316" actId="478"/>
          <ac:spMkLst>
            <pc:docMk/>
            <pc:sldMk cId="1792729618" sldId="1171"/>
            <ac:spMk id="21" creationId="{80A98902-035E-20DC-C40E-92FB2F1C6908}"/>
          </ac:spMkLst>
        </pc:spChg>
        <pc:spChg chg="add mod">
          <ac:chgData name="Laura" userId="cd6b0277-8609-4ccb-bdcf-74f48eefb2cc" providerId="ADAL" clId="{914D3107-62EA-43A3-84D5-68CF6DBAF7CA}" dt="2023-07-13T12:08:20.071" v="430" actId="478"/>
          <ac:spMkLst>
            <pc:docMk/>
            <pc:sldMk cId="1792729618" sldId="1171"/>
            <ac:spMk id="24" creationId="{CD0A8BD2-ECFA-70DC-442C-A67F1F91347F}"/>
          </ac:spMkLst>
        </pc:spChg>
      </pc:sldChg>
      <pc:sldChg chg="del">
        <pc:chgData name="Laura" userId="cd6b0277-8609-4ccb-bdcf-74f48eefb2cc" providerId="ADAL" clId="{914D3107-62EA-43A3-84D5-68CF6DBAF7CA}" dt="2023-07-13T08:47:11.847" v="299" actId="2696"/>
        <pc:sldMkLst>
          <pc:docMk/>
          <pc:sldMk cId="3173648047" sldId="1172"/>
        </pc:sldMkLst>
      </pc:sldChg>
      <pc:sldChg chg="addSp delSp modSp mod">
        <pc:chgData name="Laura" userId="cd6b0277-8609-4ccb-bdcf-74f48eefb2cc" providerId="ADAL" clId="{914D3107-62EA-43A3-84D5-68CF6DBAF7CA}" dt="2023-07-13T15:23:32.110" v="1162"/>
        <pc:sldMkLst>
          <pc:docMk/>
          <pc:sldMk cId="1179211617" sldId="1173"/>
        </pc:sldMkLst>
        <pc:spChg chg="mod">
          <ac:chgData name="Laura" userId="cd6b0277-8609-4ccb-bdcf-74f48eefb2cc" providerId="ADAL" clId="{914D3107-62EA-43A3-84D5-68CF6DBAF7CA}" dt="2023-07-13T13:14:07.339" v="761" actId="20577"/>
          <ac:spMkLst>
            <pc:docMk/>
            <pc:sldMk cId="1179211617" sldId="1173"/>
            <ac:spMk id="5" creationId="{32DE6835-2BA5-4907-960B-26860B9E3DE3}"/>
          </ac:spMkLst>
        </pc:spChg>
        <pc:spChg chg="del">
          <ac:chgData name="Laura" userId="cd6b0277-8609-4ccb-bdcf-74f48eefb2cc" providerId="ADAL" clId="{914D3107-62EA-43A3-84D5-68CF6DBAF7CA}" dt="2023-07-13T12:41:21.880" v="738" actId="478"/>
          <ac:spMkLst>
            <pc:docMk/>
            <pc:sldMk cId="1179211617" sldId="1173"/>
            <ac:spMk id="6" creationId="{9E1DD1DE-A699-4681-A47E-0FBB323C3EF2}"/>
          </ac:spMkLst>
        </pc:spChg>
        <pc:spChg chg="add mod">
          <ac:chgData name="Laura" userId="cd6b0277-8609-4ccb-bdcf-74f48eefb2cc" providerId="ADAL" clId="{914D3107-62EA-43A3-84D5-68CF6DBAF7CA}" dt="2023-07-13T12:07:49.547" v="419"/>
          <ac:spMkLst>
            <pc:docMk/>
            <pc:sldMk cId="1179211617" sldId="1173"/>
            <ac:spMk id="9" creationId="{357225AF-D0FC-A573-B8C0-41D196FE123E}"/>
          </ac:spMkLst>
        </pc:spChg>
        <pc:spChg chg="mod">
          <ac:chgData name="Laura" userId="cd6b0277-8609-4ccb-bdcf-74f48eefb2cc" providerId="ADAL" clId="{914D3107-62EA-43A3-84D5-68CF6DBAF7CA}" dt="2023-07-13T15:23:32.110" v="1162"/>
          <ac:spMkLst>
            <pc:docMk/>
            <pc:sldMk cId="1179211617" sldId="1173"/>
            <ac:spMk id="12" creationId="{CA6F02A4-D978-41C9-9C79-EEA6C42D7CCB}"/>
          </ac:spMkLst>
        </pc:spChg>
        <pc:spChg chg="del">
          <ac:chgData name="Laura" userId="cd6b0277-8609-4ccb-bdcf-74f48eefb2cc" providerId="ADAL" clId="{914D3107-62EA-43A3-84D5-68CF6DBAF7CA}" dt="2023-07-13T08:48:57.263" v="324" actId="478"/>
          <ac:spMkLst>
            <pc:docMk/>
            <pc:sldMk cId="1179211617" sldId="1173"/>
            <ac:spMk id="13" creationId="{58ABF879-C04E-D7D4-43E5-4FB83F0B499F}"/>
          </ac:spMkLst>
        </pc:spChg>
        <pc:spChg chg="del">
          <ac:chgData name="Laura" userId="cd6b0277-8609-4ccb-bdcf-74f48eefb2cc" providerId="ADAL" clId="{914D3107-62EA-43A3-84D5-68CF6DBAF7CA}" dt="2023-07-13T08:49:06.812" v="327" actId="478"/>
          <ac:spMkLst>
            <pc:docMk/>
            <pc:sldMk cId="1179211617" sldId="1173"/>
            <ac:spMk id="15" creationId="{53E30072-E234-1301-B5AF-97B29FB4BA13}"/>
          </ac:spMkLst>
        </pc:spChg>
        <pc:spChg chg="del">
          <ac:chgData name="Laura" userId="cd6b0277-8609-4ccb-bdcf-74f48eefb2cc" providerId="ADAL" clId="{914D3107-62EA-43A3-84D5-68CF6DBAF7CA}" dt="2023-07-13T08:48:57.263" v="324" actId="478"/>
          <ac:spMkLst>
            <pc:docMk/>
            <pc:sldMk cId="1179211617" sldId="1173"/>
            <ac:spMk id="16" creationId="{9F1E4623-8BB6-E771-0A8A-F6AD1CB33F90}"/>
          </ac:spMkLst>
        </pc:spChg>
        <pc:spChg chg="del">
          <ac:chgData name="Laura" userId="cd6b0277-8609-4ccb-bdcf-74f48eefb2cc" providerId="ADAL" clId="{914D3107-62EA-43A3-84D5-68CF6DBAF7CA}" dt="2023-07-13T08:48:57.263" v="324" actId="478"/>
          <ac:spMkLst>
            <pc:docMk/>
            <pc:sldMk cId="1179211617" sldId="1173"/>
            <ac:spMk id="17" creationId="{DE9ED6F5-18EF-095B-133C-6293B8AA1DB0}"/>
          </ac:spMkLst>
        </pc:spChg>
        <pc:spChg chg="del">
          <ac:chgData name="Laura" userId="cd6b0277-8609-4ccb-bdcf-74f48eefb2cc" providerId="ADAL" clId="{914D3107-62EA-43A3-84D5-68CF6DBAF7CA}" dt="2023-07-13T08:48:57.263" v="324" actId="478"/>
          <ac:spMkLst>
            <pc:docMk/>
            <pc:sldMk cId="1179211617" sldId="1173"/>
            <ac:spMk id="18" creationId="{FA62E721-5041-9CFF-4994-323C8D24D59F}"/>
          </ac:spMkLst>
        </pc:spChg>
        <pc:spChg chg="del">
          <ac:chgData name="Laura" userId="cd6b0277-8609-4ccb-bdcf-74f48eefb2cc" providerId="ADAL" clId="{914D3107-62EA-43A3-84D5-68CF6DBAF7CA}" dt="2023-07-13T08:48:57.263" v="324" actId="478"/>
          <ac:spMkLst>
            <pc:docMk/>
            <pc:sldMk cId="1179211617" sldId="1173"/>
            <ac:spMk id="19" creationId="{09AEC4DA-FEBF-D049-34C1-D7D3A2AC3356}"/>
          </ac:spMkLst>
        </pc:spChg>
        <pc:spChg chg="del">
          <ac:chgData name="Laura" userId="cd6b0277-8609-4ccb-bdcf-74f48eefb2cc" providerId="ADAL" clId="{914D3107-62EA-43A3-84D5-68CF6DBAF7CA}" dt="2023-07-13T08:49:04.071" v="326" actId="478"/>
          <ac:spMkLst>
            <pc:docMk/>
            <pc:sldMk cId="1179211617" sldId="1173"/>
            <ac:spMk id="21" creationId="{80A98902-035E-20DC-C40E-92FB2F1C6908}"/>
          </ac:spMkLst>
        </pc:spChg>
        <pc:spChg chg="del">
          <ac:chgData name="Laura" userId="cd6b0277-8609-4ccb-bdcf-74f48eefb2cc" providerId="ADAL" clId="{914D3107-62EA-43A3-84D5-68CF6DBAF7CA}" dt="2023-07-13T08:49:10.121" v="328" actId="478"/>
          <ac:spMkLst>
            <pc:docMk/>
            <pc:sldMk cId="1179211617" sldId="1173"/>
            <ac:spMk id="24" creationId="{A9B0B2F8-AABD-D511-1ACC-F972D3CA1739}"/>
          </ac:spMkLst>
        </pc:spChg>
        <pc:spChg chg="del">
          <ac:chgData name="Laura" userId="cd6b0277-8609-4ccb-bdcf-74f48eefb2cc" providerId="ADAL" clId="{914D3107-62EA-43A3-84D5-68CF6DBAF7CA}" dt="2023-07-13T08:49:12.262" v="329" actId="478"/>
          <ac:spMkLst>
            <pc:docMk/>
            <pc:sldMk cId="1179211617" sldId="1173"/>
            <ac:spMk id="27" creationId="{A0BB19D2-C3C3-6B92-2EC3-190335C2278C}"/>
          </ac:spMkLst>
        </pc:spChg>
        <pc:spChg chg="del">
          <ac:chgData name="Laura" userId="cd6b0277-8609-4ccb-bdcf-74f48eefb2cc" providerId="ADAL" clId="{914D3107-62EA-43A3-84D5-68CF6DBAF7CA}" dt="2023-07-13T08:49:13.899" v="330" actId="478"/>
          <ac:spMkLst>
            <pc:docMk/>
            <pc:sldMk cId="1179211617" sldId="1173"/>
            <ac:spMk id="28" creationId="{16F333E1-BA11-38FE-D68D-339009F36094}"/>
          </ac:spMkLst>
        </pc:spChg>
        <pc:spChg chg="del">
          <ac:chgData name="Laura" userId="cd6b0277-8609-4ccb-bdcf-74f48eefb2cc" providerId="ADAL" clId="{914D3107-62EA-43A3-84D5-68CF6DBAF7CA}" dt="2023-07-13T08:49:16.355" v="331" actId="478"/>
          <ac:spMkLst>
            <pc:docMk/>
            <pc:sldMk cId="1179211617" sldId="1173"/>
            <ac:spMk id="29" creationId="{DED6B1E2-A3BE-50CF-24D5-AB4C5C4765DE}"/>
          </ac:spMkLst>
        </pc:spChg>
        <pc:spChg chg="del">
          <ac:chgData name="Laura" userId="cd6b0277-8609-4ccb-bdcf-74f48eefb2cc" providerId="ADAL" clId="{914D3107-62EA-43A3-84D5-68CF6DBAF7CA}" dt="2023-07-13T08:49:18.578" v="332" actId="478"/>
          <ac:spMkLst>
            <pc:docMk/>
            <pc:sldMk cId="1179211617" sldId="1173"/>
            <ac:spMk id="30" creationId="{B02A492D-25E6-D23C-C4DB-D1A92876FF93}"/>
          </ac:spMkLst>
        </pc:spChg>
        <pc:spChg chg="del">
          <ac:chgData name="Laura" userId="cd6b0277-8609-4ccb-bdcf-74f48eefb2cc" providerId="ADAL" clId="{914D3107-62EA-43A3-84D5-68CF6DBAF7CA}" dt="2023-07-13T08:49:20.889" v="333" actId="478"/>
          <ac:spMkLst>
            <pc:docMk/>
            <pc:sldMk cId="1179211617" sldId="1173"/>
            <ac:spMk id="31" creationId="{755BBF72-97A9-678A-42B7-55FA0546561E}"/>
          </ac:spMkLst>
        </pc:spChg>
        <pc:spChg chg="del">
          <ac:chgData name="Laura" userId="cd6b0277-8609-4ccb-bdcf-74f48eefb2cc" providerId="ADAL" clId="{914D3107-62EA-43A3-84D5-68CF6DBAF7CA}" dt="2023-07-13T08:49:23.435" v="334" actId="478"/>
          <ac:spMkLst>
            <pc:docMk/>
            <pc:sldMk cId="1179211617" sldId="1173"/>
            <ac:spMk id="32" creationId="{89B531FA-EBD6-FAE6-BBA8-203D368948AB}"/>
          </ac:spMkLst>
        </pc:spChg>
        <pc:spChg chg="del">
          <ac:chgData name="Laura" userId="cd6b0277-8609-4ccb-bdcf-74f48eefb2cc" providerId="ADAL" clId="{914D3107-62EA-43A3-84D5-68CF6DBAF7CA}" dt="2023-07-13T08:49:34.279" v="337" actId="478"/>
          <ac:spMkLst>
            <pc:docMk/>
            <pc:sldMk cId="1179211617" sldId="1173"/>
            <ac:spMk id="33" creationId="{F1974DAD-7586-3E96-7D5B-CE62ACC84A27}"/>
          </ac:spMkLst>
        </pc:spChg>
        <pc:spChg chg="del">
          <ac:chgData name="Laura" userId="cd6b0277-8609-4ccb-bdcf-74f48eefb2cc" providerId="ADAL" clId="{914D3107-62EA-43A3-84D5-68CF6DBAF7CA}" dt="2023-07-13T08:49:36.086" v="338" actId="478"/>
          <ac:spMkLst>
            <pc:docMk/>
            <pc:sldMk cId="1179211617" sldId="1173"/>
            <ac:spMk id="34" creationId="{DC7CF71A-28C3-B934-F629-63923F9ADA52}"/>
          </ac:spMkLst>
        </pc:spChg>
        <pc:spChg chg="del">
          <ac:chgData name="Laura" userId="cd6b0277-8609-4ccb-bdcf-74f48eefb2cc" providerId="ADAL" clId="{914D3107-62EA-43A3-84D5-68CF6DBAF7CA}" dt="2023-07-13T08:49:25.136" v="335" actId="478"/>
          <ac:spMkLst>
            <pc:docMk/>
            <pc:sldMk cId="1179211617" sldId="1173"/>
            <ac:spMk id="35" creationId="{BB76913C-330A-2A64-D512-77C7EE474AC7}"/>
          </ac:spMkLst>
        </pc:spChg>
        <pc:spChg chg="del">
          <ac:chgData name="Laura" userId="cd6b0277-8609-4ccb-bdcf-74f48eefb2cc" providerId="ADAL" clId="{914D3107-62EA-43A3-84D5-68CF6DBAF7CA}" dt="2023-07-13T08:49:27.132" v="336" actId="478"/>
          <ac:spMkLst>
            <pc:docMk/>
            <pc:sldMk cId="1179211617" sldId="1173"/>
            <ac:spMk id="36" creationId="{A096198F-F843-A0C4-92D0-109673A07BA8}"/>
          </ac:spMkLst>
        </pc:spChg>
        <pc:spChg chg="del">
          <ac:chgData name="Laura" userId="cd6b0277-8609-4ccb-bdcf-74f48eefb2cc" providerId="ADAL" clId="{914D3107-62EA-43A3-84D5-68CF6DBAF7CA}" dt="2023-07-13T08:49:38.998" v="339" actId="478"/>
          <ac:spMkLst>
            <pc:docMk/>
            <pc:sldMk cId="1179211617" sldId="1173"/>
            <ac:spMk id="37" creationId="{AD72C9B2-B69C-358B-73E1-8E296BB4959F}"/>
          </ac:spMkLst>
        </pc:spChg>
        <pc:spChg chg="add mod">
          <ac:chgData name="Laura" userId="cd6b0277-8609-4ccb-bdcf-74f48eefb2cc" providerId="ADAL" clId="{914D3107-62EA-43A3-84D5-68CF6DBAF7CA}" dt="2023-07-13T12:41:21.880" v="738" actId="478"/>
          <ac:spMkLst>
            <pc:docMk/>
            <pc:sldMk cId="1179211617" sldId="1173"/>
            <ac:spMk id="38" creationId="{3892B45F-DD1E-F49D-5153-A7B2C7563BD3}"/>
          </ac:spMkLst>
        </pc:spChg>
        <pc:graphicFrameChg chg="del">
          <ac:chgData name="Laura" userId="cd6b0277-8609-4ccb-bdcf-74f48eefb2cc" providerId="ADAL" clId="{914D3107-62EA-43A3-84D5-68CF6DBAF7CA}" dt="2023-07-13T08:48:57.263" v="324" actId="478"/>
          <ac:graphicFrameMkLst>
            <pc:docMk/>
            <pc:sldMk cId="1179211617" sldId="1173"/>
            <ac:graphicFrameMk id="11" creationId="{731EC27E-8BC3-DD42-9C49-19037F148546}"/>
          </ac:graphicFrameMkLst>
        </pc:graphicFrameChg>
        <pc:picChg chg="del">
          <ac:chgData name="Laura" userId="cd6b0277-8609-4ccb-bdcf-74f48eefb2cc" providerId="ADAL" clId="{914D3107-62EA-43A3-84D5-68CF6DBAF7CA}" dt="2023-07-13T08:48:57.263" v="324" actId="478"/>
          <ac:picMkLst>
            <pc:docMk/>
            <pc:sldMk cId="1179211617" sldId="1173"/>
            <ac:picMk id="20" creationId="{172AEBCF-D760-408D-C9F4-6E36D81CB90B}"/>
          </ac:picMkLst>
        </pc:picChg>
        <pc:picChg chg="del">
          <ac:chgData name="Laura" userId="cd6b0277-8609-4ccb-bdcf-74f48eefb2cc" providerId="ADAL" clId="{914D3107-62EA-43A3-84D5-68CF6DBAF7CA}" dt="2023-07-13T08:48:57.263" v="324" actId="478"/>
          <ac:picMkLst>
            <pc:docMk/>
            <pc:sldMk cId="1179211617" sldId="1173"/>
            <ac:picMk id="23" creationId="{03FB55DA-363A-E319-FE3E-B703103787FF}"/>
          </ac:picMkLst>
        </pc:picChg>
      </pc:sldChg>
      <pc:sldChg chg="modSp mod">
        <pc:chgData name="Laura" userId="cd6b0277-8609-4ccb-bdcf-74f48eefb2cc" providerId="ADAL" clId="{914D3107-62EA-43A3-84D5-68CF6DBAF7CA}" dt="2023-07-13T12:11:12.195" v="581" actId="20577"/>
        <pc:sldMkLst>
          <pc:docMk/>
          <pc:sldMk cId="627747526" sldId="1174"/>
        </pc:sldMkLst>
        <pc:spChg chg="mod">
          <ac:chgData name="Laura" userId="cd6b0277-8609-4ccb-bdcf-74f48eefb2cc" providerId="ADAL" clId="{914D3107-62EA-43A3-84D5-68CF6DBAF7CA}" dt="2023-07-13T12:11:12.195" v="581" actId="20577"/>
          <ac:spMkLst>
            <pc:docMk/>
            <pc:sldMk cId="627747526" sldId="1174"/>
            <ac:spMk id="2" creationId="{6BE7892E-8464-4AF5-BAA4-3DF368ABB83C}"/>
          </ac:spMkLst>
        </pc:spChg>
      </pc:sldChg>
      <pc:sldChg chg="delSp del mod">
        <pc:chgData name="Laura" userId="cd6b0277-8609-4ccb-bdcf-74f48eefb2cc" providerId="ADAL" clId="{914D3107-62EA-43A3-84D5-68CF6DBAF7CA}" dt="2023-07-13T12:11:42.999" v="600" actId="2696"/>
        <pc:sldMkLst>
          <pc:docMk/>
          <pc:sldMk cId="769859386" sldId="1175"/>
        </pc:sldMkLst>
        <pc:spChg chg="del">
          <ac:chgData name="Laura" userId="cd6b0277-8609-4ccb-bdcf-74f48eefb2cc" providerId="ADAL" clId="{914D3107-62EA-43A3-84D5-68CF6DBAF7CA}" dt="2023-07-13T12:11:39.709" v="599" actId="478"/>
          <ac:spMkLst>
            <pc:docMk/>
            <pc:sldMk cId="769859386" sldId="1175"/>
            <ac:spMk id="28" creationId="{183C8A2B-5008-6C72-35B3-8CFD5E93E07E}"/>
          </ac:spMkLst>
        </pc:spChg>
      </pc:sldChg>
      <pc:sldChg chg="addSp delSp modSp mod">
        <pc:chgData name="Laura" userId="cd6b0277-8609-4ccb-bdcf-74f48eefb2cc" providerId="ADAL" clId="{914D3107-62EA-43A3-84D5-68CF6DBAF7CA}" dt="2023-07-13T15:20:56.026" v="964" actId="20577"/>
        <pc:sldMkLst>
          <pc:docMk/>
          <pc:sldMk cId="3883359406" sldId="1176"/>
        </pc:sldMkLst>
        <pc:spChg chg="mod">
          <ac:chgData name="Laura" userId="cd6b0277-8609-4ccb-bdcf-74f48eefb2cc" providerId="ADAL" clId="{914D3107-62EA-43A3-84D5-68CF6DBAF7CA}" dt="2023-07-13T15:20:56.026" v="964" actId="20577"/>
          <ac:spMkLst>
            <pc:docMk/>
            <pc:sldMk cId="3883359406" sldId="1176"/>
            <ac:spMk id="5" creationId="{32DE6835-2BA5-4907-960B-26860B9E3DE3}"/>
          </ac:spMkLst>
        </pc:spChg>
        <pc:spChg chg="del">
          <ac:chgData name="Laura" userId="cd6b0277-8609-4ccb-bdcf-74f48eefb2cc" providerId="ADAL" clId="{914D3107-62EA-43A3-84D5-68CF6DBAF7CA}" dt="2023-07-13T12:41:39.584" v="741" actId="478"/>
          <ac:spMkLst>
            <pc:docMk/>
            <pc:sldMk cId="3883359406" sldId="1176"/>
            <ac:spMk id="6" creationId="{9E1DD1DE-A699-4681-A47E-0FBB323C3EF2}"/>
          </ac:spMkLst>
        </pc:spChg>
        <pc:spChg chg="add del mod">
          <ac:chgData name="Laura" userId="cd6b0277-8609-4ccb-bdcf-74f48eefb2cc" providerId="ADAL" clId="{914D3107-62EA-43A3-84D5-68CF6DBAF7CA}" dt="2023-07-13T08:37:48.021" v="204"/>
          <ac:spMkLst>
            <pc:docMk/>
            <pc:sldMk cId="3883359406" sldId="1176"/>
            <ac:spMk id="7" creationId="{A3C1A4F0-0331-EDC3-AD7F-6264A6EE554C}"/>
          </ac:spMkLst>
        </pc:spChg>
        <pc:spChg chg="add mod">
          <ac:chgData name="Laura" userId="cd6b0277-8609-4ccb-bdcf-74f48eefb2cc" providerId="ADAL" clId="{914D3107-62EA-43A3-84D5-68CF6DBAF7CA}" dt="2023-07-13T08:38:14.178" v="211" actId="14100"/>
          <ac:spMkLst>
            <pc:docMk/>
            <pc:sldMk cId="3883359406" sldId="1176"/>
            <ac:spMk id="9" creationId="{801D36EE-B5D2-02C7-8A59-F2F3B1AC9D5C}"/>
          </ac:spMkLst>
        </pc:spChg>
        <pc:spChg chg="mod">
          <ac:chgData name="Laura" userId="cd6b0277-8609-4ccb-bdcf-74f48eefb2cc" providerId="ADAL" clId="{914D3107-62EA-43A3-84D5-68CF6DBAF7CA}" dt="2023-07-13T15:20:42.303" v="915" actId="20577"/>
          <ac:spMkLst>
            <pc:docMk/>
            <pc:sldMk cId="3883359406" sldId="1176"/>
            <ac:spMk id="12" creationId="{CA6F02A4-D978-41C9-9C79-EEA6C42D7CCB}"/>
          </ac:spMkLst>
        </pc:spChg>
        <pc:spChg chg="add mod">
          <ac:chgData name="Laura" userId="cd6b0277-8609-4ccb-bdcf-74f48eefb2cc" providerId="ADAL" clId="{914D3107-62EA-43A3-84D5-68CF6DBAF7CA}" dt="2023-07-13T08:38:20.009" v="213" actId="1076"/>
          <ac:spMkLst>
            <pc:docMk/>
            <pc:sldMk cId="3883359406" sldId="1176"/>
            <ac:spMk id="14" creationId="{6E9C29E8-FA0D-588D-D52F-44E49B480B97}"/>
          </ac:spMkLst>
        </pc:spChg>
        <pc:spChg chg="del">
          <ac:chgData name="Laura" userId="cd6b0277-8609-4ccb-bdcf-74f48eefb2cc" providerId="ADAL" clId="{914D3107-62EA-43A3-84D5-68CF6DBAF7CA}" dt="2023-07-13T08:39:10.410" v="225" actId="478"/>
          <ac:spMkLst>
            <pc:docMk/>
            <pc:sldMk cId="3883359406" sldId="1176"/>
            <ac:spMk id="15" creationId="{53E30072-E234-1301-B5AF-97B29FB4BA13}"/>
          </ac:spMkLst>
        </pc:spChg>
        <pc:spChg chg="del">
          <ac:chgData name="Laura" userId="cd6b0277-8609-4ccb-bdcf-74f48eefb2cc" providerId="ADAL" clId="{914D3107-62EA-43A3-84D5-68CF6DBAF7CA}" dt="2023-07-13T08:38:00.579" v="206" actId="478"/>
          <ac:spMkLst>
            <pc:docMk/>
            <pc:sldMk cId="3883359406" sldId="1176"/>
            <ac:spMk id="20" creationId="{D2F1C321-A9E3-DD5E-7671-6A9074626E65}"/>
          </ac:spMkLst>
        </pc:spChg>
        <pc:spChg chg="del">
          <ac:chgData name="Laura" userId="cd6b0277-8609-4ccb-bdcf-74f48eefb2cc" providerId="ADAL" clId="{914D3107-62EA-43A3-84D5-68CF6DBAF7CA}" dt="2023-07-13T08:39:08.423" v="224" actId="478"/>
          <ac:spMkLst>
            <pc:docMk/>
            <pc:sldMk cId="3883359406" sldId="1176"/>
            <ac:spMk id="21" creationId="{80A98902-035E-20DC-C40E-92FB2F1C6908}"/>
          </ac:spMkLst>
        </pc:spChg>
        <pc:spChg chg="add mod">
          <ac:chgData name="Laura" userId="cd6b0277-8609-4ccb-bdcf-74f48eefb2cc" providerId="ADAL" clId="{914D3107-62EA-43A3-84D5-68CF6DBAF7CA}" dt="2023-07-13T08:38:52.342" v="219" actId="1076"/>
          <ac:spMkLst>
            <pc:docMk/>
            <pc:sldMk cId="3883359406" sldId="1176"/>
            <ac:spMk id="22" creationId="{3C6BA012-D28F-087B-D36B-5E4A1983740F}"/>
          </ac:spMkLst>
        </pc:spChg>
        <pc:spChg chg="del">
          <ac:chgData name="Laura" userId="cd6b0277-8609-4ccb-bdcf-74f48eefb2cc" providerId="ADAL" clId="{914D3107-62EA-43A3-84D5-68CF6DBAF7CA}" dt="2023-07-13T08:38:02.684" v="207" actId="478"/>
          <ac:spMkLst>
            <pc:docMk/>
            <pc:sldMk cId="3883359406" sldId="1176"/>
            <ac:spMk id="23" creationId="{3D412768-1374-7515-F89A-1137CAD12E93}"/>
          </ac:spMkLst>
        </pc:spChg>
        <pc:spChg chg="del">
          <ac:chgData name="Laura" userId="cd6b0277-8609-4ccb-bdcf-74f48eefb2cc" providerId="ADAL" clId="{914D3107-62EA-43A3-84D5-68CF6DBAF7CA}" dt="2023-07-13T08:38:05.150" v="208" actId="478"/>
          <ac:spMkLst>
            <pc:docMk/>
            <pc:sldMk cId="3883359406" sldId="1176"/>
            <ac:spMk id="24" creationId="{6EF6E839-7B08-673D-E9CD-68046942C19C}"/>
          </ac:spMkLst>
        </pc:spChg>
        <pc:spChg chg="add del mod">
          <ac:chgData name="Laura" userId="cd6b0277-8609-4ccb-bdcf-74f48eefb2cc" providerId="ADAL" clId="{914D3107-62EA-43A3-84D5-68CF6DBAF7CA}" dt="2023-07-13T08:40:17.839" v="245" actId="478"/>
          <ac:spMkLst>
            <pc:docMk/>
            <pc:sldMk cId="3883359406" sldId="1176"/>
            <ac:spMk id="25" creationId="{7F17F8C4-85CA-2469-B542-1F9075CB454F}"/>
          </ac:spMkLst>
        </pc:spChg>
        <pc:spChg chg="del">
          <ac:chgData name="Laura" userId="cd6b0277-8609-4ccb-bdcf-74f48eefb2cc" providerId="ADAL" clId="{914D3107-62EA-43A3-84D5-68CF6DBAF7CA}" dt="2023-07-13T08:38:07.091" v="209" actId="478"/>
          <ac:spMkLst>
            <pc:docMk/>
            <pc:sldMk cId="3883359406" sldId="1176"/>
            <ac:spMk id="26" creationId="{561D2390-773D-648C-2039-D6A5247DEAC9}"/>
          </ac:spMkLst>
        </pc:spChg>
        <pc:spChg chg="del">
          <ac:chgData name="Laura" userId="cd6b0277-8609-4ccb-bdcf-74f48eefb2cc" providerId="ADAL" clId="{914D3107-62EA-43A3-84D5-68CF6DBAF7CA}" dt="2023-07-13T08:38:22.370" v="214" actId="478"/>
          <ac:spMkLst>
            <pc:docMk/>
            <pc:sldMk cId="3883359406" sldId="1176"/>
            <ac:spMk id="27" creationId="{E14F1FD6-CEAA-6922-BF7E-C44CB5614261}"/>
          </ac:spMkLst>
        </pc:spChg>
        <pc:spChg chg="del">
          <ac:chgData name="Laura" userId="cd6b0277-8609-4ccb-bdcf-74f48eefb2cc" providerId="ADAL" clId="{914D3107-62EA-43A3-84D5-68CF6DBAF7CA}" dt="2023-07-13T08:38:30.724" v="215" actId="478"/>
          <ac:spMkLst>
            <pc:docMk/>
            <pc:sldMk cId="3883359406" sldId="1176"/>
            <ac:spMk id="28" creationId="{49C3DA7F-FB7E-00A0-7D9F-918840B2804E}"/>
          </ac:spMkLst>
        </pc:spChg>
        <pc:spChg chg="del">
          <ac:chgData name="Laura" userId="cd6b0277-8609-4ccb-bdcf-74f48eefb2cc" providerId="ADAL" clId="{914D3107-62EA-43A3-84D5-68CF6DBAF7CA}" dt="2023-07-13T08:38:32.999" v="216" actId="478"/>
          <ac:spMkLst>
            <pc:docMk/>
            <pc:sldMk cId="3883359406" sldId="1176"/>
            <ac:spMk id="29" creationId="{19474AF9-634E-5EE7-DA92-EE498A970918}"/>
          </ac:spMkLst>
        </pc:spChg>
        <pc:spChg chg="del">
          <ac:chgData name="Laura" userId="cd6b0277-8609-4ccb-bdcf-74f48eefb2cc" providerId="ADAL" clId="{914D3107-62EA-43A3-84D5-68CF6DBAF7CA}" dt="2023-07-13T08:38:55.975" v="220" actId="478"/>
          <ac:spMkLst>
            <pc:docMk/>
            <pc:sldMk cId="3883359406" sldId="1176"/>
            <ac:spMk id="30" creationId="{EE29E21E-3A7C-729B-DE2D-6A3E590BFE13}"/>
          </ac:spMkLst>
        </pc:spChg>
        <pc:spChg chg="del">
          <ac:chgData name="Laura" userId="cd6b0277-8609-4ccb-bdcf-74f48eefb2cc" providerId="ADAL" clId="{914D3107-62EA-43A3-84D5-68CF6DBAF7CA}" dt="2023-07-13T08:38:58.331" v="221" actId="478"/>
          <ac:spMkLst>
            <pc:docMk/>
            <pc:sldMk cId="3883359406" sldId="1176"/>
            <ac:spMk id="31" creationId="{B3E4685E-FD07-7AD0-DDD4-B74F5E3EBA3F}"/>
          </ac:spMkLst>
        </pc:spChg>
        <pc:spChg chg="del">
          <ac:chgData name="Laura" userId="cd6b0277-8609-4ccb-bdcf-74f48eefb2cc" providerId="ADAL" clId="{914D3107-62EA-43A3-84D5-68CF6DBAF7CA}" dt="2023-07-13T08:39:01.450" v="222" actId="478"/>
          <ac:spMkLst>
            <pc:docMk/>
            <pc:sldMk cId="3883359406" sldId="1176"/>
            <ac:spMk id="32" creationId="{0C46A0E7-64C2-8356-E395-5E88C5C95ED1}"/>
          </ac:spMkLst>
        </pc:spChg>
        <pc:spChg chg="del">
          <ac:chgData name="Laura" userId="cd6b0277-8609-4ccb-bdcf-74f48eefb2cc" providerId="ADAL" clId="{914D3107-62EA-43A3-84D5-68CF6DBAF7CA}" dt="2023-07-13T08:38:35.978" v="217" actId="478"/>
          <ac:spMkLst>
            <pc:docMk/>
            <pc:sldMk cId="3883359406" sldId="1176"/>
            <ac:spMk id="33" creationId="{4BDA5AD2-3EB3-A329-32FE-7CB8F8D250A5}"/>
          </ac:spMkLst>
        </pc:spChg>
        <pc:spChg chg="add mod">
          <ac:chgData name="Laura" userId="cd6b0277-8609-4ccb-bdcf-74f48eefb2cc" providerId="ADAL" clId="{914D3107-62EA-43A3-84D5-68CF6DBAF7CA}" dt="2023-07-13T08:40:30.107" v="255" actId="1035"/>
          <ac:spMkLst>
            <pc:docMk/>
            <pc:sldMk cId="3883359406" sldId="1176"/>
            <ac:spMk id="34" creationId="{D492B23B-33A4-A804-8578-764CEDA2EB60}"/>
          </ac:spMkLst>
        </pc:spChg>
        <pc:spChg chg="add mod">
          <ac:chgData name="Laura" userId="cd6b0277-8609-4ccb-bdcf-74f48eefb2cc" providerId="ADAL" clId="{914D3107-62EA-43A3-84D5-68CF6DBAF7CA}" dt="2023-07-13T12:41:39.584" v="741" actId="478"/>
          <ac:spMkLst>
            <pc:docMk/>
            <pc:sldMk cId="3883359406" sldId="1176"/>
            <ac:spMk id="36" creationId="{820FBB76-F6E8-AC8B-4145-1534DC87D300}"/>
          </ac:spMkLst>
        </pc:spChg>
      </pc:sldChg>
      <pc:sldChg chg="addSp delSp modSp add del mod">
        <pc:chgData name="Laura" userId="cd6b0277-8609-4ccb-bdcf-74f48eefb2cc" providerId="ADAL" clId="{914D3107-62EA-43A3-84D5-68CF6DBAF7CA}" dt="2023-07-13T15:03:44.174" v="768" actId="47"/>
        <pc:sldMkLst>
          <pc:docMk/>
          <pc:sldMk cId="2072315381" sldId="1177"/>
        </pc:sldMkLst>
        <pc:spChg chg="add mod">
          <ac:chgData name="Laura" userId="cd6b0277-8609-4ccb-bdcf-74f48eefb2cc" providerId="ADAL" clId="{914D3107-62EA-43A3-84D5-68CF6DBAF7CA}" dt="2023-07-13T14:50:19.168" v="764" actId="478"/>
          <ac:spMkLst>
            <pc:docMk/>
            <pc:sldMk cId="2072315381" sldId="1177"/>
            <ac:spMk id="7" creationId="{11BAFFCF-ACDA-36DC-A115-BBE195856E62}"/>
          </ac:spMkLst>
        </pc:spChg>
        <pc:spChg chg="del">
          <ac:chgData name="Laura" userId="cd6b0277-8609-4ccb-bdcf-74f48eefb2cc" providerId="ADAL" clId="{914D3107-62EA-43A3-84D5-68CF6DBAF7CA}" dt="2023-07-13T14:50:22.685" v="766" actId="478"/>
          <ac:spMkLst>
            <pc:docMk/>
            <pc:sldMk cId="2072315381" sldId="1177"/>
            <ac:spMk id="13" creationId="{CB7F6F49-C2C0-3D38-D4D6-7EF071C52186}"/>
          </ac:spMkLst>
        </pc:spChg>
        <pc:spChg chg="del">
          <ac:chgData name="Laura" userId="cd6b0277-8609-4ccb-bdcf-74f48eefb2cc" providerId="ADAL" clId="{914D3107-62EA-43A3-84D5-68CF6DBAF7CA}" dt="2023-07-13T14:50:19.168" v="764" actId="478"/>
          <ac:spMkLst>
            <pc:docMk/>
            <pc:sldMk cId="2072315381" sldId="1177"/>
            <ac:spMk id="19" creationId="{977C40A6-CBB2-F908-617E-5AE4C14E7638}"/>
          </ac:spMkLst>
        </pc:spChg>
        <pc:spChg chg="del">
          <ac:chgData name="Laura" userId="cd6b0277-8609-4ccb-bdcf-74f48eefb2cc" providerId="ADAL" clId="{914D3107-62EA-43A3-84D5-68CF6DBAF7CA}" dt="2023-07-13T14:50:19.168" v="764" actId="478"/>
          <ac:spMkLst>
            <pc:docMk/>
            <pc:sldMk cId="2072315381" sldId="1177"/>
            <ac:spMk id="20" creationId="{E1372DE1-DDBB-653E-4360-72F809978CBE}"/>
          </ac:spMkLst>
        </pc:spChg>
        <pc:spChg chg="del">
          <ac:chgData name="Laura" userId="cd6b0277-8609-4ccb-bdcf-74f48eefb2cc" providerId="ADAL" clId="{914D3107-62EA-43A3-84D5-68CF6DBAF7CA}" dt="2023-07-13T14:50:19.168" v="764" actId="478"/>
          <ac:spMkLst>
            <pc:docMk/>
            <pc:sldMk cId="2072315381" sldId="1177"/>
            <ac:spMk id="24" creationId="{2461A25D-BCCE-44BA-AD87-54BC5ADFD421}"/>
          </ac:spMkLst>
        </pc:spChg>
        <pc:spChg chg="del">
          <ac:chgData name="Laura" userId="cd6b0277-8609-4ccb-bdcf-74f48eefb2cc" providerId="ADAL" clId="{914D3107-62EA-43A3-84D5-68CF6DBAF7CA}" dt="2023-07-13T14:50:26.962" v="767" actId="478"/>
          <ac:spMkLst>
            <pc:docMk/>
            <pc:sldMk cId="2072315381" sldId="1177"/>
            <ac:spMk id="54" creationId="{1BF9483B-9CA9-5A5C-CFFE-0324535E3B9D}"/>
          </ac:spMkLst>
        </pc:spChg>
        <pc:grpChg chg="del">
          <ac:chgData name="Laura" userId="cd6b0277-8609-4ccb-bdcf-74f48eefb2cc" providerId="ADAL" clId="{914D3107-62EA-43A3-84D5-68CF6DBAF7CA}" dt="2023-07-13T14:50:21.060" v="765" actId="478"/>
          <ac:grpSpMkLst>
            <pc:docMk/>
            <pc:sldMk cId="2072315381" sldId="1177"/>
            <ac:grpSpMk id="56" creationId="{12D1E43C-160B-9B28-0F07-0446C1AF362B}"/>
          </ac:grpSpMkLst>
        </pc:grpChg>
        <pc:graphicFrameChg chg="del">
          <ac:chgData name="Laura" userId="cd6b0277-8609-4ccb-bdcf-74f48eefb2cc" providerId="ADAL" clId="{914D3107-62EA-43A3-84D5-68CF6DBAF7CA}" dt="2023-07-13T14:50:19.168" v="764" actId="478"/>
          <ac:graphicFrameMkLst>
            <pc:docMk/>
            <pc:sldMk cId="2072315381" sldId="1177"/>
            <ac:graphicFrameMk id="22" creationId="{A3C7FC8F-A93B-4232-9C69-CD1C4BE5E8DA}"/>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400349956255472E-2"/>
          <c:y val="0.17757789478769143"/>
          <c:w val="0.48609186351706035"/>
          <c:h val="0.59643173437676122"/>
        </c:manualLayout>
      </c:layout>
      <c:doughnutChart>
        <c:varyColors val="1"/>
        <c:ser>
          <c:idx val="0"/>
          <c:order val="0"/>
          <c:tx>
            <c:strRef>
              <c:f>Tabelle1!$B$1</c:f>
              <c:strCache>
                <c:ptCount val="1"/>
                <c:pt idx="0">
                  <c:v>Nutzung</c:v>
                </c:pt>
              </c:strCache>
            </c:strRef>
          </c:tx>
          <c:spPr>
            <a:ln>
              <a:solidFill>
                <a:schemeClr val="bg1"/>
              </a:solidFill>
            </a:ln>
          </c:spPr>
          <c:dPt>
            <c:idx val="0"/>
            <c:bubble3D val="0"/>
            <c:spPr>
              <a:solidFill>
                <a:schemeClr val="accent2"/>
              </a:solidFill>
              <a:ln>
                <a:solidFill>
                  <a:schemeClr val="bg1"/>
                </a:solidFill>
              </a:ln>
            </c:spPr>
            <c:extLst>
              <c:ext xmlns:c16="http://schemas.microsoft.com/office/drawing/2014/chart" uri="{C3380CC4-5D6E-409C-BE32-E72D297353CC}">
                <c16:uniqueId val="{00000001-E33B-4E17-A9DF-1DE1BF6B9892}"/>
              </c:ext>
            </c:extLst>
          </c:dPt>
          <c:dPt>
            <c:idx val="1"/>
            <c:bubble3D val="0"/>
            <c:spPr>
              <a:solidFill>
                <a:schemeClr val="bg1">
                  <a:lumMod val="85000"/>
                </a:schemeClr>
              </a:solidFill>
              <a:ln>
                <a:solidFill>
                  <a:schemeClr val="bg1"/>
                </a:solidFill>
              </a:ln>
            </c:spPr>
            <c:extLst>
              <c:ext xmlns:c16="http://schemas.microsoft.com/office/drawing/2014/chart" uri="{C3380CC4-5D6E-409C-BE32-E72D297353CC}">
                <c16:uniqueId val="{00000003-E33B-4E17-A9DF-1DE1BF6B9892}"/>
              </c:ext>
            </c:extLst>
          </c:dPt>
          <c:dPt>
            <c:idx val="2"/>
            <c:bubble3D val="0"/>
            <c:spPr>
              <a:noFill/>
              <a:ln>
                <a:solidFill>
                  <a:schemeClr val="bg1"/>
                </a:solidFill>
              </a:ln>
            </c:spPr>
            <c:extLst>
              <c:ext xmlns:c16="http://schemas.microsoft.com/office/drawing/2014/chart" uri="{C3380CC4-5D6E-409C-BE32-E72D297353CC}">
                <c16:uniqueId val="{00000005-E33B-4E17-A9DF-1DE1BF6B9892}"/>
              </c:ext>
            </c:extLst>
          </c:dPt>
          <c:cat>
            <c:strRef>
              <c:f>Tabelle1!$A$2:$A$4</c:f>
              <c:strCache>
                <c:ptCount val="2"/>
                <c:pt idx="0">
                  <c:v>Ja</c:v>
                </c:pt>
                <c:pt idx="1">
                  <c:v>Nein</c:v>
                </c:pt>
              </c:strCache>
            </c:strRef>
          </c:cat>
          <c:val>
            <c:numRef>
              <c:f>Tabelle1!$B$2:$B$4</c:f>
              <c:numCache>
                <c:formatCode>0%</c:formatCode>
                <c:ptCount val="3"/>
                <c:pt idx="0">
                  <c:v>0.64400000000000002</c:v>
                </c:pt>
                <c:pt idx="1">
                  <c:v>0.35599999999999998</c:v>
                </c:pt>
                <c:pt idx="2">
                  <c:v>0.3</c:v>
                </c:pt>
              </c:numCache>
            </c:numRef>
          </c:val>
          <c:extLst>
            <c:ext xmlns:c16="http://schemas.microsoft.com/office/drawing/2014/chart" uri="{C3380CC4-5D6E-409C-BE32-E72D297353CC}">
              <c16:uniqueId val="{00000006-E33B-4E17-A9DF-1DE1BF6B9892}"/>
            </c:ext>
          </c:extLst>
        </c:ser>
        <c:dLbls>
          <c:showLegendKey val="0"/>
          <c:showVal val="0"/>
          <c:showCatName val="0"/>
          <c:showSerName val="0"/>
          <c:showPercent val="0"/>
          <c:showBubbleSize val="0"/>
          <c:showLeaderLines val="1"/>
        </c:dLbls>
        <c:firstSliceAng val="90"/>
        <c:holeSize val="50"/>
      </c:doughnutChart>
    </c:plotArea>
    <c:plotVisOnly val="1"/>
    <c:dispBlanksAs val="gap"/>
    <c:showDLblsOverMax val="0"/>
  </c:chart>
  <c:txPr>
    <a:bodyPr/>
    <a:lstStyle/>
    <a:p>
      <a:pPr>
        <a:defRPr sz="1800"/>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490470135280585E-2"/>
          <c:y val="9.204044503615226E-2"/>
          <c:w val="0.45769326735290644"/>
          <c:h val="0.80342991123616569"/>
        </c:manualLayout>
      </c:layout>
      <c:barChart>
        <c:barDir val="bar"/>
        <c:grouping val="clustered"/>
        <c:varyColors val="0"/>
        <c:ser>
          <c:idx val="0"/>
          <c:order val="0"/>
          <c:tx>
            <c:strRef>
              <c:f>Tabelle1!$B$1</c:f>
              <c:strCache>
                <c:ptCount val="1"/>
                <c:pt idx="0">
                  <c:v>D-CH (G) [699]</c:v>
                </c:pt>
              </c:strCache>
            </c:strRef>
          </c:tx>
          <c:spPr>
            <a:solidFill>
              <a:schemeClr val="accent5"/>
            </a:solidFill>
          </c:spPr>
          <c:invertIfNegative val="0"/>
          <c:dPt>
            <c:idx val="0"/>
            <c:invertIfNegative val="0"/>
            <c:bubble3D val="0"/>
            <c:spPr>
              <a:solidFill>
                <a:schemeClr val="accent5"/>
              </a:solidFill>
            </c:spPr>
            <c:extLst>
              <c:ext xmlns:c16="http://schemas.microsoft.com/office/drawing/2014/chart" uri="{C3380CC4-5D6E-409C-BE32-E72D297353CC}">
                <c16:uniqueId val="{00000001-9625-470E-AB92-E576FCBE9BB1}"/>
              </c:ext>
            </c:extLst>
          </c:dPt>
          <c:dPt>
            <c:idx val="1"/>
            <c:invertIfNegative val="0"/>
            <c:bubble3D val="0"/>
            <c:spPr>
              <a:solidFill>
                <a:schemeClr val="accent5"/>
              </a:solidFill>
            </c:spPr>
            <c:extLst>
              <c:ext xmlns:c16="http://schemas.microsoft.com/office/drawing/2014/chart" uri="{C3380CC4-5D6E-409C-BE32-E72D297353CC}">
                <c16:uniqueId val="{00000002-9625-470E-AB92-E576FCBE9BB1}"/>
              </c:ext>
            </c:extLst>
          </c:dPt>
          <c:dPt>
            <c:idx val="2"/>
            <c:invertIfNegative val="0"/>
            <c:bubble3D val="0"/>
            <c:spPr>
              <a:solidFill>
                <a:schemeClr val="accent5"/>
              </a:solidFill>
            </c:spPr>
            <c:extLst>
              <c:ext xmlns:c16="http://schemas.microsoft.com/office/drawing/2014/chart" uri="{C3380CC4-5D6E-409C-BE32-E72D297353CC}">
                <c16:uniqueId val="{00000003-9625-470E-AB92-E576FCBE9BB1}"/>
              </c:ext>
            </c:extLst>
          </c:dPt>
          <c:dPt>
            <c:idx val="3"/>
            <c:invertIfNegative val="0"/>
            <c:bubble3D val="0"/>
            <c:spPr>
              <a:solidFill>
                <a:schemeClr val="accent5"/>
              </a:solidFill>
            </c:spPr>
            <c:extLst>
              <c:ext xmlns:c16="http://schemas.microsoft.com/office/drawing/2014/chart" uri="{C3380CC4-5D6E-409C-BE32-E72D297353CC}">
                <c16:uniqueId val="{00000000-9625-470E-AB92-E576FCBE9BB1}"/>
              </c:ext>
            </c:extLst>
          </c:dPt>
          <c:dPt>
            <c:idx val="24"/>
            <c:invertIfNegative val="0"/>
            <c:bubble3D val="0"/>
            <c:extLst>
              <c:ext xmlns:c16="http://schemas.microsoft.com/office/drawing/2014/chart" uri="{C3380CC4-5D6E-409C-BE32-E72D297353CC}">
                <c16:uniqueId val="{00000001-BAAD-4EDE-B852-3FBFE25BFF49}"/>
              </c:ext>
            </c:extLst>
          </c:dPt>
          <c:dLbls>
            <c:dLbl>
              <c:idx val="2"/>
              <c:tx>
                <c:rich>
                  <a:bodyPr/>
                  <a:lstStyle/>
                  <a:p>
                    <a:fld id="{D017A182-4E12-CF4E-846C-C4EDED37EF9C}" type="VALUE">
                      <a:rPr lang="en-US" smtClean="0"/>
                      <a:pPr/>
                      <a:t>[WERT]</a:t>
                    </a:fld>
                    <a:r>
                      <a:rPr lang="en-US"/>
                      <a:t> H</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625-470E-AB92-E576FCBE9BB1}"/>
                </c:ext>
              </c:extLst>
            </c:dLbl>
            <c:spPr>
              <a:noFill/>
              <a:ln>
                <a:noFill/>
              </a:ln>
              <a:effectLst/>
            </c:spPr>
            <c:txPr>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numCache>
            </c:numRef>
          </c:cat>
          <c:val>
            <c:numRef>
              <c:f>Tabelle1!$B$2:$B$5</c:f>
              <c:numCache>
                <c:formatCode>0%</c:formatCode>
                <c:ptCount val="4"/>
                <c:pt idx="0">
                  <c:v>6.8000000000000005E-2</c:v>
                </c:pt>
                <c:pt idx="1">
                  <c:v>0.17199999999999999</c:v>
                </c:pt>
                <c:pt idx="2">
                  <c:v>0.33400000000000002</c:v>
                </c:pt>
                <c:pt idx="3">
                  <c:v>0.42599999999999999</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W-CH (H) [302]</c:v>
                </c:pt>
              </c:strCache>
            </c:strRef>
          </c:tx>
          <c:spPr>
            <a:solidFill>
              <a:schemeClr val="accent5">
                <a:lumMod val="40000"/>
                <a:lumOff val="60000"/>
              </a:schemeClr>
            </a:solidFill>
          </c:spPr>
          <c:invertIfNegative val="0"/>
          <c:dPt>
            <c:idx val="3"/>
            <c:invertIfNegative val="0"/>
            <c:bubble3D val="0"/>
            <c:extLst>
              <c:ext xmlns:c16="http://schemas.microsoft.com/office/drawing/2014/chart" uri="{C3380CC4-5D6E-409C-BE32-E72D297353CC}">
                <c16:uniqueId val="{00000010-7D8A-4AF0-AE26-9A9D5F9F8697}"/>
              </c:ext>
            </c:extLst>
          </c:dPt>
          <c:dLbls>
            <c:dLbl>
              <c:idx val="1"/>
              <c:tx>
                <c:rich>
                  <a:bodyPr/>
                  <a:lstStyle/>
                  <a:p>
                    <a:fld id="{C5163508-8B1A-F74F-9764-1523FFAB8F4C}" type="VALUE">
                      <a:rPr lang="en-US" smtClean="0"/>
                      <a:pPr/>
                      <a:t>[WERT]</a:t>
                    </a:fld>
                    <a:r>
                      <a:rPr lang="en-US"/>
                      <a:t> I</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6BFA-A84A-B5C1-D552DA016E02}"/>
                </c:ext>
              </c:extLst>
            </c:dLbl>
            <c:spPr>
              <a:noFill/>
              <a:ln>
                <a:noFill/>
              </a:ln>
              <a:effectLst/>
            </c:spPr>
            <c:txPr>
              <a:bodyPr wrap="square" lIns="38100" tIns="19050" rIns="38100" bIns="19050" anchor="ctr">
                <a:spAutoFit/>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5</c:f>
              <c:numCache>
                <c:formatCode>General</c:formatCode>
                <c:ptCount val="4"/>
              </c:numCache>
            </c:numRef>
          </c:cat>
          <c:val>
            <c:numRef>
              <c:f>Tabelle1!$C$2:$C$5</c:f>
              <c:numCache>
                <c:formatCode>0%</c:formatCode>
                <c:ptCount val="4"/>
                <c:pt idx="0">
                  <c:v>6.9000000000000006E-2</c:v>
                </c:pt>
                <c:pt idx="1">
                  <c:v>0.217</c:v>
                </c:pt>
                <c:pt idx="2">
                  <c:v>0.25900000000000001</c:v>
                </c:pt>
                <c:pt idx="3">
                  <c:v>0.45400000000000001</c:v>
                </c:pt>
              </c:numCache>
            </c:numRef>
          </c:val>
          <c:extLst>
            <c:ext xmlns:c16="http://schemas.microsoft.com/office/drawing/2014/chart" uri="{C3380CC4-5D6E-409C-BE32-E72D297353CC}">
              <c16:uniqueId val="{0000000E-7D8A-4AF0-AE26-9A9D5F9F8697}"/>
            </c:ext>
          </c:extLst>
        </c:ser>
        <c:ser>
          <c:idx val="2"/>
          <c:order val="2"/>
          <c:tx>
            <c:strRef>
              <c:f>Tabelle1!$D$1</c:f>
              <c:strCache>
                <c:ptCount val="1"/>
                <c:pt idx="0">
                  <c:v>Tessin (I) [195]</c:v>
                </c:pt>
              </c:strCache>
            </c:strRef>
          </c:tx>
          <c:spPr>
            <a:solidFill>
              <a:schemeClr val="accent5">
                <a:lumMod val="20000"/>
                <a:lumOff val="80000"/>
              </a:schemeClr>
            </a:solidFill>
          </c:spPr>
          <c:invertIfNegative val="0"/>
          <c:dLbls>
            <c:spPr>
              <a:noFill/>
              <a:ln>
                <a:noFill/>
              </a:ln>
              <a:effectLst/>
            </c:spPr>
            <c:txPr>
              <a:bodyPr wrap="square" lIns="38100" tIns="19050" rIns="38100" bIns="19050" anchor="ctr">
                <a:spAutoFit/>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5</c:f>
              <c:numCache>
                <c:formatCode>General</c:formatCode>
                <c:ptCount val="4"/>
              </c:numCache>
            </c:numRef>
          </c:cat>
          <c:val>
            <c:numRef>
              <c:f>Tabelle1!$D$2:$D$5</c:f>
              <c:numCache>
                <c:formatCode>0%</c:formatCode>
                <c:ptCount val="4"/>
                <c:pt idx="0">
                  <c:v>2.8000000000000001E-2</c:v>
                </c:pt>
                <c:pt idx="1">
                  <c:v>0.13600000000000001</c:v>
                </c:pt>
                <c:pt idx="2">
                  <c:v>0.32800000000000001</c:v>
                </c:pt>
                <c:pt idx="3">
                  <c:v>0.50800000000000001</c:v>
                </c:pt>
              </c:numCache>
            </c:numRef>
          </c:val>
          <c:extLst>
            <c:ext xmlns:c16="http://schemas.microsoft.com/office/drawing/2014/chart" uri="{C3380CC4-5D6E-409C-BE32-E72D297353CC}">
              <c16:uniqueId val="{0000000B-CE0D-4218-BB1D-8D191CAEC14C}"/>
            </c:ext>
          </c:extLst>
        </c:ser>
        <c:dLbls>
          <c:showLegendKey val="0"/>
          <c:showVal val="0"/>
          <c:showCatName val="0"/>
          <c:showSerName val="0"/>
          <c:showPercent val="0"/>
          <c:showBubbleSize val="0"/>
        </c:dLbls>
        <c:gapWidth val="161"/>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2.5284446935635162E-2"/>
          <c:y val="0.89767156252372726"/>
          <c:w val="0.72501189245124453"/>
          <c:h val="8.5460674759208266E-2"/>
        </c:manualLayout>
      </c:layout>
      <c:overlay val="0"/>
      <c:txPr>
        <a:bodyPr/>
        <a:lstStyle/>
        <a:p>
          <a:pPr>
            <a:defRPr sz="9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400349956255472E-2"/>
          <c:y val="0.17757789478769143"/>
          <c:w val="0.48609186351706035"/>
          <c:h val="0.59643173437676122"/>
        </c:manualLayout>
      </c:layout>
      <c:doughnutChart>
        <c:varyColors val="1"/>
        <c:ser>
          <c:idx val="0"/>
          <c:order val="0"/>
          <c:tx>
            <c:strRef>
              <c:f>Tabelle1!$B$1</c:f>
              <c:strCache>
                <c:ptCount val="1"/>
                <c:pt idx="0">
                  <c:v>Nutzung</c:v>
                </c:pt>
              </c:strCache>
            </c:strRef>
          </c:tx>
          <c:spPr>
            <a:ln>
              <a:solidFill>
                <a:schemeClr val="bg1"/>
              </a:solidFill>
            </a:ln>
          </c:spPr>
          <c:dPt>
            <c:idx val="0"/>
            <c:bubble3D val="0"/>
            <c:spPr>
              <a:solidFill>
                <a:schemeClr val="accent5"/>
              </a:solidFill>
              <a:ln>
                <a:solidFill>
                  <a:schemeClr val="bg1"/>
                </a:solidFill>
              </a:ln>
            </c:spPr>
            <c:extLst>
              <c:ext xmlns:c16="http://schemas.microsoft.com/office/drawing/2014/chart" uri="{C3380CC4-5D6E-409C-BE32-E72D297353CC}">
                <c16:uniqueId val="{00000001-E33B-4E17-A9DF-1DE1BF6B9892}"/>
              </c:ext>
            </c:extLst>
          </c:dPt>
          <c:dPt>
            <c:idx val="1"/>
            <c:bubble3D val="0"/>
            <c:spPr>
              <a:solidFill>
                <a:schemeClr val="bg1">
                  <a:lumMod val="85000"/>
                </a:schemeClr>
              </a:solidFill>
              <a:ln>
                <a:solidFill>
                  <a:schemeClr val="bg1"/>
                </a:solidFill>
              </a:ln>
            </c:spPr>
            <c:extLst>
              <c:ext xmlns:c16="http://schemas.microsoft.com/office/drawing/2014/chart" uri="{C3380CC4-5D6E-409C-BE32-E72D297353CC}">
                <c16:uniqueId val="{00000003-E33B-4E17-A9DF-1DE1BF6B9892}"/>
              </c:ext>
            </c:extLst>
          </c:dPt>
          <c:dPt>
            <c:idx val="2"/>
            <c:bubble3D val="0"/>
            <c:spPr>
              <a:noFill/>
              <a:ln>
                <a:solidFill>
                  <a:schemeClr val="bg1"/>
                </a:solidFill>
              </a:ln>
            </c:spPr>
            <c:extLst>
              <c:ext xmlns:c16="http://schemas.microsoft.com/office/drawing/2014/chart" uri="{C3380CC4-5D6E-409C-BE32-E72D297353CC}">
                <c16:uniqueId val="{00000005-E33B-4E17-A9DF-1DE1BF6B9892}"/>
              </c:ext>
            </c:extLst>
          </c:dPt>
          <c:cat>
            <c:strRef>
              <c:f>Tabelle1!$A$2:$A$4</c:f>
              <c:strCache>
                <c:ptCount val="2"/>
                <c:pt idx="0">
                  <c:v>Ja</c:v>
                </c:pt>
                <c:pt idx="1">
                  <c:v>Nein</c:v>
                </c:pt>
              </c:strCache>
            </c:strRef>
          </c:cat>
          <c:val>
            <c:numRef>
              <c:f>Tabelle1!$B$2:$B$4</c:f>
              <c:numCache>
                <c:formatCode>0%</c:formatCode>
                <c:ptCount val="3"/>
                <c:pt idx="0">
                  <c:v>0.75</c:v>
                </c:pt>
                <c:pt idx="1">
                  <c:v>0.25</c:v>
                </c:pt>
                <c:pt idx="2">
                  <c:v>0.3</c:v>
                </c:pt>
              </c:numCache>
            </c:numRef>
          </c:val>
          <c:extLst>
            <c:ext xmlns:c16="http://schemas.microsoft.com/office/drawing/2014/chart" uri="{C3380CC4-5D6E-409C-BE32-E72D297353CC}">
              <c16:uniqueId val="{00000006-E33B-4E17-A9DF-1DE1BF6B9892}"/>
            </c:ext>
          </c:extLst>
        </c:ser>
        <c:dLbls>
          <c:showLegendKey val="0"/>
          <c:showVal val="0"/>
          <c:showCatName val="0"/>
          <c:showSerName val="0"/>
          <c:showPercent val="0"/>
          <c:showBubbleSize val="0"/>
          <c:showLeaderLines val="1"/>
        </c:dLbls>
        <c:firstSliceAng val="90"/>
        <c:holeSize val="50"/>
      </c:doughnutChart>
    </c:plotArea>
    <c:plotVisOnly val="1"/>
    <c:dispBlanksAs val="gap"/>
    <c:showDLblsOverMax val="0"/>
  </c:chart>
  <c:txPr>
    <a:bodyPr/>
    <a:lstStyle/>
    <a:p>
      <a:pPr>
        <a:defRPr sz="1800"/>
      </a:pPr>
      <a:endParaRPr lang="de-D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72718374403137"/>
          <c:y val="9.2040427461904689E-2"/>
          <c:w val="0.54950463692038498"/>
          <c:h val="0.82395547182369078"/>
        </c:manualLayout>
      </c:layout>
      <c:barChart>
        <c:barDir val="bar"/>
        <c:grouping val="clustered"/>
        <c:varyColors val="0"/>
        <c:ser>
          <c:idx val="0"/>
          <c:order val="0"/>
          <c:tx>
            <c:strRef>
              <c:f>Tabelle1!$B$1</c:f>
              <c:strCache>
                <c:ptCount val="1"/>
                <c:pt idx="0">
                  <c:v>Spalte1</c:v>
                </c:pt>
              </c:strCache>
            </c:strRef>
          </c:tx>
          <c:spPr>
            <a:solidFill>
              <a:schemeClr val="accent5">
                <a:lumMod val="40000"/>
                <a:lumOff val="60000"/>
              </a:schemeClr>
            </a:solidFill>
          </c:spPr>
          <c:invertIfNegative val="0"/>
          <c:dPt>
            <c:idx val="11"/>
            <c:invertIfNegative val="0"/>
            <c:bubble3D val="0"/>
            <c:spPr>
              <a:solidFill>
                <a:schemeClr val="bg1">
                  <a:lumMod val="75000"/>
                </a:schemeClr>
              </a:solidFill>
            </c:spPr>
            <c:extLst>
              <c:ext xmlns:c16="http://schemas.microsoft.com/office/drawing/2014/chart" uri="{C3380CC4-5D6E-409C-BE32-E72D297353CC}">
                <c16:uniqueId val="{00000000-52F9-40AA-A287-315A861A59D5}"/>
              </c:ext>
            </c:extLst>
          </c:dPt>
          <c:dPt>
            <c:idx val="12"/>
            <c:invertIfNegative val="0"/>
            <c:bubble3D val="0"/>
            <c:spPr>
              <a:solidFill>
                <a:schemeClr val="bg1">
                  <a:lumMod val="75000"/>
                </a:schemeClr>
              </a:solidFill>
            </c:spPr>
            <c:extLst>
              <c:ext xmlns:c16="http://schemas.microsoft.com/office/drawing/2014/chart" uri="{C3380CC4-5D6E-409C-BE32-E72D297353CC}">
                <c16:uniqueId val="{00000001-52F9-40AA-A287-315A861A59D5}"/>
              </c:ext>
            </c:extLst>
          </c:dPt>
          <c:dPt>
            <c:idx val="25"/>
            <c:invertIfNegative val="0"/>
            <c:bubble3D val="0"/>
            <c:extLst>
              <c:ext xmlns:c16="http://schemas.microsoft.com/office/drawing/2014/chart" uri="{C3380CC4-5D6E-409C-BE32-E72D297353CC}">
                <c16:uniqueId val="{00000001-BAAD-4EDE-B852-3FBFE25BFF49}"/>
              </c:ext>
            </c:extLst>
          </c:dPt>
          <c:dLbls>
            <c:spPr>
              <a:noFill/>
              <a:ln>
                <a:noFill/>
              </a:ln>
              <a:effectLst/>
            </c:spPr>
            <c:txPr>
              <a:bodyPr/>
              <a:lstStyle/>
              <a:p>
                <a:pPr>
                  <a:defRPr sz="10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14</c:f>
              <c:strCache>
                <c:ptCount val="13"/>
                <c:pt idx="0">
                  <c:v> Kein Bedürfnis</c:v>
                </c:pt>
                <c:pt idx="1">
                  <c:v> Abhängigkeit</c:v>
                </c:pt>
                <c:pt idx="2">
                  <c:v> Potenzielle Nebenwirkungen</c:v>
                </c:pt>
                <c:pt idx="3">
                  <c:v> Mangelnde Information</c:v>
                </c:pt>
                <c:pt idx="4">
                  <c:v> Unklarheit über die Legalität</c:v>
                </c:pt>
                <c:pt idx="5">
                  <c:v> Fehlende Forschung</c:v>
                </c:pt>
                <c:pt idx="6">
                  <c:v> Mangelnde Regulierung</c:v>
                </c:pt>
                <c:pt idx="7">
                  <c:v> Qualität</c:v>
                </c:pt>
                <c:pt idx="8">
                  <c:v> Herkunft</c:v>
                </c:pt>
                <c:pt idx="9">
                  <c:v> Stigmatisierung</c:v>
                </c:pt>
                <c:pt idx="10">
                  <c:v> Schwierigkeiten bei der Dosierung</c:v>
                </c:pt>
                <c:pt idx="11">
                  <c:v>Anderes</c:v>
                </c:pt>
                <c:pt idx="12">
                  <c:v>Weiss nicht / keine Angabe</c:v>
                </c:pt>
              </c:strCache>
            </c:strRef>
          </c:cat>
          <c:val>
            <c:numRef>
              <c:f>Tabelle1!$B$2:$B$14</c:f>
              <c:numCache>
                <c:formatCode>0%</c:formatCode>
                <c:ptCount val="13"/>
                <c:pt idx="0">
                  <c:v>0.76100000000000001</c:v>
                </c:pt>
                <c:pt idx="1">
                  <c:v>0.26200000000000001</c:v>
                </c:pt>
                <c:pt idx="2">
                  <c:v>0.24199999999999999</c:v>
                </c:pt>
                <c:pt idx="3">
                  <c:v>0.113</c:v>
                </c:pt>
                <c:pt idx="4">
                  <c:v>9.0999999999999998E-2</c:v>
                </c:pt>
                <c:pt idx="5">
                  <c:v>6.8000000000000005E-2</c:v>
                </c:pt>
                <c:pt idx="6">
                  <c:v>0.06</c:v>
                </c:pt>
                <c:pt idx="7">
                  <c:v>5.8000000000000003E-2</c:v>
                </c:pt>
                <c:pt idx="8">
                  <c:v>5.1999999999999998E-2</c:v>
                </c:pt>
                <c:pt idx="9">
                  <c:v>4.8000000000000001E-2</c:v>
                </c:pt>
                <c:pt idx="10">
                  <c:v>4.4999999999999998E-2</c:v>
                </c:pt>
                <c:pt idx="11">
                  <c:v>5.8000000000000003E-2</c:v>
                </c:pt>
                <c:pt idx="12">
                  <c:v>3.5999999999999997E-2</c:v>
                </c:pt>
              </c:numCache>
            </c:numRef>
          </c:val>
          <c:extLst>
            <c:ext xmlns:c16="http://schemas.microsoft.com/office/drawing/2014/chart" uri="{C3380CC4-5D6E-409C-BE32-E72D297353CC}">
              <c16:uniqueId val="{00000002-BAAD-4EDE-B852-3FBFE25BFF49}"/>
            </c:ext>
          </c:extLst>
        </c:ser>
        <c:dLbls>
          <c:showLegendKey val="0"/>
          <c:showVal val="0"/>
          <c:showCatName val="0"/>
          <c:showSerName val="0"/>
          <c:showPercent val="0"/>
          <c:showBubbleSize val="0"/>
        </c:dLbls>
        <c:gapWidth val="73"/>
        <c:axId val="53095936"/>
        <c:axId val="137818048"/>
      </c:barChart>
      <c:catAx>
        <c:axId val="53095936"/>
        <c:scaling>
          <c:orientation val="maxMin"/>
        </c:scaling>
        <c:delete val="0"/>
        <c:axPos val="l"/>
        <c:numFmt formatCode="General" sourceLinked="0"/>
        <c:majorTickMark val="none"/>
        <c:minorTickMark val="none"/>
        <c:tickLblPos val="nextTo"/>
        <c:txPr>
          <a:bodyPr/>
          <a:lstStyle/>
          <a:p>
            <a:pPr algn="r">
              <a:defRPr sz="10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plotVisOnly val="1"/>
    <c:dispBlanksAs val="gap"/>
    <c:showDLblsOverMax val="0"/>
  </c:chart>
  <c:txPr>
    <a:bodyPr/>
    <a:lstStyle/>
    <a:p>
      <a:pPr>
        <a:defRPr sz="1800"/>
      </a:pPr>
      <a:endParaRPr lang="de-D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390692688949884"/>
          <c:y val="9.2040430389156117E-2"/>
          <c:w val="0.46310336077491426"/>
          <c:h val="0.82592026152558518"/>
        </c:manualLayout>
      </c:layout>
      <c:barChart>
        <c:barDir val="bar"/>
        <c:grouping val="clustered"/>
        <c:varyColors val="0"/>
        <c:ser>
          <c:idx val="0"/>
          <c:order val="0"/>
          <c:tx>
            <c:strRef>
              <c:f>Tabelle1!$B$1</c:f>
              <c:strCache>
                <c:ptCount val="1"/>
                <c:pt idx="0">
                  <c:v>Spalte1</c:v>
                </c:pt>
              </c:strCache>
            </c:strRef>
          </c:tx>
          <c:spPr>
            <a:solidFill>
              <a:schemeClr val="accent2"/>
            </a:solidFill>
          </c:spPr>
          <c:invertIfNegative val="0"/>
          <c:dPt>
            <c:idx val="0"/>
            <c:invertIfNegative val="0"/>
            <c:bubble3D val="0"/>
            <c:extLst>
              <c:ext xmlns:c16="http://schemas.microsoft.com/office/drawing/2014/chart" uri="{C3380CC4-5D6E-409C-BE32-E72D297353CC}">
                <c16:uniqueId val="{00000000-AE7C-8E4C-86B5-5C66835FCFE2}"/>
              </c:ext>
            </c:extLst>
          </c:dPt>
          <c:dPt>
            <c:idx val="1"/>
            <c:invertIfNegative val="0"/>
            <c:bubble3D val="0"/>
            <c:extLst>
              <c:ext xmlns:c16="http://schemas.microsoft.com/office/drawing/2014/chart" uri="{C3380CC4-5D6E-409C-BE32-E72D297353CC}">
                <c16:uniqueId val="{00000001-AE7C-8E4C-86B5-5C66835FCFE2}"/>
              </c:ext>
            </c:extLst>
          </c:dPt>
          <c:dPt>
            <c:idx val="2"/>
            <c:invertIfNegative val="0"/>
            <c:bubble3D val="0"/>
            <c:extLst>
              <c:ext xmlns:c16="http://schemas.microsoft.com/office/drawing/2014/chart" uri="{C3380CC4-5D6E-409C-BE32-E72D297353CC}">
                <c16:uniqueId val="{00000002-AE7C-8E4C-86B5-5C66835FCFE2}"/>
              </c:ext>
            </c:extLst>
          </c:dPt>
          <c:dPt>
            <c:idx val="3"/>
            <c:invertIfNegative val="0"/>
            <c:bubble3D val="0"/>
            <c:extLst>
              <c:ext xmlns:c16="http://schemas.microsoft.com/office/drawing/2014/chart" uri="{C3380CC4-5D6E-409C-BE32-E72D297353CC}">
                <c16:uniqueId val="{00000003-AE7C-8E4C-86B5-5C66835FCFE2}"/>
              </c:ext>
            </c:extLst>
          </c:dPt>
          <c:dPt>
            <c:idx val="15"/>
            <c:invertIfNegative val="0"/>
            <c:bubble3D val="0"/>
            <c:spPr>
              <a:solidFill>
                <a:schemeClr val="bg1">
                  <a:lumMod val="75000"/>
                </a:schemeClr>
              </a:solidFill>
            </c:spPr>
            <c:extLst>
              <c:ext xmlns:c16="http://schemas.microsoft.com/office/drawing/2014/chart" uri="{C3380CC4-5D6E-409C-BE32-E72D297353CC}">
                <c16:uniqueId val="{00000005-AE7C-8E4C-86B5-5C66835FCFE2}"/>
              </c:ext>
            </c:extLst>
          </c:dPt>
          <c:dPt>
            <c:idx val="16"/>
            <c:invertIfNegative val="0"/>
            <c:bubble3D val="0"/>
            <c:spPr>
              <a:solidFill>
                <a:schemeClr val="bg1">
                  <a:lumMod val="75000"/>
                </a:schemeClr>
              </a:solidFill>
            </c:spPr>
            <c:extLst>
              <c:ext xmlns:c16="http://schemas.microsoft.com/office/drawing/2014/chart" uri="{C3380CC4-5D6E-409C-BE32-E72D297353CC}">
                <c16:uniqueId val="{00000007-AE7C-8E4C-86B5-5C66835FCFE2}"/>
              </c:ext>
            </c:extLst>
          </c:dPt>
          <c:dPt>
            <c:idx val="25"/>
            <c:invertIfNegative val="0"/>
            <c:bubble3D val="0"/>
            <c:extLst>
              <c:ext xmlns:c16="http://schemas.microsoft.com/office/drawing/2014/chart" uri="{C3380CC4-5D6E-409C-BE32-E72D297353CC}">
                <c16:uniqueId val="{00000008-AE7C-8E4C-86B5-5C66835FCFE2}"/>
              </c:ext>
            </c:extLst>
          </c:dPt>
          <c:dLbls>
            <c:spPr>
              <a:noFill/>
              <a:ln>
                <a:noFill/>
              </a:ln>
              <a:effectLst/>
            </c:spPr>
            <c:txPr>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11</c:f>
              <c:strCache>
                <c:ptCount val="10"/>
                <c:pt idx="0">
                  <c:v>Entspannung</c:v>
                </c:pt>
                <c:pt idx="1">
                  <c:v>therapeutischer / medizinischer Nutzen</c:v>
                </c:pt>
                <c:pt idx="2">
                  <c:v>Rauschmittel</c:v>
                </c:pt>
                <c:pt idx="3">
                  <c:v>Generelle negative Assozierung</c:v>
                </c:pt>
                <c:pt idx="4">
                  <c:v>Generelle positive Assozierung</c:v>
                </c:pt>
                <c:pt idx="5">
                  <c:v>Lebensmittelverarbeitung</c:v>
                </c:pt>
                <c:pt idx="6">
                  <c:v>Kosmetische Anwendung</c:v>
                </c:pt>
                <c:pt idx="7">
                  <c:v>Legal</c:v>
                </c:pt>
                <c:pt idx="8">
                  <c:v>Geruchsintensität</c:v>
                </c:pt>
                <c:pt idx="9">
                  <c:v>Keine Nebenwirkung</c:v>
                </c:pt>
              </c:strCache>
            </c:strRef>
          </c:cat>
          <c:val>
            <c:numRef>
              <c:f>Tabelle1!$B$2:$B$11</c:f>
              <c:numCache>
                <c:formatCode>0%</c:formatCode>
                <c:ptCount val="10"/>
                <c:pt idx="0">
                  <c:v>0.51</c:v>
                </c:pt>
                <c:pt idx="1">
                  <c:v>0.34799999999999998</c:v>
                </c:pt>
                <c:pt idx="2">
                  <c:v>0.13200000000000001</c:v>
                </c:pt>
                <c:pt idx="3">
                  <c:v>8.6999999999999994E-2</c:v>
                </c:pt>
                <c:pt idx="4">
                  <c:v>8.1000000000000003E-2</c:v>
                </c:pt>
                <c:pt idx="5">
                  <c:v>0.06</c:v>
                </c:pt>
                <c:pt idx="6">
                  <c:v>5.5E-2</c:v>
                </c:pt>
                <c:pt idx="7">
                  <c:v>5.3999999999999999E-2</c:v>
                </c:pt>
                <c:pt idx="8">
                  <c:v>4.5999999999999999E-2</c:v>
                </c:pt>
                <c:pt idx="9">
                  <c:v>4.2999999999999997E-2</c:v>
                </c:pt>
              </c:numCache>
            </c:numRef>
          </c:val>
          <c:extLst>
            <c:ext xmlns:c16="http://schemas.microsoft.com/office/drawing/2014/chart" uri="{C3380CC4-5D6E-409C-BE32-E72D297353CC}">
              <c16:uniqueId val="{00000009-AE7C-8E4C-86B5-5C66835FCFE2}"/>
            </c:ext>
          </c:extLst>
        </c:ser>
        <c:dLbls>
          <c:showLegendKey val="0"/>
          <c:showVal val="0"/>
          <c:showCatName val="0"/>
          <c:showSerName val="0"/>
          <c:showPercent val="0"/>
          <c:showBubbleSize val="0"/>
        </c:dLbls>
        <c:gapWidth val="65"/>
        <c:axId val="53095936"/>
        <c:axId val="137818048"/>
      </c:barChart>
      <c:catAx>
        <c:axId val="53095936"/>
        <c:scaling>
          <c:orientation val="maxMin"/>
        </c:scaling>
        <c:delete val="0"/>
        <c:axPos val="l"/>
        <c:numFmt formatCode="General" sourceLinked="0"/>
        <c:majorTickMark val="none"/>
        <c:minorTickMark val="none"/>
        <c:tickLblPos val="nextTo"/>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plotVisOnly val="1"/>
    <c:dispBlanksAs val="gap"/>
    <c:showDLblsOverMax val="0"/>
  </c:chart>
  <c:txPr>
    <a:bodyPr/>
    <a:lstStyle/>
    <a:p>
      <a:pPr>
        <a:defRPr sz="1800"/>
      </a:pPr>
      <a:endParaRPr lang="de-D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104959629280667"/>
          <c:y val="9.2040430389156117E-2"/>
          <c:w val="0.45769326735290644"/>
          <c:h val="0.82873155531176257"/>
        </c:manualLayout>
      </c:layout>
      <c:barChart>
        <c:barDir val="bar"/>
        <c:grouping val="clustered"/>
        <c:varyColors val="0"/>
        <c:ser>
          <c:idx val="0"/>
          <c:order val="0"/>
          <c:tx>
            <c:strRef>
              <c:f>Tabelle1!$B$1</c:f>
              <c:strCache>
                <c:ptCount val="1"/>
                <c:pt idx="0">
                  <c:v>Männer (A) [178]</c:v>
                </c:pt>
              </c:strCache>
            </c:strRef>
          </c:tx>
          <c:spPr>
            <a:solidFill>
              <a:schemeClr val="accent6"/>
            </a:solidFill>
          </c:spPr>
          <c:invertIfNegative val="0"/>
          <c:dPt>
            <c:idx val="0"/>
            <c:invertIfNegative val="0"/>
            <c:bubble3D val="0"/>
            <c:extLst>
              <c:ext xmlns:c16="http://schemas.microsoft.com/office/drawing/2014/chart" uri="{C3380CC4-5D6E-409C-BE32-E72D297353CC}">
                <c16:uniqueId val="{00000000-77F2-DE4A-8C54-B7ADF7F1D986}"/>
              </c:ext>
            </c:extLst>
          </c:dPt>
          <c:dPt>
            <c:idx val="1"/>
            <c:invertIfNegative val="0"/>
            <c:bubble3D val="0"/>
            <c:extLst>
              <c:ext xmlns:c16="http://schemas.microsoft.com/office/drawing/2014/chart" uri="{C3380CC4-5D6E-409C-BE32-E72D297353CC}">
                <c16:uniqueId val="{00000001-77F2-DE4A-8C54-B7ADF7F1D986}"/>
              </c:ext>
            </c:extLst>
          </c:dPt>
          <c:dPt>
            <c:idx val="2"/>
            <c:invertIfNegative val="0"/>
            <c:bubble3D val="0"/>
            <c:extLst>
              <c:ext xmlns:c16="http://schemas.microsoft.com/office/drawing/2014/chart" uri="{C3380CC4-5D6E-409C-BE32-E72D297353CC}">
                <c16:uniqueId val="{00000002-77F2-DE4A-8C54-B7ADF7F1D986}"/>
              </c:ext>
            </c:extLst>
          </c:dPt>
          <c:dPt>
            <c:idx val="3"/>
            <c:invertIfNegative val="0"/>
            <c:bubble3D val="0"/>
            <c:extLst>
              <c:ext xmlns:c16="http://schemas.microsoft.com/office/drawing/2014/chart" uri="{C3380CC4-5D6E-409C-BE32-E72D297353CC}">
                <c16:uniqueId val="{00000003-77F2-DE4A-8C54-B7ADF7F1D986}"/>
              </c:ext>
            </c:extLst>
          </c:dPt>
          <c:dPt>
            <c:idx val="14"/>
            <c:invertIfNegative val="0"/>
            <c:bubble3D val="0"/>
            <c:extLst>
              <c:ext xmlns:c16="http://schemas.microsoft.com/office/drawing/2014/chart" uri="{C3380CC4-5D6E-409C-BE32-E72D297353CC}">
                <c16:uniqueId val="{00000004-77F2-DE4A-8C54-B7ADF7F1D986}"/>
              </c:ext>
            </c:extLst>
          </c:dPt>
          <c:dPt>
            <c:idx val="15"/>
            <c:invertIfNegative val="0"/>
            <c:bubble3D val="0"/>
            <c:extLst>
              <c:ext xmlns:c16="http://schemas.microsoft.com/office/drawing/2014/chart" uri="{C3380CC4-5D6E-409C-BE32-E72D297353CC}">
                <c16:uniqueId val="{00000005-77F2-DE4A-8C54-B7ADF7F1D986}"/>
              </c:ext>
            </c:extLst>
          </c:dPt>
          <c:dPt>
            <c:idx val="16"/>
            <c:invertIfNegative val="0"/>
            <c:bubble3D val="0"/>
            <c:spPr>
              <a:solidFill>
                <a:schemeClr val="bg1">
                  <a:lumMod val="65000"/>
                </a:schemeClr>
              </a:solidFill>
            </c:spPr>
            <c:extLst>
              <c:ext xmlns:c16="http://schemas.microsoft.com/office/drawing/2014/chart" uri="{C3380CC4-5D6E-409C-BE32-E72D297353CC}">
                <c16:uniqueId val="{00000007-77F2-DE4A-8C54-B7ADF7F1D986}"/>
              </c:ext>
            </c:extLst>
          </c:dPt>
          <c:dPt>
            <c:idx val="24"/>
            <c:invertIfNegative val="0"/>
            <c:bubble3D val="0"/>
            <c:extLst>
              <c:ext xmlns:c16="http://schemas.microsoft.com/office/drawing/2014/chart" uri="{C3380CC4-5D6E-409C-BE32-E72D297353CC}">
                <c16:uniqueId val="{00000008-77F2-DE4A-8C54-B7ADF7F1D986}"/>
              </c:ext>
            </c:extLst>
          </c:dPt>
          <c:dLbls>
            <c:dLbl>
              <c:idx val="2"/>
              <c:tx>
                <c:rich>
                  <a:bodyPr/>
                  <a:lstStyle/>
                  <a:p>
                    <a:fld id="{0F139E0D-8C40-B647-98A2-6F0F5BDE3CCC}" type="VALUE">
                      <a:rPr lang="en-US" smtClean="0"/>
                      <a:pPr/>
                      <a:t>[WERT]</a:t>
                    </a:fld>
                    <a:r>
                      <a:rPr lang="en-US"/>
                      <a:t> B</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7F2-DE4A-8C54-B7ADF7F1D986}"/>
                </c:ext>
              </c:extLst>
            </c:dLbl>
            <c:spPr>
              <a:noFill/>
              <a:ln>
                <a:noFill/>
              </a:ln>
              <a:effectLst/>
            </c:spPr>
            <c:txPr>
              <a:bodyPr wrap="square" lIns="38100" tIns="19050" rIns="38100" bIns="19050" anchor="ctr">
                <a:spAutoFit/>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B$2:$B$11</c:f>
              <c:numCache>
                <c:formatCode>0%</c:formatCode>
                <c:ptCount val="10"/>
                <c:pt idx="0">
                  <c:v>0.45300000000000001</c:v>
                </c:pt>
                <c:pt idx="1">
                  <c:v>0.20499999999999999</c:v>
                </c:pt>
                <c:pt idx="2">
                  <c:v>0.2</c:v>
                </c:pt>
                <c:pt idx="3">
                  <c:v>0.113</c:v>
                </c:pt>
                <c:pt idx="4">
                  <c:v>8.5000000000000006E-2</c:v>
                </c:pt>
                <c:pt idx="5">
                  <c:v>6.5000000000000002E-2</c:v>
                </c:pt>
                <c:pt idx="6">
                  <c:v>6.3E-2</c:v>
                </c:pt>
                <c:pt idx="7">
                  <c:v>7.5999999999999998E-2</c:v>
                </c:pt>
                <c:pt idx="8">
                  <c:v>4.2999999999999997E-2</c:v>
                </c:pt>
                <c:pt idx="9">
                  <c:v>4.8000000000000001E-2</c:v>
                </c:pt>
              </c:numCache>
            </c:numRef>
          </c:val>
          <c:extLst>
            <c:ext xmlns:c16="http://schemas.microsoft.com/office/drawing/2014/chart" uri="{C3380CC4-5D6E-409C-BE32-E72D297353CC}">
              <c16:uniqueId val="{0000000A-77F2-DE4A-8C54-B7ADF7F1D986}"/>
            </c:ext>
          </c:extLst>
        </c:ser>
        <c:ser>
          <c:idx val="1"/>
          <c:order val="1"/>
          <c:tx>
            <c:strRef>
              <c:f>Tabelle1!$C$1</c:f>
              <c:strCache>
                <c:ptCount val="1"/>
                <c:pt idx="0">
                  <c:v>Frauen (B) [228]</c:v>
                </c:pt>
              </c:strCache>
            </c:strRef>
          </c:tx>
          <c:spPr>
            <a:solidFill>
              <a:schemeClr val="accent6">
                <a:lumMod val="60000"/>
                <a:lumOff val="40000"/>
              </a:schemeClr>
            </a:solidFill>
          </c:spPr>
          <c:invertIfNegative val="0"/>
          <c:dPt>
            <c:idx val="14"/>
            <c:invertIfNegative val="0"/>
            <c:bubble3D val="0"/>
            <c:extLst>
              <c:ext xmlns:c16="http://schemas.microsoft.com/office/drawing/2014/chart" uri="{C3380CC4-5D6E-409C-BE32-E72D297353CC}">
                <c16:uniqueId val="{0000000B-77F2-DE4A-8C54-B7ADF7F1D986}"/>
              </c:ext>
            </c:extLst>
          </c:dPt>
          <c:dPt>
            <c:idx val="15"/>
            <c:invertIfNegative val="0"/>
            <c:bubble3D val="0"/>
            <c:extLst>
              <c:ext xmlns:c16="http://schemas.microsoft.com/office/drawing/2014/chart" uri="{C3380CC4-5D6E-409C-BE32-E72D297353CC}">
                <c16:uniqueId val="{0000000C-77F2-DE4A-8C54-B7ADF7F1D986}"/>
              </c:ext>
            </c:extLst>
          </c:dPt>
          <c:dPt>
            <c:idx val="16"/>
            <c:invertIfNegative val="0"/>
            <c:bubble3D val="0"/>
            <c:spPr>
              <a:solidFill>
                <a:schemeClr val="bg1">
                  <a:lumMod val="85000"/>
                </a:schemeClr>
              </a:solidFill>
            </c:spPr>
            <c:extLst>
              <c:ext xmlns:c16="http://schemas.microsoft.com/office/drawing/2014/chart" uri="{C3380CC4-5D6E-409C-BE32-E72D297353CC}">
                <c16:uniqueId val="{0000000E-77F2-DE4A-8C54-B7ADF7F1D986}"/>
              </c:ext>
            </c:extLst>
          </c:dPt>
          <c:dLbls>
            <c:dLbl>
              <c:idx val="1"/>
              <c:tx>
                <c:rich>
                  <a:bodyPr/>
                  <a:lstStyle/>
                  <a:p>
                    <a:fld id="{6EECD1FD-8C34-0F4B-AC4C-3098044EC9FA}" type="VALUE">
                      <a:rPr lang="en-US" smtClean="0"/>
                      <a:pPr/>
                      <a:t>[WERT]</a:t>
                    </a:fld>
                    <a:r>
                      <a:rPr lang="en-US"/>
                      <a:t> A</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77F2-DE4A-8C54-B7ADF7F1D986}"/>
                </c:ext>
              </c:extLst>
            </c:dLbl>
            <c:spPr>
              <a:noFill/>
              <a:ln>
                <a:noFill/>
              </a:ln>
              <a:effectLst/>
            </c:spPr>
            <c:txPr>
              <a:bodyPr wrap="square" lIns="38100" tIns="19050" rIns="38100" bIns="19050" anchor="ctr">
                <a:spAutoFit/>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C$2:$C$11</c:f>
              <c:numCache>
                <c:formatCode>0%</c:formatCode>
                <c:ptCount val="10"/>
                <c:pt idx="0">
                  <c:v>0.55600000000000005</c:v>
                </c:pt>
                <c:pt idx="1">
                  <c:v>0.46400000000000002</c:v>
                </c:pt>
                <c:pt idx="2">
                  <c:v>7.6999999999999999E-2</c:v>
                </c:pt>
                <c:pt idx="3">
                  <c:v>6.5000000000000002E-2</c:v>
                </c:pt>
                <c:pt idx="4">
                  <c:v>7.8E-2</c:v>
                </c:pt>
                <c:pt idx="5">
                  <c:v>5.6000000000000001E-2</c:v>
                </c:pt>
                <c:pt idx="6">
                  <c:v>4.8000000000000001E-2</c:v>
                </c:pt>
                <c:pt idx="7">
                  <c:v>3.5999999999999997E-2</c:v>
                </c:pt>
                <c:pt idx="8">
                  <c:v>4.8000000000000001E-2</c:v>
                </c:pt>
                <c:pt idx="9">
                  <c:v>3.9E-2</c:v>
                </c:pt>
              </c:numCache>
            </c:numRef>
          </c:val>
          <c:extLst>
            <c:ext xmlns:c16="http://schemas.microsoft.com/office/drawing/2014/chart" uri="{C3380CC4-5D6E-409C-BE32-E72D297353CC}">
              <c16:uniqueId val="{00000013-77F2-DE4A-8C54-B7ADF7F1D986}"/>
            </c:ext>
          </c:extLst>
        </c:ser>
        <c:dLbls>
          <c:showLegendKey val="0"/>
          <c:showVal val="0"/>
          <c:showCatName val="0"/>
          <c:showSerName val="0"/>
          <c:showPercent val="0"/>
          <c:showBubbleSize val="0"/>
        </c:dLbls>
        <c:gapWidth val="81"/>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0.3395328404828229"/>
          <c:y val="0.93548213577752082"/>
          <c:w val="0.40172488254216432"/>
          <c:h val="6.1706570436301726E-2"/>
        </c:manualLayout>
      </c:layout>
      <c:overlay val="0"/>
      <c:txPr>
        <a:bodyPr/>
        <a:lstStyle/>
        <a:p>
          <a:pPr>
            <a:defRPr sz="8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09553543597054"/>
          <c:y val="9.2040430389156117E-2"/>
          <c:w val="0.45769326735290644"/>
          <c:h val="0.82592026152558518"/>
        </c:manualLayout>
      </c:layout>
      <c:barChart>
        <c:barDir val="bar"/>
        <c:grouping val="clustered"/>
        <c:varyColors val="0"/>
        <c:ser>
          <c:idx val="0"/>
          <c:order val="0"/>
          <c:tx>
            <c:strRef>
              <c:f>Tabelle1!$B$1</c:f>
              <c:strCache>
                <c:ptCount val="1"/>
                <c:pt idx="0">
                  <c:v>15-29 J. (C) [119]</c:v>
                </c:pt>
              </c:strCache>
            </c:strRef>
          </c:tx>
          <c:spPr>
            <a:solidFill>
              <a:schemeClr val="accent4">
                <a:lumMod val="75000"/>
              </a:schemeClr>
            </a:solidFill>
          </c:spPr>
          <c:invertIfNegative val="0"/>
          <c:dPt>
            <c:idx val="0"/>
            <c:invertIfNegative val="0"/>
            <c:bubble3D val="0"/>
            <c:extLst>
              <c:ext xmlns:c16="http://schemas.microsoft.com/office/drawing/2014/chart" uri="{C3380CC4-5D6E-409C-BE32-E72D297353CC}">
                <c16:uniqueId val="{00000000-FB68-9640-899D-160B01078F08}"/>
              </c:ext>
            </c:extLst>
          </c:dPt>
          <c:dPt>
            <c:idx val="1"/>
            <c:invertIfNegative val="0"/>
            <c:bubble3D val="0"/>
            <c:extLst>
              <c:ext xmlns:c16="http://schemas.microsoft.com/office/drawing/2014/chart" uri="{C3380CC4-5D6E-409C-BE32-E72D297353CC}">
                <c16:uniqueId val="{00000001-FB68-9640-899D-160B01078F08}"/>
              </c:ext>
            </c:extLst>
          </c:dPt>
          <c:dPt>
            <c:idx val="2"/>
            <c:invertIfNegative val="0"/>
            <c:bubble3D val="0"/>
            <c:extLst>
              <c:ext xmlns:c16="http://schemas.microsoft.com/office/drawing/2014/chart" uri="{C3380CC4-5D6E-409C-BE32-E72D297353CC}">
                <c16:uniqueId val="{00000002-FB68-9640-899D-160B01078F08}"/>
              </c:ext>
            </c:extLst>
          </c:dPt>
          <c:dPt>
            <c:idx val="3"/>
            <c:invertIfNegative val="0"/>
            <c:bubble3D val="0"/>
            <c:extLst>
              <c:ext xmlns:c16="http://schemas.microsoft.com/office/drawing/2014/chart" uri="{C3380CC4-5D6E-409C-BE32-E72D297353CC}">
                <c16:uniqueId val="{00000003-FB68-9640-899D-160B01078F08}"/>
              </c:ext>
            </c:extLst>
          </c:dPt>
          <c:dPt>
            <c:idx val="15"/>
            <c:invertIfNegative val="0"/>
            <c:bubble3D val="0"/>
            <c:spPr>
              <a:solidFill>
                <a:schemeClr val="bg1">
                  <a:lumMod val="50000"/>
                </a:schemeClr>
              </a:solidFill>
            </c:spPr>
            <c:extLst>
              <c:ext xmlns:c16="http://schemas.microsoft.com/office/drawing/2014/chart" uri="{C3380CC4-5D6E-409C-BE32-E72D297353CC}">
                <c16:uniqueId val="{00000005-FB68-9640-899D-160B01078F08}"/>
              </c:ext>
            </c:extLst>
          </c:dPt>
          <c:dPt>
            <c:idx val="16"/>
            <c:invertIfNegative val="0"/>
            <c:bubble3D val="0"/>
            <c:spPr>
              <a:solidFill>
                <a:schemeClr val="bg1">
                  <a:lumMod val="50000"/>
                </a:schemeClr>
              </a:solidFill>
            </c:spPr>
            <c:extLst>
              <c:ext xmlns:c16="http://schemas.microsoft.com/office/drawing/2014/chart" uri="{C3380CC4-5D6E-409C-BE32-E72D297353CC}">
                <c16:uniqueId val="{00000007-FB68-9640-899D-160B01078F08}"/>
              </c:ext>
            </c:extLst>
          </c:dPt>
          <c:dPt>
            <c:idx val="24"/>
            <c:invertIfNegative val="0"/>
            <c:bubble3D val="0"/>
            <c:extLst>
              <c:ext xmlns:c16="http://schemas.microsoft.com/office/drawing/2014/chart" uri="{C3380CC4-5D6E-409C-BE32-E72D297353CC}">
                <c16:uniqueId val="{00000008-FB68-9640-899D-160B01078F08}"/>
              </c:ext>
            </c:extLst>
          </c:dPt>
          <c:dLbls>
            <c:dLbl>
              <c:idx val="2"/>
              <c:tx>
                <c:rich>
                  <a:bodyPr/>
                  <a:lstStyle/>
                  <a:p>
                    <a:fld id="{1DA680B5-1E1B-7C44-A18E-24172EA8D08E}" type="VALUE">
                      <a:rPr lang="en-US" smtClean="0"/>
                      <a:pPr/>
                      <a:t>[WERT]</a:t>
                    </a:fld>
                    <a:r>
                      <a:rPr lang="en-US"/>
                      <a:t> E</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FB68-9640-899D-160B01078F08}"/>
                </c:ext>
              </c:extLst>
            </c:dLbl>
            <c:dLbl>
              <c:idx val="7"/>
              <c:tx>
                <c:rich>
                  <a:bodyPr/>
                  <a:lstStyle/>
                  <a:p>
                    <a:fld id="{360F102B-205A-634C-8631-1EA5C432C7EA}" type="VALUE">
                      <a:rPr lang="en-US" smtClean="0"/>
                      <a:pPr/>
                      <a:t>[WERT]</a:t>
                    </a:fld>
                    <a:r>
                      <a:rPr lang="en-US"/>
                      <a:t> EF</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7-FB68-9640-899D-160B01078F08}"/>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B$2:$B$11</c:f>
              <c:numCache>
                <c:formatCode>0%</c:formatCode>
                <c:ptCount val="10"/>
                <c:pt idx="0">
                  <c:v>0.51</c:v>
                </c:pt>
                <c:pt idx="1">
                  <c:v>0.21199999999999999</c:v>
                </c:pt>
                <c:pt idx="2">
                  <c:v>0.19600000000000001</c:v>
                </c:pt>
                <c:pt idx="3">
                  <c:v>0.121</c:v>
                </c:pt>
                <c:pt idx="4">
                  <c:v>0.11600000000000001</c:v>
                </c:pt>
                <c:pt idx="5">
                  <c:v>8.2000000000000003E-2</c:v>
                </c:pt>
                <c:pt idx="6">
                  <c:v>4.2999999999999997E-2</c:v>
                </c:pt>
                <c:pt idx="7">
                  <c:v>9.0999999999999998E-2</c:v>
                </c:pt>
                <c:pt idx="8">
                  <c:v>3.5000000000000003E-2</c:v>
                </c:pt>
                <c:pt idx="9">
                  <c:v>3.7999999999999999E-2</c:v>
                </c:pt>
              </c:numCache>
            </c:numRef>
          </c:val>
          <c:extLst>
            <c:ext xmlns:c16="http://schemas.microsoft.com/office/drawing/2014/chart" uri="{C3380CC4-5D6E-409C-BE32-E72D297353CC}">
              <c16:uniqueId val="{0000000B-FB68-9640-899D-160B01078F08}"/>
            </c:ext>
          </c:extLst>
        </c:ser>
        <c:ser>
          <c:idx val="1"/>
          <c:order val="1"/>
          <c:tx>
            <c:strRef>
              <c:f>Tabelle1!$C$1</c:f>
              <c:strCache>
                <c:ptCount val="1"/>
                <c:pt idx="0">
                  <c:v>30-44 J. (D) [131]</c:v>
                </c:pt>
              </c:strCache>
            </c:strRef>
          </c:tx>
          <c:spPr>
            <a:solidFill>
              <a:schemeClr val="accent4"/>
            </a:solidFill>
          </c:spPr>
          <c:invertIfNegative val="0"/>
          <c:dPt>
            <c:idx val="3"/>
            <c:invertIfNegative val="0"/>
            <c:bubble3D val="0"/>
            <c:extLst>
              <c:ext xmlns:c16="http://schemas.microsoft.com/office/drawing/2014/chart" uri="{C3380CC4-5D6E-409C-BE32-E72D297353CC}">
                <c16:uniqueId val="{0000000C-FB68-9640-899D-160B01078F08}"/>
              </c:ext>
            </c:extLst>
          </c:dPt>
          <c:dPt>
            <c:idx val="15"/>
            <c:invertIfNegative val="0"/>
            <c:bubble3D val="0"/>
            <c:spPr>
              <a:solidFill>
                <a:schemeClr val="bg1">
                  <a:lumMod val="65000"/>
                </a:schemeClr>
              </a:solidFill>
            </c:spPr>
            <c:extLst>
              <c:ext xmlns:c16="http://schemas.microsoft.com/office/drawing/2014/chart" uri="{C3380CC4-5D6E-409C-BE32-E72D297353CC}">
                <c16:uniqueId val="{0000000E-FB68-9640-899D-160B01078F08}"/>
              </c:ext>
            </c:extLst>
          </c:dPt>
          <c:dPt>
            <c:idx val="16"/>
            <c:invertIfNegative val="0"/>
            <c:bubble3D val="0"/>
            <c:spPr>
              <a:solidFill>
                <a:schemeClr val="bg1">
                  <a:lumMod val="65000"/>
                </a:schemeClr>
              </a:solidFill>
            </c:spPr>
            <c:extLst>
              <c:ext xmlns:c16="http://schemas.microsoft.com/office/drawing/2014/chart" uri="{C3380CC4-5D6E-409C-BE32-E72D297353CC}">
                <c16:uniqueId val="{00000010-FB68-9640-899D-160B01078F08}"/>
              </c:ext>
            </c:extLst>
          </c:dPt>
          <c:dLbls>
            <c:dLbl>
              <c:idx val="1"/>
              <c:tx>
                <c:rich>
                  <a:bodyPr/>
                  <a:lstStyle/>
                  <a:p>
                    <a:fld id="{29036D85-7B5A-914B-BC60-A98D71CFAEBE}" type="VALUE">
                      <a:rPr lang="en-US" smtClean="0"/>
                      <a:pPr/>
                      <a:t>[WERT]</a:t>
                    </a:fld>
                    <a:r>
                      <a:rPr lang="en-US"/>
                      <a:t> C</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4-FB68-9640-899D-160B01078F08}"/>
                </c:ext>
              </c:extLst>
            </c:dLbl>
            <c:dLbl>
              <c:idx val="7"/>
              <c:tx>
                <c:rich>
                  <a:bodyPr/>
                  <a:lstStyle/>
                  <a:p>
                    <a:fld id="{D40B5870-AA68-4445-A542-0F71BB3B5FD7}" type="VALUE">
                      <a:rPr lang="en-US" smtClean="0"/>
                      <a:pPr/>
                      <a:t>[WERT]</a:t>
                    </a:fld>
                    <a:r>
                      <a:rPr lang="en-US"/>
                      <a:t> F</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8-FB68-9640-899D-160B01078F08}"/>
                </c:ext>
              </c:extLst>
            </c:dLbl>
            <c:dLbl>
              <c:idx val="8"/>
              <c:tx>
                <c:rich>
                  <a:bodyPr/>
                  <a:lstStyle/>
                  <a:p>
                    <a:fld id="{320C1192-6B01-9C44-9D22-0EA3D3BC6576}" type="VALUE">
                      <a:rPr lang="en-US" smtClean="0"/>
                      <a:pPr/>
                      <a:t>[WERT]</a:t>
                    </a:fld>
                    <a:r>
                      <a:rPr lang="en-US"/>
                      <a:t> F</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FB68-9640-899D-160B01078F08}"/>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C$2:$C$11</c:f>
              <c:numCache>
                <c:formatCode>0%</c:formatCode>
                <c:ptCount val="10"/>
                <c:pt idx="0">
                  <c:v>0.52</c:v>
                </c:pt>
                <c:pt idx="1">
                  <c:v>0.36299999999999999</c:v>
                </c:pt>
                <c:pt idx="2">
                  <c:v>0.129</c:v>
                </c:pt>
                <c:pt idx="3">
                  <c:v>9.6000000000000002E-2</c:v>
                </c:pt>
                <c:pt idx="4">
                  <c:v>5.2999999999999999E-2</c:v>
                </c:pt>
                <c:pt idx="5">
                  <c:v>5.6000000000000001E-2</c:v>
                </c:pt>
                <c:pt idx="6">
                  <c:v>2.5999999999999999E-2</c:v>
                </c:pt>
                <c:pt idx="7">
                  <c:v>7.2999999999999995E-2</c:v>
                </c:pt>
                <c:pt idx="8">
                  <c:v>8.2000000000000003E-2</c:v>
                </c:pt>
                <c:pt idx="9">
                  <c:v>1.7000000000000001E-2</c:v>
                </c:pt>
              </c:numCache>
            </c:numRef>
          </c:val>
          <c:extLst>
            <c:ext xmlns:c16="http://schemas.microsoft.com/office/drawing/2014/chart" uri="{C3380CC4-5D6E-409C-BE32-E72D297353CC}">
              <c16:uniqueId val="{00000012-FB68-9640-899D-160B01078F08}"/>
            </c:ext>
          </c:extLst>
        </c:ser>
        <c:ser>
          <c:idx val="2"/>
          <c:order val="2"/>
          <c:tx>
            <c:strRef>
              <c:f>Tabelle1!$D$1</c:f>
              <c:strCache>
                <c:ptCount val="1"/>
                <c:pt idx="0">
                  <c:v>45-59 J. (E) [99]</c:v>
                </c:pt>
              </c:strCache>
            </c:strRef>
          </c:tx>
          <c:spPr>
            <a:solidFill>
              <a:schemeClr val="accent4">
                <a:lumMod val="60000"/>
                <a:lumOff val="40000"/>
              </a:schemeClr>
            </a:solidFill>
          </c:spPr>
          <c:invertIfNegative val="0"/>
          <c:dPt>
            <c:idx val="15"/>
            <c:invertIfNegative val="0"/>
            <c:bubble3D val="0"/>
            <c:spPr>
              <a:solidFill>
                <a:schemeClr val="bg1">
                  <a:lumMod val="75000"/>
                </a:schemeClr>
              </a:solidFill>
            </c:spPr>
            <c:extLst>
              <c:ext xmlns:c16="http://schemas.microsoft.com/office/drawing/2014/chart" uri="{C3380CC4-5D6E-409C-BE32-E72D297353CC}">
                <c16:uniqueId val="{00000014-FB68-9640-899D-160B01078F08}"/>
              </c:ext>
            </c:extLst>
          </c:dPt>
          <c:dPt>
            <c:idx val="16"/>
            <c:invertIfNegative val="0"/>
            <c:bubble3D val="0"/>
            <c:spPr>
              <a:solidFill>
                <a:schemeClr val="bg1">
                  <a:lumMod val="75000"/>
                </a:schemeClr>
              </a:solidFill>
            </c:spPr>
            <c:extLst>
              <c:ext xmlns:c16="http://schemas.microsoft.com/office/drawing/2014/chart" uri="{C3380CC4-5D6E-409C-BE32-E72D297353CC}">
                <c16:uniqueId val="{00000016-FB68-9640-899D-160B01078F08}"/>
              </c:ext>
            </c:extLst>
          </c:dPt>
          <c:dLbls>
            <c:dLbl>
              <c:idx val="1"/>
              <c:tx>
                <c:rich>
                  <a:bodyPr/>
                  <a:lstStyle/>
                  <a:p>
                    <a:fld id="{E5F5CC54-83D7-AA46-9388-6EDF62EBDB31}" type="VALUE">
                      <a:rPr lang="en-US" smtClean="0"/>
                      <a:pPr/>
                      <a:t>[WERT]</a:t>
                    </a:fld>
                    <a:r>
                      <a:rPr lang="en-US"/>
                      <a:t> C</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5-FB68-9640-899D-160B01078F08}"/>
                </c:ext>
              </c:extLst>
            </c:dLbl>
            <c:dLbl>
              <c:idx val="6"/>
              <c:tx>
                <c:rich>
                  <a:bodyPr/>
                  <a:lstStyle/>
                  <a:p>
                    <a:fld id="{4C0BB7CA-F0C9-D74B-8556-44475BA1B193}" type="VALUE">
                      <a:rPr lang="en-US" smtClean="0"/>
                      <a:pPr/>
                      <a:t>[WERT]</a:t>
                    </a:fld>
                    <a:r>
                      <a:rPr lang="en-US"/>
                      <a:t> D</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6-FB68-9640-899D-160B01078F08}"/>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D$2:$D$11</c:f>
              <c:numCache>
                <c:formatCode>0%</c:formatCode>
                <c:ptCount val="10"/>
                <c:pt idx="0">
                  <c:v>0.52</c:v>
                </c:pt>
                <c:pt idx="1">
                  <c:v>0.42399999999999999</c:v>
                </c:pt>
                <c:pt idx="2">
                  <c:v>8.1000000000000003E-2</c:v>
                </c:pt>
                <c:pt idx="3">
                  <c:v>4.4999999999999998E-2</c:v>
                </c:pt>
                <c:pt idx="4">
                  <c:v>5.7000000000000002E-2</c:v>
                </c:pt>
                <c:pt idx="5">
                  <c:v>6.2E-2</c:v>
                </c:pt>
                <c:pt idx="6">
                  <c:v>0.111</c:v>
                </c:pt>
                <c:pt idx="7">
                  <c:v>1.4999999999999999E-2</c:v>
                </c:pt>
                <c:pt idx="8">
                  <c:v>0.04</c:v>
                </c:pt>
                <c:pt idx="9">
                  <c:v>4.1000000000000002E-2</c:v>
                </c:pt>
              </c:numCache>
            </c:numRef>
          </c:val>
          <c:extLst>
            <c:ext xmlns:c16="http://schemas.microsoft.com/office/drawing/2014/chart" uri="{C3380CC4-5D6E-409C-BE32-E72D297353CC}">
              <c16:uniqueId val="{0000001A-FB68-9640-899D-160B01078F08}"/>
            </c:ext>
          </c:extLst>
        </c:ser>
        <c:ser>
          <c:idx val="3"/>
          <c:order val="3"/>
          <c:tx>
            <c:strRef>
              <c:f>Tabelle1!$E$1</c:f>
              <c:strCache>
                <c:ptCount val="1"/>
                <c:pt idx="0">
                  <c:v>60+ J. (F) [56]</c:v>
                </c:pt>
              </c:strCache>
            </c:strRef>
          </c:tx>
          <c:spPr>
            <a:solidFill>
              <a:schemeClr val="accent4">
                <a:lumMod val="40000"/>
                <a:lumOff val="60000"/>
              </a:schemeClr>
            </a:solidFill>
          </c:spPr>
          <c:invertIfNegative val="0"/>
          <c:dPt>
            <c:idx val="15"/>
            <c:invertIfNegative val="0"/>
            <c:bubble3D val="0"/>
            <c:spPr>
              <a:solidFill>
                <a:schemeClr val="bg1">
                  <a:lumMod val="85000"/>
                </a:schemeClr>
              </a:solidFill>
            </c:spPr>
            <c:extLst>
              <c:ext xmlns:c16="http://schemas.microsoft.com/office/drawing/2014/chart" uri="{C3380CC4-5D6E-409C-BE32-E72D297353CC}">
                <c16:uniqueId val="{0000001C-FB68-9640-899D-160B01078F08}"/>
              </c:ext>
            </c:extLst>
          </c:dPt>
          <c:dPt>
            <c:idx val="16"/>
            <c:invertIfNegative val="0"/>
            <c:bubble3D val="0"/>
            <c:spPr>
              <a:solidFill>
                <a:schemeClr val="bg1">
                  <a:lumMod val="85000"/>
                </a:schemeClr>
              </a:solidFill>
            </c:spPr>
            <c:extLst>
              <c:ext xmlns:c16="http://schemas.microsoft.com/office/drawing/2014/chart" uri="{C3380CC4-5D6E-409C-BE32-E72D297353CC}">
                <c16:uniqueId val="{0000001E-FB68-9640-899D-160B01078F08}"/>
              </c:ext>
            </c:extLst>
          </c:dPt>
          <c:dLbls>
            <c:dLbl>
              <c:idx val="1"/>
              <c:tx>
                <c:rich>
                  <a:bodyPr/>
                  <a:lstStyle/>
                  <a:p>
                    <a:fld id="{E08FDE5B-BDD6-AA49-9BD4-F49CF1D38D0B}" type="VALUE">
                      <a:rPr lang="en-US" smtClean="0"/>
                      <a:pPr/>
                      <a:t>[WERT]</a:t>
                    </a:fld>
                    <a:r>
                      <a:rPr lang="en-US"/>
                      <a:t> C</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F-FB68-9640-899D-160B01078F08}"/>
                </c:ext>
              </c:extLst>
            </c:dLbl>
            <c:dLbl>
              <c:idx val="9"/>
              <c:tx>
                <c:rich>
                  <a:bodyPr/>
                  <a:lstStyle/>
                  <a:p>
                    <a:fld id="{37EBD02D-60E2-0645-9686-6B09C5DD1DEB}" type="VALUE">
                      <a:rPr lang="en-US" smtClean="0"/>
                      <a:pPr/>
                      <a:t>[WERT]</a:t>
                    </a:fld>
                    <a:r>
                      <a:rPr lang="en-US"/>
                      <a:t> D</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9-FB68-9640-899D-160B01078F08}"/>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E$2:$E$11</c:f>
              <c:numCache>
                <c:formatCode>0%</c:formatCode>
                <c:ptCount val="10"/>
                <c:pt idx="0">
                  <c:v>0.47599999999999998</c:v>
                </c:pt>
                <c:pt idx="1">
                  <c:v>0.47899999999999998</c:v>
                </c:pt>
                <c:pt idx="2">
                  <c:v>0.09</c:v>
                </c:pt>
                <c:pt idx="3">
                  <c:v>6.9000000000000006E-2</c:v>
                </c:pt>
                <c:pt idx="4">
                  <c:v>0.108</c:v>
                </c:pt>
                <c:pt idx="5">
                  <c:v>2.1000000000000001E-2</c:v>
                </c:pt>
                <c:pt idx="6">
                  <c:v>5.0999999999999997E-2</c:v>
                </c:pt>
                <c:pt idx="7">
                  <c:v>0</c:v>
                </c:pt>
                <c:pt idx="8">
                  <c:v>0</c:v>
                </c:pt>
                <c:pt idx="9">
                  <c:v>0.11700000000000001</c:v>
                </c:pt>
              </c:numCache>
            </c:numRef>
          </c:val>
          <c:extLst>
            <c:ext xmlns:c16="http://schemas.microsoft.com/office/drawing/2014/chart" uri="{C3380CC4-5D6E-409C-BE32-E72D297353CC}">
              <c16:uniqueId val="{00000023-FB68-9640-899D-160B01078F08}"/>
            </c:ext>
          </c:extLst>
        </c:ser>
        <c:dLbls>
          <c:showLegendKey val="0"/>
          <c:showVal val="0"/>
          <c:showCatName val="0"/>
          <c:showSerName val="0"/>
          <c:showPercent val="0"/>
          <c:showBubbleSize val="0"/>
        </c:dLbls>
        <c:gapWidth val="45"/>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0.14186969831696192"/>
          <c:y val="0.93421838174403371"/>
          <c:w val="0.77012121464867256"/>
          <c:h val="6.2970324469788883E-2"/>
        </c:manualLayout>
      </c:layout>
      <c:overlay val="0"/>
      <c:txPr>
        <a:bodyPr/>
        <a:lstStyle/>
        <a:p>
          <a:pPr>
            <a:defRPr sz="8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088645235986524"/>
          <c:y val="9.2040430389156117E-2"/>
          <c:w val="0.45769326735290644"/>
          <c:h val="0.82873155531176257"/>
        </c:manualLayout>
      </c:layout>
      <c:barChart>
        <c:barDir val="bar"/>
        <c:grouping val="clustered"/>
        <c:varyColors val="0"/>
        <c:ser>
          <c:idx val="0"/>
          <c:order val="0"/>
          <c:tx>
            <c:strRef>
              <c:f>Tabelle1!$B$1</c:f>
              <c:strCache>
                <c:ptCount val="1"/>
                <c:pt idx="0">
                  <c:v>D-CH (G) [258]</c:v>
                </c:pt>
              </c:strCache>
            </c:strRef>
          </c:tx>
          <c:spPr>
            <a:solidFill>
              <a:schemeClr val="accent5"/>
            </a:solidFill>
          </c:spPr>
          <c:invertIfNegative val="0"/>
          <c:dPt>
            <c:idx val="0"/>
            <c:invertIfNegative val="0"/>
            <c:bubble3D val="0"/>
            <c:extLst>
              <c:ext xmlns:c16="http://schemas.microsoft.com/office/drawing/2014/chart" uri="{C3380CC4-5D6E-409C-BE32-E72D297353CC}">
                <c16:uniqueId val="{00000000-D571-C346-86B7-0CEC29102740}"/>
              </c:ext>
            </c:extLst>
          </c:dPt>
          <c:dPt>
            <c:idx val="1"/>
            <c:invertIfNegative val="0"/>
            <c:bubble3D val="0"/>
            <c:extLst>
              <c:ext xmlns:c16="http://schemas.microsoft.com/office/drawing/2014/chart" uri="{C3380CC4-5D6E-409C-BE32-E72D297353CC}">
                <c16:uniqueId val="{00000001-D571-C346-86B7-0CEC29102740}"/>
              </c:ext>
            </c:extLst>
          </c:dPt>
          <c:dPt>
            <c:idx val="2"/>
            <c:invertIfNegative val="0"/>
            <c:bubble3D val="0"/>
            <c:extLst>
              <c:ext xmlns:c16="http://schemas.microsoft.com/office/drawing/2014/chart" uri="{C3380CC4-5D6E-409C-BE32-E72D297353CC}">
                <c16:uniqueId val="{00000002-D571-C346-86B7-0CEC29102740}"/>
              </c:ext>
            </c:extLst>
          </c:dPt>
          <c:dPt>
            <c:idx val="3"/>
            <c:invertIfNegative val="0"/>
            <c:bubble3D val="0"/>
            <c:extLst>
              <c:ext xmlns:c16="http://schemas.microsoft.com/office/drawing/2014/chart" uri="{C3380CC4-5D6E-409C-BE32-E72D297353CC}">
                <c16:uniqueId val="{00000003-D571-C346-86B7-0CEC29102740}"/>
              </c:ext>
            </c:extLst>
          </c:dPt>
          <c:dPt>
            <c:idx val="15"/>
            <c:invertIfNegative val="0"/>
            <c:bubble3D val="0"/>
            <c:spPr>
              <a:solidFill>
                <a:schemeClr val="bg1">
                  <a:lumMod val="65000"/>
                </a:schemeClr>
              </a:solidFill>
            </c:spPr>
            <c:extLst>
              <c:ext xmlns:c16="http://schemas.microsoft.com/office/drawing/2014/chart" uri="{C3380CC4-5D6E-409C-BE32-E72D297353CC}">
                <c16:uniqueId val="{00000005-D571-C346-86B7-0CEC29102740}"/>
              </c:ext>
            </c:extLst>
          </c:dPt>
          <c:dPt>
            <c:idx val="16"/>
            <c:invertIfNegative val="0"/>
            <c:bubble3D val="0"/>
            <c:spPr>
              <a:solidFill>
                <a:schemeClr val="bg1">
                  <a:lumMod val="65000"/>
                </a:schemeClr>
              </a:solidFill>
            </c:spPr>
            <c:extLst>
              <c:ext xmlns:c16="http://schemas.microsoft.com/office/drawing/2014/chart" uri="{C3380CC4-5D6E-409C-BE32-E72D297353CC}">
                <c16:uniqueId val="{00000007-D571-C346-86B7-0CEC29102740}"/>
              </c:ext>
            </c:extLst>
          </c:dPt>
          <c:dPt>
            <c:idx val="24"/>
            <c:invertIfNegative val="0"/>
            <c:bubble3D val="0"/>
            <c:extLst>
              <c:ext xmlns:c16="http://schemas.microsoft.com/office/drawing/2014/chart" uri="{C3380CC4-5D6E-409C-BE32-E72D297353CC}">
                <c16:uniqueId val="{00000008-D571-C346-86B7-0CEC29102740}"/>
              </c:ext>
            </c:extLst>
          </c:dPt>
          <c:dLbls>
            <c:dLbl>
              <c:idx val="1"/>
              <c:tx>
                <c:rich>
                  <a:bodyPr/>
                  <a:lstStyle/>
                  <a:p>
                    <a:fld id="{10E4EE2E-34B6-1A4B-A6DC-580588A49587}" type="VALUE">
                      <a:rPr lang="en-US" smtClean="0"/>
                      <a:pPr/>
                      <a:t>[WERT]</a:t>
                    </a:fld>
                    <a:r>
                      <a:rPr lang="en-US"/>
                      <a:t> I</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571-C346-86B7-0CEC29102740}"/>
                </c:ext>
              </c:extLst>
            </c:dLbl>
            <c:dLbl>
              <c:idx val="3"/>
              <c:tx>
                <c:rich>
                  <a:bodyPr/>
                  <a:lstStyle/>
                  <a:p>
                    <a:fld id="{FEAE26C0-1532-0F49-ADAD-6B4CAAF8E71F}" type="VALUE">
                      <a:rPr lang="en-US" smtClean="0"/>
                      <a:pPr/>
                      <a:t>[WERT]</a:t>
                    </a:fld>
                    <a:r>
                      <a:rPr lang="en-US"/>
                      <a:t> H</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571-C346-86B7-0CEC29102740}"/>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B$2:$B$11</c:f>
              <c:numCache>
                <c:formatCode>0%</c:formatCode>
                <c:ptCount val="10"/>
                <c:pt idx="0">
                  <c:v>0.504</c:v>
                </c:pt>
                <c:pt idx="1">
                  <c:v>0.34699999999999998</c:v>
                </c:pt>
                <c:pt idx="2">
                  <c:v>0.11799999999999999</c:v>
                </c:pt>
                <c:pt idx="3">
                  <c:v>0.109</c:v>
                </c:pt>
                <c:pt idx="4">
                  <c:v>6.7000000000000004E-2</c:v>
                </c:pt>
                <c:pt idx="5">
                  <c:v>5.2999999999999999E-2</c:v>
                </c:pt>
                <c:pt idx="6">
                  <c:v>6.2E-2</c:v>
                </c:pt>
                <c:pt idx="7">
                  <c:v>4.9000000000000002E-2</c:v>
                </c:pt>
                <c:pt idx="8">
                  <c:v>4.7E-2</c:v>
                </c:pt>
                <c:pt idx="9">
                  <c:v>4.9000000000000002E-2</c:v>
                </c:pt>
              </c:numCache>
            </c:numRef>
          </c:val>
          <c:extLst>
            <c:ext xmlns:c16="http://schemas.microsoft.com/office/drawing/2014/chart" uri="{C3380CC4-5D6E-409C-BE32-E72D297353CC}">
              <c16:uniqueId val="{0000000B-D571-C346-86B7-0CEC29102740}"/>
            </c:ext>
          </c:extLst>
        </c:ser>
        <c:ser>
          <c:idx val="1"/>
          <c:order val="1"/>
          <c:tx>
            <c:strRef>
              <c:f>Tabelle1!$C$1</c:f>
              <c:strCache>
                <c:ptCount val="1"/>
                <c:pt idx="0">
                  <c:v>W-CH (H) [101]</c:v>
                </c:pt>
              </c:strCache>
            </c:strRef>
          </c:tx>
          <c:spPr>
            <a:solidFill>
              <a:schemeClr val="accent5">
                <a:lumMod val="40000"/>
                <a:lumOff val="60000"/>
              </a:schemeClr>
            </a:solidFill>
          </c:spPr>
          <c:invertIfNegative val="0"/>
          <c:dPt>
            <c:idx val="3"/>
            <c:invertIfNegative val="0"/>
            <c:bubble3D val="0"/>
            <c:extLst>
              <c:ext xmlns:c16="http://schemas.microsoft.com/office/drawing/2014/chart" uri="{C3380CC4-5D6E-409C-BE32-E72D297353CC}">
                <c16:uniqueId val="{0000000C-D571-C346-86B7-0CEC29102740}"/>
              </c:ext>
            </c:extLst>
          </c:dPt>
          <c:dPt>
            <c:idx val="15"/>
            <c:invertIfNegative val="0"/>
            <c:bubble3D val="0"/>
            <c:spPr>
              <a:solidFill>
                <a:schemeClr val="bg1">
                  <a:lumMod val="75000"/>
                </a:schemeClr>
              </a:solidFill>
            </c:spPr>
            <c:extLst>
              <c:ext xmlns:c16="http://schemas.microsoft.com/office/drawing/2014/chart" uri="{C3380CC4-5D6E-409C-BE32-E72D297353CC}">
                <c16:uniqueId val="{0000000E-D571-C346-86B7-0CEC29102740}"/>
              </c:ext>
            </c:extLst>
          </c:dPt>
          <c:dPt>
            <c:idx val="16"/>
            <c:invertIfNegative val="0"/>
            <c:bubble3D val="0"/>
            <c:spPr>
              <a:solidFill>
                <a:schemeClr val="bg1">
                  <a:lumMod val="75000"/>
                </a:schemeClr>
              </a:solidFill>
            </c:spPr>
            <c:extLst>
              <c:ext xmlns:c16="http://schemas.microsoft.com/office/drawing/2014/chart" uri="{C3380CC4-5D6E-409C-BE32-E72D297353CC}">
                <c16:uniqueId val="{00000010-D571-C346-86B7-0CEC29102740}"/>
              </c:ext>
            </c:extLst>
          </c:dPt>
          <c:dLbls>
            <c:dLbl>
              <c:idx val="1"/>
              <c:tx>
                <c:rich>
                  <a:bodyPr/>
                  <a:lstStyle/>
                  <a:p>
                    <a:fld id="{BF13324D-CFBE-5948-8E29-9433F6E134B6}" type="VALUE">
                      <a:rPr lang="en-US" smtClean="0"/>
                      <a:pPr/>
                      <a:t>[WERT]</a:t>
                    </a:fld>
                    <a:r>
                      <a:rPr lang="en-US"/>
                      <a:t> I</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8-D571-C346-86B7-0CEC29102740}"/>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C$2:$C$11</c:f>
              <c:numCache>
                <c:formatCode>0%</c:formatCode>
                <c:ptCount val="10"/>
                <c:pt idx="0">
                  <c:v>0.53</c:v>
                </c:pt>
                <c:pt idx="1">
                  <c:v>0.373</c:v>
                </c:pt>
                <c:pt idx="2">
                  <c:v>0.157</c:v>
                </c:pt>
                <c:pt idx="3">
                  <c:v>2.7E-2</c:v>
                </c:pt>
                <c:pt idx="4">
                  <c:v>0.11600000000000001</c:v>
                </c:pt>
                <c:pt idx="5">
                  <c:v>7.4999999999999997E-2</c:v>
                </c:pt>
                <c:pt idx="6">
                  <c:v>0.04</c:v>
                </c:pt>
                <c:pt idx="7">
                  <c:v>7.1999999999999995E-2</c:v>
                </c:pt>
                <c:pt idx="8">
                  <c:v>3.6999999999999998E-2</c:v>
                </c:pt>
                <c:pt idx="9">
                  <c:v>3.2000000000000001E-2</c:v>
                </c:pt>
              </c:numCache>
            </c:numRef>
          </c:val>
          <c:extLst>
            <c:ext xmlns:c16="http://schemas.microsoft.com/office/drawing/2014/chart" uri="{C3380CC4-5D6E-409C-BE32-E72D297353CC}">
              <c16:uniqueId val="{00000012-D571-C346-86B7-0CEC29102740}"/>
            </c:ext>
          </c:extLst>
        </c:ser>
        <c:ser>
          <c:idx val="2"/>
          <c:order val="2"/>
          <c:tx>
            <c:strRef>
              <c:f>Tabelle1!$D$1</c:f>
              <c:strCache>
                <c:ptCount val="1"/>
                <c:pt idx="0">
                  <c:v>Tessin (I) [46*]</c:v>
                </c:pt>
              </c:strCache>
            </c:strRef>
          </c:tx>
          <c:spPr>
            <a:solidFill>
              <a:schemeClr val="accent5">
                <a:lumMod val="20000"/>
                <a:lumOff val="80000"/>
              </a:schemeClr>
            </a:solidFill>
          </c:spPr>
          <c:invertIfNegative val="0"/>
          <c:dPt>
            <c:idx val="15"/>
            <c:invertIfNegative val="0"/>
            <c:bubble3D val="0"/>
            <c:spPr>
              <a:solidFill>
                <a:schemeClr val="bg1">
                  <a:lumMod val="85000"/>
                </a:schemeClr>
              </a:solidFill>
            </c:spPr>
            <c:extLst>
              <c:ext xmlns:c16="http://schemas.microsoft.com/office/drawing/2014/chart" uri="{C3380CC4-5D6E-409C-BE32-E72D297353CC}">
                <c16:uniqueId val="{00000014-D571-C346-86B7-0CEC29102740}"/>
              </c:ext>
            </c:extLst>
          </c:dPt>
          <c:dPt>
            <c:idx val="16"/>
            <c:invertIfNegative val="0"/>
            <c:bubble3D val="0"/>
            <c:spPr>
              <a:solidFill>
                <a:schemeClr val="bg1">
                  <a:lumMod val="85000"/>
                </a:schemeClr>
              </a:solidFill>
            </c:spPr>
            <c:extLst>
              <c:ext xmlns:c16="http://schemas.microsoft.com/office/drawing/2014/chart" uri="{C3380CC4-5D6E-409C-BE32-E72D297353CC}">
                <c16:uniqueId val="{00000016-D571-C346-86B7-0CEC29102740}"/>
              </c:ext>
            </c:extLst>
          </c:dPt>
          <c:dLbls>
            <c:dLbl>
              <c:idx val="2"/>
              <c:tx>
                <c:rich>
                  <a:bodyPr/>
                  <a:lstStyle/>
                  <a:p>
                    <a:fld id="{61660519-42FC-5640-991E-BD1A0A86EF60}" type="VALUE">
                      <a:rPr lang="en-US" smtClean="0"/>
                      <a:pPr/>
                      <a:t>[WERT]</a:t>
                    </a:fld>
                    <a:r>
                      <a:rPr lang="en-US"/>
                      <a:t> G</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9-D571-C346-86B7-0CEC29102740}"/>
                </c:ext>
              </c:extLst>
            </c:dLbl>
            <c:dLbl>
              <c:idx val="3"/>
              <c:tx>
                <c:rich>
                  <a:bodyPr/>
                  <a:lstStyle/>
                  <a:p>
                    <a:fld id="{78567C0D-336F-244B-8D03-DED53002124D}" type="VALUE">
                      <a:rPr lang="en-US" smtClean="0"/>
                      <a:pPr/>
                      <a:t>[WERT]</a:t>
                    </a:fld>
                    <a:r>
                      <a:rPr lang="en-US"/>
                      <a:t> H</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A-D571-C346-86B7-0CEC29102740}"/>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D$2:$D$11</c:f>
              <c:numCache>
                <c:formatCode>0%</c:formatCode>
                <c:ptCount val="10"/>
                <c:pt idx="0">
                  <c:v>0.49</c:v>
                </c:pt>
                <c:pt idx="1">
                  <c:v>0.16600000000000001</c:v>
                </c:pt>
                <c:pt idx="2">
                  <c:v>0.23799999999999999</c:v>
                </c:pt>
                <c:pt idx="3">
                  <c:v>0.115</c:v>
                </c:pt>
                <c:pt idx="4">
                  <c:v>9.4E-2</c:v>
                </c:pt>
                <c:pt idx="5">
                  <c:v>0.112</c:v>
                </c:pt>
                <c:pt idx="6">
                  <c:v>3.5999999999999997E-2</c:v>
                </c:pt>
                <c:pt idx="7">
                  <c:v>2.9000000000000001E-2</c:v>
                </c:pt>
                <c:pt idx="8">
                  <c:v>9.0999999999999998E-2</c:v>
                </c:pt>
                <c:pt idx="9">
                  <c:v>1.4999999999999999E-2</c:v>
                </c:pt>
              </c:numCache>
            </c:numRef>
          </c:val>
          <c:extLst>
            <c:ext xmlns:c16="http://schemas.microsoft.com/office/drawing/2014/chart" uri="{C3380CC4-5D6E-409C-BE32-E72D297353CC}">
              <c16:uniqueId val="{00000017-D571-C346-86B7-0CEC29102740}"/>
            </c:ext>
          </c:extLst>
        </c:ser>
        <c:dLbls>
          <c:showLegendKey val="0"/>
          <c:showVal val="0"/>
          <c:showCatName val="0"/>
          <c:showSerName val="0"/>
          <c:showPercent val="0"/>
          <c:showBubbleSize val="0"/>
        </c:dLbls>
        <c:gapWidth val="72"/>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0.24072689206602096"/>
          <c:y val="0.9370296755302111"/>
          <c:w val="0.66217451262154869"/>
          <c:h val="6.0159030683611461E-2"/>
        </c:manualLayout>
      </c:layout>
      <c:overlay val="0"/>
      <c:txPr>
        <a:bodyPr/>
        <a:lstStyle/>
        <a:p>
          <a:pPr>
            <a:defRPr sz="8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390692688949884"/>
          <c:y val="9.2040430389156117E-2"/>
          <c:w val="0.46310336077491426"/>
          <c:h val="0.82592026152558518"/>
        </c:manualLayout>
      </c:layout>
      <c:barChart>
        <c:barDir val="bar"/>
        <c:grouping val="clustered"/>
        <c:varyColors val="0"/>
        <c:ser>
          <c:idx val="0"/>
          <c:order val="0"/>
          <c:tx>
            <c:strRef>
              <c:f>Tabelle1!$B$1</c:f>
              <c:strCache>
                <c:ptCount val="1"/>
                <c:pt idx="0">
                  <c:v>Spalte1</c:v>
                </c:pt>
              </c:strCache>
            </c:strRef>
          </c:tx>
          <c:spPr>
            <a:solidFill>
              <a:schemeClr val="accent2"/>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15"/>
            <c:invertIfNegative val="0"/>
            <c:bubble3D val="0"/>
            <c:spPr>
              <a:solidFill>
                <a:schemeClr val="bg1">
                  <a:lumMod val="75000"/>
                </a:schemeClr>
              </a:solidFill>
            </c:spPr>
            <c:extLst>
              <c:ext xmlns:c16="http://schemas.microsoft.com/office/drawing/2014/chart" uri="{C3380CC4-5D6E-409C-BE32-E72D297353CC}">
                <c16:uniqueId val="{00000000-A8B0-478E-A36C-DAE818295D4F}"/>
              </c:ext>
            </c:extLst>
          </c:dPt>
          <c:dPt>
            <c:idx val="16"/>
            <c:invertIfNegative val="0"/>
            <c:bubble3D val="0"/>
            <c:spPr>
              <a:solidFill>
                <a:schemeClr val="bg1">
                  <a:lumMod val="75000"/>
                </a:schemeClr>
              </a:solidFill>
            </c:spPr>
            <c:extLst>
              <c:ext xmlns:c16="http://schemas.microsoft.com/office/drawing/2014/chart" uri="{C3380CC4-5D6E-409C-BE32-E72D297353CC}">
                <c16:uniqueId val="{00000001-A8B0-478E-A36C-DAE818295D4F}"/>
              </c:ext>
            </c:extLst>
          </c:dPt>
          <c:dPt>
            <c:idx val="25"/>
            <c:invertIfNegative val="0"/>
            <c:bubble3D val="0"/>
            <c:extLst>
              <c:ext xmlns:c16="http://schemas.microsoft.com/office/drawing/2014/chart" uri="{C3380CC4-5D6E-409C-BE32-E72D297353CC}">
                <c16:uniqueId val="{00000001-BAAD-4EDE-B852-3FBFE25BFF49}"/>
              </c:ext>
            </c:extLst>
          </c:dPt>
          <c:dLbls>
            <c:spPr>
              <a:noFill/>
              <a:ln>
                <a:noFill/>
              </a:ln>
              <a:effectLst/>
            </c:spPr>
            <c:txPr>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11</c:f>
              <c:strCache>
                <c:ptCount val="10"/>
                <c:pt idx="0">
                  <c:v> Stressabbau</c:v>
                </c:pt>
                <c:pt idx="1">
                  <c:v> Schlafstörungen</c:v>
                </c:pt>
                <c:pt idx="2">
                  <c:v> Schmerzlinderung</c:v>
                </c:pt>
                <c:pt idx="3">
                  <c:v> Positives Wohlbefinden Stimmung</c:v>
                </c:pt>
                <c:pt idx="4">
                  <c:v> Empfehlung Freunde</c:v>
                </c:pt>
                <c:pt idx="5">
                  <c:v> Alternative zu Medikamenten</c:v>
                </c:pt>
                <c:pt idx="6">
                  <c:v> Angstbewältigung</c:v>
                </c:pt>
                <c:pt idx="7">
                  <c:v> Unterstützung Bahendlung</c:v>
                </c:pt>
                <c:pt idx="8">
                  <c:v> Entwöhnung anderer Substanzen</c:v>
                </c:pt>
                <c:pt idx="9">
                  <c:v> Weil mein Umfeld es auch verwendet</c:v>
                </c:pt>
              </c:strCache>
            </c:strRef>
          </c:cat>
          <c:val>
            <c:numRef>
              <c:f>Tabelle1!$B$2:$B$11</c:f>
              <c:numCache>
                <c:formatCode>0%</c:formatCode>
                <c:ptCount val="10"/>
                <c:pt idx="0">
                  <c:v>0.39700000000000002</c:v>
                </c:pt>
                <c:pt idx="1">
                  <c:v>0.33600000000000002</c:v>
                </c:pt>
                <c:pt idx="2">
                  <c:v>0.30499999999999999</c:v>
                </c:pt>
                <c:pt idx="3">
                  <c:v>0.28299999999999997</c:v>
                </c:pt>
                <c:pt idx="4">
                  <c:v>0.23100000000000001</c:v>
                </c:pt>
                <c:pt idx="5">
                  <c:v>0.219</c:v>
                </c:pt>
                <c:pt idx="6">
                  <c:v>0.17699999999999999</c:v>
                </c:pt>
                <c:pt idx="7">
                  <c:v>0.153</c:v>
                </c:pt>
                <c:pt idx="8">
                  <c:v>7.4999999999999997E-2</c:v>
                </c:pt>
                <c:pt idx="9">
                  <c:v>7.0999999999999994E-2</c:v>
                </c:pt>
              </c:numCache>
            </c:numRef>
          </c:val>
          <c:extLst>
            <c:ext xmlns:c16="http://schemas.microsoft.com/office/drawing/2014/chart" uri="{C3380CC4-5D6E-409C-BE32-E72D297353CC}">
              <c16:uniqueId val="{00000002-BAAD-4EDE-B852-3FBFE25BFF49}"/>
            </c:ext>
          </c:extLst>
        </c:ser>
        <c:dLbls>
          <c:showLegendKey val="0"/>
          <c:showVal val="0"/>
          <c:showCatName val="0"/>
          <c:showSerName val="0"/>
          <c:showPercent val="0"/>
          <c:showBubbleSize val="0"/>
        </c:dLbls>
        <c:gapWidth val="65"/>
        <c:axId val="53095936"/>
        <c:axId val="137818048"/>
      </c:barChart>
      <c:catAx>
        <c:axId val="53095936"/>
        <c:scaling>
          <c:orientation val="maxMin"/>
        </c:scaling>
        <c:delete val="0"/>
        <c:axPos val="l"/>
        <c:numFmt formatCode="General" sourceLinked="0"/>
        <c:majorTickMark val="none"/>
        <c:minorTickMark val="none"/>
        <c:tickLblPos val="nextTo"/>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plotVisOnly val="1"/>
    <c:dispBlanksAs val="gap"/>
    <c:showDLblsOverMax val="0"/>
  </c:chart>
  <c:txPr>
    <a:bodyPr/>
    <a:lstStyle/>
    <a:p>
      <a:pPr>
        <a:defRPr sz="1800"/>
      </a:pPr>
      <a:endParaRPr lang="de-DE"/>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104959629280667"/>
          <c:y val="9.2040430389156117E-2"/>
          <c:w val="0.45769326735290644"/>
          <c:h val="0.82873155531176257"/>
        </c:manualLayout>
      </c:layout>
      <c:barChart>
        <c:barDir val="bar"/>
        <c:grouping val="clustered"/>
        <c:varyColors val="0"/>
        <c:ser>
          <c:idx val="0"/>
          <c:order val="0"/>
          <c:tx>
            <c:strRef>
              <c:f>Tabelle1!$B$1</c:f>
              <c:strCache>
                <c:ptCount val="1"/>
                <c:pt idx="0">
                  <c:v>Männer (A) [178]</c:v>
                </c:pt>
              </c:strCache>
            </c:strRef>
          </c:tx>
          <c:spPr>
            <a:solidFill>
              <a:schemeClr val="accent6"/>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14"/>
            <c:invertIfNegative val="0"/>
            <c:bubble3D val="0"/>
            <c:extLst>
              <c:ext xmlns:c16="http://schemas.microsoft.com/office/drawing/2014/chart" uri="{C3380CC4-5D6E-409C-BE32-E72D297353CC}">
                <c16:uniqueId val="{00000000-B002-4D1F-97C0-1795A68D671E}"/>
              </c:ext>
            </c:extLst>
          </c:dPt>
          <c:dPt>
            <c:idx val="15"/>
            <c:invertIfNegative val="0"/>
            <c:bubble3D val="0"/>
            <c:extLst>
              <c:ext xmlns:c16="http://schemas.microsoft.com/office/drawing/2014/chart" uri="{C3380CC4-5D6E-409C-BE32-E72D297353CC}">
                <c16:uniqueId val="{00000001-B002-4D1F-97C0-1795A68D671E}"/>
              </c:ext>
            </c:extLst>
          </c:dPt>
          <c:dPt>
            <c:idx val="16"/>
            <c:invertIfNegative val="0"/>
            <c:bubble3D val="0"/>
            <c:spPr>
              <a:solidFill>
                <a:schemeClr val="bg1">
                  <a:lumMod val="65000"/>
                </a:schemeClr>
              </a:solidFill>
            </c:spPr>
            <c:extLst>
              <c:ext xmlns:c16="http://schemas.microsoft.com/office/drawing/2014/chart" uri="{C3380CC4-5D6E-409C-BE32-E72D297353CC}">
                <c16:uniqueId val="{0000000D-80C2-7E41-B0D4-74CE90A3ACF4}"/>
              </c:ext>
            </c:extLst>
          </c:dPt>
          <c:dPt>
            <c:idx val="24"/>
            <c:invertIfNegative val="0"/>
            <c:bubble3D val="0"/>
            <c:extLst>
              <c:ext xmlns:c16="http://schemas.microsoft.com/office/drawing/2014/chart" uri="{C3380CC4-5D6E-409C-BE32-E72D297353CC}">
                <c16:uniqueId val="{00000001-BAAD-4EDE-B852-3FBFE25BFF49}"/>
              </c:ext>
            </c:extLst>
          </c:dPt>
          <c:dLbls>
            <c:dLbl>
              <c:idx val="3"/>
              <c:tx>
                <c:rich>
                  <a:bodyPr/>
                  <a:lstStyle/>
                  <a:p>
                    <a:fld id="{AAB1EF0E-038D-9348-A4AA-879E49CBBA55}" type="VALUE">
                      <a:rPr lang="en-US" smtClean="0"/>
                      <a:pPr/>
                      <a:t>[WERT]</a:t>
                    </a:fld>
                    <a:r>
                      <a:rPr lang="en-US"/>
                      <a:t> B</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625-470E-AB92-E576FCBE9BB1}"/>
                </c:ext>
              </c:extLst>
            </c:dLbl>
            <c:dLbl>
              <c:idx val="8"/>
              <c:tx>
                <c:rich>
                  <a:bodyPr/>
                  <a:lstStyle/>
                  <a:p>
                    <a:fld id="{D59F0D20-D652-B942-9A5C-6203232F8C06}" type="VALUE">
                      <a:rPr lang="en-US" smtClean="0"/>
                      <a:pPr/>
                      <a:t>[WERT]</a:t>
                    </a:fld>
                    <a:r>
                      <a:rPr lang="en-US"/>
                      <a:t> B</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47F5-534B-8AB4-6E847A2861A2}"/>
                </c:ext>
              </c:extLst>
            </c:dLbl>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11</c:f>
              <c:numCache>
                <c:formatCode>General</c:formatCode>
                <c:ptCount val="10"/>
              </c:numCache>
            </c:numRef>
          </c:cat>
          <c:val>
            <c:numRef>
              <c:f>Tabelle1!$B$2:$B$11</c:f>
              <c:numCache>
                <c:formatCode>0%</c:formatCode>
                <c:ptCount val="10"/>
                <c:pt idx="0">
                  <c:v>0.43</c:v>
                </c:pt>
                <c:pt idx="1">
                  <c:v>0.27500000000000002</c:v>
                </c:pt>
                <c:pt idx="2">
                  <c:v>0.20899999999999999</c:v>
                </c:pt>
                <c:pt idx="3">
                  <c:v>0.35399999999999998</c:v>
                </c:pt>
                <c:pt idx="4">
                  <c:v>0.254</c:v>
                </c:pt>
                <c:pt idx="5">
                  <c:v>0.14599999999999999</c:v>
                </c:pt>
                <c:pt idx="6">
                  <c:v>0.15</c:v>
                </c:pt>
                <c:pt idx="7">
                  <c:v>0.106</c:v>
                </c:pt>
                <c:pt idx="8">
                  <c:v>0.13600000000000001</c:v>
                </c:pt>
                <c:pt idx="9">
                  <c:v>7.2999999999999995E-2</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Frauen (B) [228]</c:v>
                </c:pt>
              </c:strCache>
            </c:strRef>
          </c:tx>
          <c:spPr>
            <a:solidFill>
              <a:schemeClr val="accent6">
                <a:lumMod val="60000"/>
                <a:lumOff val="40000"/>
              </a:schemeClr>
            </a:solidFill>
          </c:spPr>
          <c:invertIfNegative val="0"/>
          <c:dPt>
            <c:idx val="14"/>
            <c:invertIfNegative val="0"/>
            <c:bubble3D val="0"/>
            <c:extLst>
              <c:ext xmlns:c16="http://schemas.microsoft.com/office/drawing/2014/chart" uri="{C3380CC4-5D6E-409C-BE32-E72D297353CC}">
                <c16:uniqueId val="{00000002-B002-4D1F-97C0-1795A68D671E}"/>
              </c:ext>
            </c:extLst>
          </c:dPt>
          <c:dPt>
            <c:idx val="15"/>
            <c:invertIfNegative val="0"/>
            <c:bubble3D val="0"/>
            <c:extLst>
              <c:ext xmlns:c16="http://schemas.microsoft.com/office/drawing/2014/chart" uri="{C3380CC4-5D6E-409C-BE32-E72D297353CC}">
                <c16:uniqueId val="{00000003-B002-4D1F-97C0-1795A68D671E}"/>
              </c:ext>
            </c:extLst>
          </c:dPt>
          <c:dPt>
            <c:idx val="16"/>
            <c:invertIfNegative val="0"/>
            <c:bubble3D val="0"/>
            <c:spPr>
              <a:solidFill>
                <a:schemeClr val="bg1">
                  <a:lumMod val="85000"/>
                </a:schemeClr>
              </a:solidFill>
            </c:spPr>
            <c:extLst>
              <c:ext xmlns:c16="http://schemas.microsoft.com/office/drawing/2014/chart" uri="{C3380CC4-5D6E-409C-BE32-E72D297353CC}">
                <c16:uniqueId val="{0000000E-80C2-7E41-B0D4-74CE90A3ACF4}"/>
              </c:ext>
            </c:extLst>
          </c:dPt>
          <c:dLbls>
            <c:dLbl>
              <c:idx val="1"/>
              <c:tx>
                <c:rich>
                  <a:bodyPr/>
                  <a:lstStyle/>
                  <a:p>
                    <a:fld id="{4C7A0458-4231-F84C-8CF0-FD59F2F6A2D6}" type="VALUE">
                      <a:rPr lang="en-US" smtClean="0"/>
                      <a:pPr/>
                      <a:t>[WERT]</a:t>
                    </a:fld>
                    <a:r>
                      <a:rPr lang="en-US"/>
                      <a:t> A</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47F5-534B-8AB4-6E847A2861A2}"/>
                </c:ext>
              </c:extLst>
            </c:dLbl>
            <c:dLbl>
              <c:idx val="2"/>
              <c:tx>
                <c:rich>
                  <a:bodyPr/>
                  <a:lstStyle/>
                  <a:p>
                    <a:fld id="{FBEB4387-A089-164E-B1DB-8A09924633FD}" type="VALUE">
                      <a:rPr lang="en-US" smtClean="0"/>
                      <a:pPr/>
                      <a:t>[WERT]</a:t>
                    </a:fld>
                    <a:r>
                      <a:rPr lang="en-US"/>
                      <a:t> A</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47F5-534B-8AB4-6E847A2861A2}"/>
                </c:ext>
              </c:extLst>
            </c:dLbl>
            <c:dLbl>
              <c:idx val="5"/>
              <c:tx>
                <c:rich>
                  <a:bodyPr/>
                  <a:lstStyle/>
                  <a:p>
                    <a:fld id="{560D56AA-8829-A14A-A5EA-7D20E10CC17D}" type="VALUE">
                      <a:rPr lang="en-US" smtClean="0"/>
                      <a:pPr/>
                      <a:t>[WERT]</a:t>
                    </a:fld>
                    <a:r>
                      <a:rPr lang="en-US"/>
                      <a:t> A</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47F5-534B-8AB4-6E847A2861A2}"/>
                </c:ext>
              </c:extLst>
            </c:dLbl>
            <c:dLbl>
              <c:idx val="7"/>
              <c:tx>
                <c:rich>
                  <a:bodyPr/>
                  <a:lstStyle/>
                  <a:p>
                    <a:fld id="{A5C8094B-16AD-7F48-87FB-C62E7620C58D}" type="VALUE">
                      <a:rPr lang="en-US" smtClean="0"/>
                      <a:pPr/>
                      <a:t>[WERT]</a:t>
                    </a:fld>
                    <a:r>
                      <a:rPr lang="en-US"/>
                      <a:t> A</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47F5-534B-8AB4-6E847A2861A2}"/>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C$2:$C$11</c:f>
              <c:numCache>
                <c:formatCode>0%</c:formatCode>
                <c:ptCount val="10"/>
                <c:pt idx="0">
                  <c:v>0.36899999999999999</c:v>
                </c:pt>
                <c:pt idx="1">
                  <c:v>0.38700000000000001</c:v>
                </c:pt>
                <c:pt idx="2">
                  <c:v>0.38300000000000001</c:v>
                </c:pt>
                <c:pt idx="3">
                  <c:v>0.22600000000000001</c:v>
                </c:pt>
                <c:pt idx="4">
                  <c:v>0.21199999999999999</c:v>
                </c:pt>
                <c:pt idx="5">
                  <c:v>0.27700000000000002</c:v>
                </c:pt>
                <c:pt idx="6">
                  <c:v>0.19900000000000001</c:v>
                </c:pt>
                <c:pt idx="7">
                  <c:v>0.191</c:v>
                </c:pt>
                <c:pt idx="8">
                  <c:v>2.5000000000000001E-2</c:v>
                </c:pt>
                <c:pt idx="9">
                  <c:v>6.9000000000000006E-2</c:v>
                </c:pt>
              </c:numCache>
            </c:numRef>
          </c:val>
          <c:extLst>
            <c:ext xmlns:c16="http://schemas.microsoft.com/office/drawing/2014/chart" uri="{C3380CC4-5D6E-409C-BE32-E72D297353CC}">
              <c16:uniqueId val="{0000000E-7D8A-4AF0-AE26-9A9D5F9F8697}"/>
            </c:ext>
          </c:extLst>
        </c:ser>
        <c:dLbls>
          <c:showLegendKey val="0"/>
          <c:showVal val="0"/>
          <c:showCatName val="0"/>
          <c:showSerName val="0"/>
          <c:showPercent val="0"/>
          <c:showBubbleSize val="0"/>
        </c:dLbls>
        <c:gapWidth val="81"/>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spPr>
        <a:noFill/>
        <a:ln w="25400">
          <a:noFill/>
        </a:ln>
      </c:spPr>
    </c:plotArea>
    <c:legend>
      <c:legendPos val="b"/>
      <c:layout>
        <c:manualLayout>
          <c:xMode val="edge"/>
          <c:yMode val="edge"/>
          <c:x val="0.3395328404828229"/>
          <c:y val="0.93548213577752082"/>
          <c:w val="0.40172488254216432"/>
          <c:h val="6.1706570436301726E-2"/>
        </c:manualLayout>
      </c:layout>
      <c:overlay val="0"/>
      <c:txPr>
        <a:bodyPr/>
        <a:lstStyle/>
        <a:p>
          <a:pPr>
            <a:defRPr sz="8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09553543597054"/>
          <c:y val="9.2040430389156117E-2"/>
          <c:w val="0.45769326735290644"/>
          <c:h val="0.82592026152558518"/>
        </c:manualLayout>
      </c:layout>
      <c:barChart>
        <c:barDir val="bar"/>
        <c:grouping val="clustered"/>
        <c:varyColors val="0"/>
        <c:ser>
          <c:idx val="0"/>
          <c:order val="0"/>
          <c:tx>
            <c:strRef>
              <c:f>Tabelle1!$B$1</c:f>
              <c:strCache>
                <c:ptCount val="1"/>
                <c:pt idx="0">
                  <c:v>15-29 J. (C) [119]</c:v>
                </c:pt>
              </c:strCache>
            </c:strRef>
          </c:tx>
          <c:spPr>
            <a:solidFill>
              <a:schemeClr val="accent4">
                <a:lumMod val="75000"/>
              </a:schemeClr>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15"/>
            <c:invertIfNegative val="0"/>
            <c:bubble3D val="0"/>
            <c:spPr>
              <a:solidFill>
                <a:schemeClr val="bg1">
                  <a:lumMod val="50000"/>
                </a:schemeClr>
              </a:solidFill>
            </c:spPr>
            <c:extLst>
              <c:ext xmlns:c16="http://schemas.microsoft.com/office/drawing/2014/chart" uri="{C3380CC4-5D6E-409C-BE32-E72D297353CC}">
                <c16:uniqueId val="{00000000-EA47-4B35-88ED-C549BF575F65}"/>
              </c:ext>
            </c:extLst>
          </c:dPt>
          <c:dPt>
            <c:idx val="16"/>
            <c:invertIfNegative val="0"/>
            <c:bubble3D val="0"/>
            <c:spPr>
              <a:solidFill>
                <a:schemeClr val="bg1">
                  <a:lumMod val="50000"/>
                </a:schemeClr>
              </a:solidFill>
            </c:spPr>
            <c:extLst>
              <c:ext xmlns:c16="http://schemas.microsoft.com/office/drawing/2014/chart" uri="{C3380CC4-5D6E-409C-BE32-E72D297353CC}">
                <c16:uniqueId val="{00000001-EA47-4B35-88ED-C549BF575F65}"/>
              </c:ext>
            </c:extLst>
          </c:dPt>
          <c:dPt>
            <c:idx val="24"/>
            <c:invertIfNegative val="0"/>
            <c:bubble3D val="0"/>
            <c:extLst>
              <c:ext xmlns:c16="http://schemas.microsoft.com/office/drawing/2014/chart" uri="{C3380CC4-5D6E-409C-BE32-E72D297353CC}">
                <c16:uniqueId val="{00000001-BAAD-4EDE-B852-3FBFE25BFF49}"/>
              </c:ext>
            </c:extLst>
          </c:dPt>
          <c:dLbls>
            <c:dLbl>
              <c:idx val="0"/>
              <c:tx>
                <c:rich>
                  <a:bodyPr/>
                  <a:lstStyle/>
                  <a:p>
                    <a:fld id="{1C42F441-5D1F-CD49-A150-E007A13BED8E}" type="VALUE">
                      <a:rPr lang="en-US" smtClean="0"/>
                      <a:pPr/>
                      <a:t>[WERT]</a:t>
                    </a:fld>
                    <a:r>
                      <a:rPr lang="en-US"/>
                      <a:t> F</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625-470E-AB92-E576FCBE9BB1}"/>
                </c:ext>
              </c:extLst>
            </c:dLbl>
            <c:dLbl>
              <c:idx val="3"/>
              <c:tx>
                <c:rich>
                  <a:bodyPr/>
                  <a:lstStyle/>
                  <a:p>
                    <a:fld id="{9FD1C949-9FBC-934B-8ABD-0E8C1BF333F1}" type="VALUE">
                      <a:rPr lang="en-US" smtClean="0"/>
                      <a:pPr/>
                      <a:t>[WERT]</a:t>
                    </a:fld>
                    <a:r>
                      <a:rPr lang="en-US"/>
                      <a:t> DE</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625-470E-AB92-E576FCBE9BB1}"/>
                </c:ext>
              </c:extLst>
            </c:dLbl>
            <c:dLbl>
              <c:idx val="6"/>
              <c:tx>
                <c:rich>
                  <a:bodyPr/>
                  <a:lstStyle/>
                  <a:p>
                    <a:fld id="{519A03CC-9DE6-E049-AD58-ED0D981121CF}" type="VALUE">
                      <a:rPr lang="en-US" smtClean="0"/>
                      <a:pPr/>
                      <a:t>[WERT]</a:t>
                    </a:fld>
                    <a:r>
                      <a:rPr lang="en-US"/>
                      <a:t> F</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B-02D4-944D-B92A-76AA13C893CF}"/>
                </c:ext>
              </c:extLst>
            </c:dLbl>
            <c:dLbl>
              <c:idx val="8"/>
              <c:tx>
                <c:rich>
                  <a:bodyPr/>
                  <a:lstStyle/>
                  <a:p>
                    <a:fld id="{B451B98C-B4F3-B14C-B4AE-376EC0B67077}" type="VALUE">
                      <a:rPr lang="en-US" smtClean="0"/>
                      <a:pPr/>
                      <a:t>[WERT]</a:t>
                    </a:fld>
                    <a:r>
                      <a:rPr lang="en-US"/>
                      <a:t> EF</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E-02D4-944D-B92A-76AA13C893CF}"/>
                </c:ext>
              </c:extLst>
            </c:dLbl>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11</c:f>
              <c:numCache>
                <c:formatCode>General</c:formatCode>
                <c:ptCount val="10"/>
              </c:numCache>
            </c:numRef>
          </c:cat>
          <c:val>
            <c:numRef>
              <c:f>Tabelle1!$B$2:$B$11</c:f>
              <c:numCache>
                <c:formatCode>0%</c:formatCode>
                <c:ptCount val="10"/>
                <c:pt idx="0">
                  <c:v>0.48199999999999998</c:v>
                </c:pt>
                <c:pt idx="1">
                  <c:v>0.26400000000000001</c:v>
                </c:pt>
                <c:pt idx="2">
                  <c:v>0.187</c:v>
                </c:pt>
                <c:pt idx="3">
                  <c:v>0.39600000000000002</c:v>
                </c:pt>
                <c:pt idx="4">
                  <c:v>0.22800000000000001</c:v>
                </c:pt>
                <c:pt idx="5">
                  <c:v>0.11700000000000001</c:v>
                </c:pt>
                <c:pt idx="6">
                  <c:v>0.26300000000000001</c:v>
                </c:pt>
                <c:pt idx="7">
                  <c:v>6.6000000000000003E-2</c:v>
                </c:pt>
                <c:pt idx="8">
                  <c:v>0.14499999999999999</c:v>
                </c:pt>
                <c:pt idx="9">
                  <c:v>8.8999999999999996E-2</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30-44 J. (D) [131]</c:v>
                </c:pt>
              </c:strCache>
            </c:strRef>
          </c:tx>
          <c:spPr>
            <a:solidFill>
              <a:schemeClr val="accent4"/>
            </a:solidFill>
          </c:spPr>
          <c:invertIfNegative val="0"/>
          <c:dPt>
            <c:idx val="3"/>
            <c:invertIfNegative val="0"/>
            <c:bubble3D val="0"/>
            <c:extLst>
              <c:ext xmlns:c16="http://schemas.microsoft.com/office/drawing/2014/chart" uri="{C3380CC4-5D6E-409C-BE32-E72D297353CC}">
                <c16:uniqueId val="{00000010-7D8A-4AF0-AE26-9A9D5F9F8697}"/>
              </c:ext>
            </c:extLst>
          </c:dPt>
          <c:dPt>
            <c:idx val="15"/>
            <c:invertIfNegative val="0"/>
            <c:bubble3D val="0"/>
            <c:spPr>
              <a:solidFill>
                <a:schemeClr val="bg1">
                  <a:lumMod val="65000"/>
                </a:schemeClr>
              </a:solidFill>
            </c:spPr>
            <c:extLst>
              <c:ext xmlns:c16="http://schemas.microsoft.com/office/drawing/2014/chart" uri="{C3380CC4-5D6E-409C-BE32-E72D297353CC}">
                <c16:uniqueId val="{00000002-EA47-4B35-88ED-C549BF575F65}"/>
              </c:ext>
            </c:extLst>
          </c:dPt>
          <c:dPt>
            <c:idx val="16"/>
            <c:invertIfNegative val="0"/>
            <c:bubble3D val="0"/>
            <c:spPr>
              <a:solidFill>
                <a:schemeClr val="bg1">
                  <a:lumMod val="65000"/>
                </a:schemeClr>
              </a:solidFill>
            </c:spPr>
            <c:extLst>
              <c:ext xmlns:c16="http://schemas.microsoft.com/office/drawing/2014/chart" uri="{C3380CC4-5D6E-409C-BE32-E72D297353CC}">
                <c16:uniqueId val="{00000003-EA47-4B35-88ED-C549BF575F65}"/>
              </c:ext>
            </c:extLst>
          </c:dPt>
          <c:dLbls>
            <c:dLbl>
              <c:idx val="8"/>
              <c:tx>
                <c:rich>
                  <a:bodyPr/>
                  <a:lstStyle/>
                  <a:p>
                    <a:fld id="{835D5FF0-23DE-AE4F-AAD1-038083D1D26F}" type="VALUE">
                      <a:rPr lang="en-US" smtClean="0"/>
                      <a:pPr/>
                      <a:t>[WERT]</a:t>
                    </a:fld>
                    <a:r>
                      <a:rPr lang="en-US"/>
                      <a:t> E</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F-02D4-944D-B92A-76AA13C893CF}"/>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C$2:$C$11</c:f>
              <c:numCache>
                <c:formatCode>0%</c:formatCode>
                <c:ptCount val="10"/>
                <c:pt idx="0">
                  <c:v>0.376</c:v>
                </c:pt>
                <c:pt idx="1">
                  <c:v>0.30599999999999999</c:v>
                </c:pt>
                <c:pt idx="2">
                  <c:v>0.221</c:v>
                </c:pt>
                <c:pt idx="3">
                  <c:v>0.246</c:v>
                </c:pt>
                <c:pt idx="4">
                  <c:v>0.23899999999999999</c:v>
                </c:pt>
                <c:pt idx="5">
                  <c:v>0.217</c:v>
                </c:pt>
                <c:pt idx="6">
                  <c:v>0.158</c:v>
                </c:pt>
                <c:pt idx="7">
                  <c:v>0.13300000000000001</c:v>
                </c:pt>
                <c:pt idx="8">
                  <c:v>8.1000000000000003E-2</c:v>
                </c:pt>
                <c:pt idx="9">
                  <c:v>9.6000000000000002E-2</c:v>
                </c:pt>
              </c:numCache>
            </c:numRef>
          </c:val>
          <c:extLst>
            <c:ext xmlns:c16="http://schemas.microsoft.com/office/drawing/2014/chart" uri="{C3380CC4-5D6E-409C-BE32-E72D297353CC}">
              <c16:uniqueId val="{0000000E-7D8A-4AF0-AE26-9A9D5F9F8697}"/>
            </c:ext>
          </c:extLst>
        </c:ser>
        <c:ser>
          <c:idx val="2"/>
          <c:order val="2"/>
          <c:tx>
            <c:strRef>
              <c:f>Tabelle1!$D$1</c:f>
              <c:strCache>
                <c:ptCount val="1"/>
                <c:pt idx="0">
                  <c:v>45-59 J. (E) [99]</c:v>
                </c:pt>
              </c:strCache>
            </c:strRef>
          </c:tx>
          <c:spPr>
            <a:solidFill>
              <a:schemeClr val="accent4">
                <a:lumMod val="60000"/>
                <a:lumOff val="40000"/>
              </a:schemeClr>
            </a:solidFill>
          </c:spPr>
          <c:invertIfNegative val="0"/>
          <c:dPt>
            <c:idx val="15"/>
            <c:invertIfNegative val="0"/>
            <c:bubble3D val="0"/>
            <c:spPr>
              <a:solidFill>
                <a:schemeClr val="bg1">
                  <a:lumMod val="75000"/>
                </a:schemeClr>
              </a:solidFill>
            </c:spPr>
            <c:extLst>
              <c:ext xmlns:c16="http://schemas.microsoft.com/office/drawing/2014/chart" uri="{C3380CC4-5D6E-409C-BE32-E72D297353CC}">
                <c16:uniqueId val="{00000004-EA47-4B35-88ED-C549BF575F65}"/>
              </c:ext>
            </c:extLst>
          </c:dPt>
          <c:dPt>
            <c:idx val="16"/>
            <c:invertIfNegative val="0"/>
            <c:bubble3D val="0"/>
            <c:spPr>
              <a:solidFill>
                <a:schemeClr val="bg1">
                  <a:lumMod val="75000"/>
                </a:schemeClr>
              </a:solidFill>
            </c:spPr>
            <c:extLst>
              <c:ext xmlns:c16="http://schemas.microsoft.com/office/drawing/2014/chart" uri="{C3380CC4-5D6E-409C-BE32-E72D297353CC}">
                <c16:uniqueId val="{00000005-EA47-4B35-88ED-C549BF575F65}"/>
              </c:ext>
            </c:extLst>
          </c:dPt>
          <c:dLbls>
            <c:dLbl>
              <c:idx val="2"/>
              <c:tx>
                <c:rich>
                  <a:bodyPr/>
                  <a:lstStyle/>
                  <a:p>
                    <a:fld id="{4CCFCBFC-43DE-7F4A-8994-C42010BB9552}" type="VALUE">
                      <a:rPr lang="en-US" smtClean="0"/>
                      <a:pPr/>
                      <a:t>[WERT]</a:t>
                    </a:fld>
                    <a:r>
                      <a:rPr lang="en-US"/>
                      <a:t> CD</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7-02D4-944D-B92A-76AA13C893CF}"/>
                </c:ext>
              </c:extLst>
            </c:dLbl>
            <c:dLbl>
              <c:idx val="5"/>
              <c:tx>
                <c:rich>
                  <a:bodyPr/>
                  <a:lstStyle/>
                  <a:p>
                    <a:fld id="{7CA3EF25-F7C4-4145-95C6-06FE179088E3}" type="VALUE">
                      <a:rPr lang="en-US" smtClean="0"/>
                      <a:pPr/>
                      <a:t>[WERT]</a:t>
                    </a:fld>
                    <a:r>
                      <a:rPr lang="en-US"/>
                      <a:t> C</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9-02D4-944D-B92A-76AA13C893CF}"/>
                </c:ext>
              </c:extLst>
            </c:dLbl>
            <c:dLbl>
              <c:idx val="7"/>
              <c:tx>
                <c:rich>
                  <a:bodyPr/>
                  <a:lstStyle/>
                  <a:p>
                    <a:fld id="{B49111F1-099C-E744-9751-1DF7FDD13248}" type="VALUE">
                      <a:rPr lang="en-US" smtClean="0"/>
                      <a:pPr/>
                      <a:t>[WERT]</a:t>
                    </a:fld>
                    <a:r>
                      <a:rPr lang="en-US"/>
                      <a:t> CD</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C-02D4-944D-B92A-76AA13C893CF}"/>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D$2:$D$11</c:f>
              <c:numCache>
                <c:formatCode>0%</c:formatCode>
                <c:ptCount val="10"/>
                <c:pt idx="0">
                  <c:v>0.39400000000000002</c:v>
                </c:pt>
                <c:pt idx="1">
                  <c:v>0.4</c:v>
                </c:pt>
                <c:pt idx="2">
                  <c:v>0.438</c:v>
                </c:pt>
                <c:pt idx="3">
                  <c:v>0.20899999999999999</c:v>
                </c:pt>
                <c:pt idx="4">
                  <c:v>0.23699999999999999</c:v>
                </c:pt>
                <c:pt idx="5">
                  <c:v>0.26100000000000001</c:v>
                </c:pt>
                <c:pt idx="6">
                  <c:v>0.157</c:v>
                </c:pt>
                <c:pt idx="7">
                  <c:v>0.25800000000000001</c:v>
                </c:pt>
                <c:pt idx="8">
                  <c:v>1.2999999999999999E-2</c:v>
                </c:pt>
                <c:pt idx="9">
                  <c:v>0.03</c:v>
                </c:pt>
              </c:numCache>
            </c:numRef>
          </c:val>
          <c:extLst>
            <c:ext xmlns:c16="http://schemas.microsoft.com/office/drawing/2014/chart" uri="{C3380CC4-5D6E-409C-BE32-E72D297353CC}">
              <c16:uniqueId val="{0000000B-A4AA-4B61-ADC3-6229709C4A52}"/>
            </c:ext>
          </c:extLst>
        </c:ser>
        <c:ser>
          <c:idx val="3"/>
          <c:order val="3"/>
          <c:tx>
            <c:strRef>
              <c:f>Tabelle1!$E$1</c:f>
              <c:strCache>
                <c:ptCount val="1"/>
                <c:pt idx="0">
                  <c:v>60+ J. (F) [56]</c:v>
                </c:pt>
              </c:strCache>
            </c:strRef>
          </c:tx>
          <c:spPr>
            <a:solidFill>
              <a:schemeClr val="accent4">
                <a:lumMod val="40000"/>
                <a:lumOff val="60000"/>
              </a:schemeClr>
            </a:solidFill>
          </c:spPr>
          <c:invertIfNegative val="0"/>
          <c:dPt>
            <c:idx val="15"/>
            <c:invertIfNegative val="0"/>
            <c:bubble3D val="0"/>
            <c:spPr>
              <a:solidFill>
                <a:schemeClr val="bg1">
                  <a:lumMod val="85000"/>
                </a:schemeClr>
              </a:solidFill>
            </c:spPr>
            <c:extLst>
              <c:ext xmlns:c16="http://schemas.microsoft.com/office/drawing/2014/chart" uri="{C3380CC4-5D6E-409C-BE32-E72D297353CC}">
                <c16:uniqueId val="{00000006-EA47-4B35-88ED-C549BF575F65}"/>
              </c:ext>
            </c:extLst>
          </c:dPt>
          <c:dPt>
            <c:idx val="16"/>
            <c:invertIfNegative val="0"/>
            <c:bubble3D val="0"/>
            <c:spPr>
              <a:solidFill>
                <a:schemeClr val="bg1">
                  <a:lumMod val="85000"/>
                </a:schemeClr>
              </a:solidFill>
            </c:spPr>
            <c:extLst>
              <c:ext xmlns:c16="http://schemas.microsoft.com/office/drawing/2014/chart" uri="{C3380CC4-5D6E-409C-BE32-E72D297353CC}">
                <c16:uniqueId val="{00000007-EA47-4B35-88ED-C549BF575F65}"/>
              </c:ext>
            </c:extLst>
          </c:dPt>
          <c:dLbls>
            <c:dLbl>
              <c:idx val="1"/>
              <c:tx>
                <c:rich>
                  <a:bodyPr/>
                  <a:lstStyle/>
                  <a:p>
                    <a:fld id="{35F04DC5-0484-9547-B6BA-AF727ECE36C9}" type="VALUE">
                      <a:rPr lang="en-US" smtClean="0"/>
                      <a:pPr/>
                      <a:t>[WERT]</a:t>
                    </a:fld>
                    <a:r>
                      <a:rPr lang="en-US"/>
                      <a:t> C</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02D4-944D-B92A-76AA13C893CF}"/>
                </c:ext>
              </c:extLst>
            </c:dLbl>
            <c:dLbl>
              <c:idx val="2"/>
              <c:tx>
                <c:rich>
                  <a:bodyPr/>
                  <a:lstStyle/>
                  <a:p>
                    <a:fld id="{358B840E-5DBA-AA4A-8542-1D04F076AEE1}" type="VALUE">
                      <a:rPr lang="en-US" smtClean="0"/>
                      <a:pPr/>
                      <a:t>[WERT]</a:t>
                    </a:fld>
                    <a:r>
                      <a:rPr lang="en-US"/>
                      <a:t> CD</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8-02D4-944D-B92A-76AA13C893CF}"/>
                </c:ext>
              </c:extLst>
            </c:dLbl>
            <c:dLbl>
              <c:idx val="5"/>
              <c:tx>
                <c:rich>
                  <a:bodyPr/>
                  <a:lstStyle/>
                  <a:p>
                    <a:fld id="{76D44675-3D06-A244-AAF6-CEF1D3F7F4C7}" type="VALUE">
                      <a:rPr lang="en-US" smtClean="0"/>
                      <a:pPr/>
                      <a:t>[WERT]</a:t>
                    </a:fld>
                    <a:r>
                      <a:rPr lang="en-US"/>
                      <a:t> CD</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A-02D4-944D-B92A-76AA13C893CF}"/>
                </c:ext>
              </c:extLst>
            </c:dLbl>
            <c:dLbl>
              <c:idx val="7"/>
              <c:tx>
                <c:rich>
                  <a:bodyPr/>
                  <a:lstStyle/>
                  <a:p>
                    <a:fld id="{F3C79DD7-0B4C-984C-8D5F-459831375D64}" type="VALUE">
                      <a:rPr lang="en-US" smtClean="0"/>
                      <a:pPr/>
                      <a:t>[WERT]</a:t>
                    </a:fld>
                    <a:r>
                      <a:rPr lang="en-US"/>
                      <a:t> C</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D-02D4-944D-B92A-76AA13C893CF}"/>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E$2:$E$11</c:f>
              <c:numCache>
                <c:formatCode>0%</c:formatCode>
                <c:ptCount val="10"/>
                <c:pt idx="0">
                  <c:v>0.26900000000000002</c:v>
                </c:pt>
                <c:pt idx="1">
                  <c:v>0.45500000000000002</c:v>
                </c:pt>
                <c:pt idx="2">
                  <c:v>0.52</c:v>
                </c:pt>
                <c:pt idx="3">
                  <c:v>0.25700000000000001</c:v>
                </c:pt>
                <c:pt idx="4">
                  <c:v>0.19500000000000001</c:v>
                </c:pt>
                <c:pt idx="5">
                  <c:v>0.37</c:v>
                </c:pt>
                <c:pt idx="6">
                  <c:v>7.3999999999999996E-2</c:v>
                </c:pt>
                <c:pt idx="7">
                  <c:v>0.20399999999999999</c:v>
                </c:pt>
                <c:pt idx="8">
                  <c:v>1.9E-2</c:v>
                </c:pt>
                <c:pt idx="9">
                  <c:v>4.7E-2</c:v>
                </c:pt>
              </c:numCache>
            </c:numRef>
          </c:val>
          <c:extLst>
            <c:ext xmlns:c16="http://schemas.microsoft.com/office/drawing/2014/chart" uri="{C3380CC4-5D6E-409C-BE32-E72D297353CC}">
              <c16:uniqueId val="{0000000C-A4AA-4B61-ADC3-6229709C4A52}"/>
            </c:ext>
          </c:extLst>
        </c:ser>
        <c:dLbls>
          <c:showLegendKey val="0"/>
          <c:showVal val="0"/>
          <c:showCatName val="0"/>
          <c:showSerName val="0"/>
          <c:showPercent val="0"/>
          <c:showBubbleSize val="0"/>
        </c:dLbls>
        <c:gapWidth val="45"/>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0.14186969831696192"/>
          <c:y val="0.93421838174403371"/>
          <c:w val="0.77012121464867256"/>
          <c:h val="6.2970324469788883E-2"/>
        </c:manualLayout>
      </c:layout>
      <c:overlay val="0"/>
      <c:txPr>
        <a:bodyPr/>
        <a:lstStyle/>
        <a:p>
          <a:pPr>
            <a:defRPr sz="8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372370953630791"/>
          <c:y val="9.2040427461904689E-2"/>
          <c:w val="0.54950463692038498"/>
          <c:h val="0.85122200215770571"/>
        </c:manualLayout>
      </c:layout>
      <c:barChart>
        <c:barDir val="bar"/>
        <c:grouping val="clustered"/>
        <c:varyColors val="0"/>
        <c:ser>
          <c:idx val="0"/>
          <c:order val="0"/>
          <c:tx>
            <c:strRef>
              <c:f>Tabelle1!$B$1</c:f>
              <c:strCache>
                <c:ptCount val="1"/>
                <c:pt idx="0">
                  <c:v>Spalte1</c:v>
                </c:pt>
              </c:strCache>
            </c:strRef>
          </c:tx>
          <c:spPr>
            <a:solidFill>
              <a:schemeClr val="accent2"/>
            </a:solidFill>
          </c:spPr>
          <c:invertIfNegative val="0"/>
          <c:dPt>
            <c:idx val="0"/>
            <c:invertIfNegative val="0"/>
            <c:bubble3D val="0"/>
            <c:spPr>
              <a:solidFill>
                <a:schemeClr val="accent6"/>
              </a:solidFill>
            </c:spPr>
            <c:extLst>
              <c:ext xmlns:c16="http://schemas.microsoft.com/office/drawing/2014/chart" uri="{C3380CC4-5D6E-409C-BE32-E72D297353CC}">
                <c16:uniqueId val="{00000001-9625-470E-AB92-E576FCBE9BB1}"/>
              </c:ext>
            </c:extLst>
          </c:dPt>
          <c:dPt>
            <c:idx val="1"/>
            <c:invertIfNegative val="0"/>
            <c:bubble3D val="0"/>
            <c:spPr>
              <a:solidFill>
                <a:schemeClr val="accent6"/>
              </a:solidFill>
            </c:spPr>
            <c:extLst>
              <c:ext xmlns:c16="http://schemas.microsoft.com/office/drawing/2014/chart" uri="{C3380CC4-5D6E-409C-BE32-E72D297353CC}">
                <c16:uniqueId val="{00000002-9625-470E-AB92-E576FCBE9BB1}"/>
              </c:ext>
            </c:extLst>
          </c:dPt>
          <c:dPt>
            <c:idx val="2"/>
            <c:invertIfNegative val="0"/>
            <c:bubble3D val="0"/>
            <c:spPr>
              <a:solidFill>
                <a:schemeClr val="accent5"/>
              </a:solidFill>
            </c:spPr>
            <c:extLst>
              <c:ext xmlns:c16="http://schemas.microsoft.com/office/drawing/2014/chart" uri="{C3380CC4-5D6E-409C-BE32-E72D297353CC}">
                <c16:uniqueId val="{00000003-9625-470E-AB92-E576FCBE9BB1}"/>
              </c:ext>
            </c:extLst>
          </c:dPt>
          <c:dPt>
            <c:idx val="3"/>
            <c:invertIfNegative val="0"/>
            <c:bubble3D val="0"/>
            <c:spPr>
              <a:solidFill>
                <a:schemeClr val="bg1">
                  <a:lumMod val="75000"/>
                </a:schemeClr>
              </a:solidFill>
            </c:spPr>
            <c:extLst>
              <c:ext xmlns:c16="http://schemas.microsoft.com/office/drawing/2014/chart" uri="{C3380CC4-5D6E-409C-BE32-E72D297353CC}">
                <c16:uniqueId val="{00000000-9625-470E-AB92-E576FCBE9BB1}"/>
              </c:ext>
            </c:extLst>
          </c:dPt>
          <c:dPt>
            <c:idx val="25"/>
            <c:invertIfNegative val="0"/>
            <c:bubble3D val="0"/>
            <c:extLst>
              <c:ext xmlns:c16="http://schemas.microsoft.com/office/drawing/2014/chart" uri="{C3380CC4-5D6E-409C-BE32-E72D297353CC}">
                <c16:uniqueId val="{00000001-BAAD-4EDE-B852-3FBFE25BFF49}"/>
              </c:ext>
            </c:extLst>
          </c:dPt>
          <c:dLbls>
            <c:spPr>
              <a:noFill/>
              <a:ln>
                <a:noFill/>
              </a:ln>
              <a:effectLst/>
            </c:spPr>
            <c:txPr>
              <a:bodyPr/>
              <a:lstStyle/>
              <a:p>
                <a:pPr>
                  <a:defRPr sz="10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Ja, ich habe in den letzten 12 Monaten frei erhältliche CBD-Produkte genutzt</c:v>
                </c:pt>
                <c:pt idx="1">
                  <c:v>Ja, ich habe früher frei erhältliche CBD Produkte genutzt (länger her als 12 Monate)</c:v>
                </c:pt>
                <c:pt idx="2">
                  <c:v>Nein, Ich habe noch nie frei erhältliche CBD Produkte genutzt</c:v>
                </c:pt>
                <c:pt idx="3">
                  <c:v>Weiss nicht / keine Antwort</c:v>
                </c:pt>
              </c:strCache>
            </c:strRef>
          </c:cat>
          <c:val>
            <c:numRef>
              <c:f>Tabelle1!$B$2:$B$5</c:f>
              <c:numCache>
                <c:formatCode>0%</c:formatCode>
                <c:ptCount val="4"/>
                <c:pt idx="0">
                  <c:v>0.13900000000000001</c:v>
                </c:pt>
                <c:pt idx="1">
                  <c:v>0.115</c:v>
                </c:pt>
                <c:pt idx="2">
                  <c:v>0.74</c:v>
                </c:pt>
                <c:pt idx="3">
                  <c:v>6.0000000000000001E-3</c:v>
                </c:pt>
              </c:numCache>
            </c:numRef>
          </c:val>
          <c:extLst>
            <c:ext xmlns:c16="http://schemas.microsoft.com/office/drawing/2014/chart" uri="{C3380CC4-5D6E-409C-BE32-E72D297353CC}">
              <c16:uniqueId val="{00000002-BAAD-4EDE-B852-3FBFE25BFF49}"/>
            </c:ext>
          </c:extLst>
        </c:ser>
        <c:dLbls>
          <c:showLegendKey val="0"/>
          <c:showVal val="0"/>
          <c:showCatName val="0"/>
          <c:showSerName val="0"/>
          <c:showPercent val="0"/>
          <c:showBubbleSize val="0"/>
        </c:dLbls>
        <c:gapWidth val="153"/>
        <c:axId val="53095936"/>
        <c:axId val="137818048"/>
      </c:barChart>
      <c:catAx>
        <c:axId val="53095936"/>
        <c:scaling>
          <c:orientation val="maxMin"/>
        </c:scaling>
        <c:delete val="0"/>
        <c:axPos val="l"/>
        <c:numFmt formatCode="General" sourceLinked="0"/>
        <c:majorTickMark val="none"/>
        <c:minorTickMark val="none"/>
        <c:tickLblPos val="nextTo"/>
        <c:txPr>
          <a:bodyPr/>
          <a:lstStyle/>
          <a:p>
            <a:pPr algn="r">
              <a:defRPr sz="10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plotVisOnly val="1"/>
    <c:dispBlanksAs val="gap"/>
    <c:showDLblsOverMax val="0"/>
  </c:chart>
  <c:txPr>
    <a:bodyPr/>
    <a:lstStyle/>
    <a:p>
      <a:pPr>
        <a:defRPr sz="1800"/>
      </a:pPr>
      <a:endParaRPr lang="de-DE"/>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088645235986524"/>
          <c:y val="9.2040430389156117E-2"/>
          <c:w val="0.45769326735290644"/>
          <c:h val="0.82873155531176257"/>
        </c:manualLayout>
      </c:layout>
      <c:barChart>
        <c:barDir val="bar"/>
        <c:grouping val="clustered"/>
        <c:varyColors val="0"/>
        <c:ser>
          <c:idx val="0"/>
          <c:order val="0"/>
          <c:tx>
            <c:strRef>
              <c:f>Tabelle1!$B$1</c:f>
              <c:strCache>
                <c:ptCount val="1"/>
                <c:pt idx="0">
                  <c:v>D-CH (G) [258]</c:v>
                </c:pt>
              </c:strCache>
            </c:strRef>
          </c:tx>
          <c:spPr>
            <a:solidFill>
              <a:schemeClr val="accent5"/>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15"/>
            <c:invertIfNegative val="0"/>
            <c:bubble3D val="0"/>
            <c:spPr>
              <a:solidFill>
                <a:schemeClr val="bg1">
                  <a:lumMod val="65000"/>
                </a:schemeClr>
              </a:solidFill>
            </c:spPr>
            <c:extLst>
              <c:ext xmlns:c16="http://schemas.microsoft.com/office/drawing/2014/chart" uri="{C3380CC4-5D6E-409C-BE32-E72D297353CC}">
                <c16:uniqueId val="{00000000-0875-47F9-9EDC-E97BE4584D49}"/>
              </c:ext>
            </c:extLst>
          </c:dPt>
          <c:dPt>
            <c:idx val="16"/>
            <c:invertIfNegative val="0"/>
            <c:bubble3D val="0"/>
            <c:spPr>
              <a:solidFill>
                <a:schemeClr val="bg1">
                  <a:lumMod val="65000"/>
                </a:schemeClr>
              </a:solidFill>
            </c:spPr>
            <c:extLst>
              <c:ext xmlns:c16="http://schemas.microsoft.com/office/drawing/2014/chart" uri="{C3380CC4-5D6E-409C-BE32-E72D297353CC}">
                <c16:uniqueId val="{00000001-0875-47F9-9EDC-E97BE4584D49}"/>
              </c:ext>
            </c:extLst>
          </c:dPt>
          <c:dPt>
            <c:idx val="24"/>
            <c:invertIfNegative val="0"/>
            <c:bubble3D val="0"/>
            <c:extLst>
              <c:ext xmlns:c16="http://schemas.microsoft.com/office/drawing/2014/chart" uri="{C3380CC4-5D6E-409C-BE32-E72D297353CC}">
                <c16:uniqueId val="{00000001-BAAD-4EDE-B852-3FBFE25BFF49}"/>
              </c:ext>
            </c:extLst>
          </c:dPt>
          <c:dLbls>
            <c:dLbl>
              <c:idx val="4"/>
              <c:tx>
                <c:rich>
                  <a:bodyPr/>
                  <a:lstStyle/>
                  <a:p>
                    <a:fld id="{9E9DA903-6E54-774E-9EB2-7F547E826DC9}" type="VALUE">
                      <a:rPr lang="en-US" smtClean="0"/>
                      <a:pPr/>
                      <a:t>[WERT]</a:t>
                    </a:fld>
                    <a:r>
                      <a:rPr lang="en-US"/>
                      <a:t> H</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A2C0-6840-BB66-540C022B4EE1}"/>
                </c:ext>
              </c:extLst>
            </c:dLbl>
            <c:dLbl>
              <c:idx val="7"/>
              <c:tx>
                <c:rich>
                  <a:bodyPr/>
                  <a:lstStyle/>
                  <a:p>
                    <a:fld id="{6D569D6F-0FE2-5647-B9A1-FAB701EF057F}" type="VALUE">
                      <a:rPr lang="en-US" smtClean="0"/>
                      <a:pPr/>
                      <a:t>[WERT]</a:t>
                    </a:fld>
                    <a:r>
                      <a:rPr lang="en-US"/>
                      <a:t> H</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A2C0-6840-BB66-540C022B4EE1}"/>
                </c:ext>
              </c:extLst>
            </c:dLbl>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11</c:f>
              <c:numCache>
                <c:formatCode>General</c:formatCode>
                <c:ptCount val="10"/>
              </c:numCache>
            </c:numRef>
          </c:cat>
          <c:val>
            <c:numRef>
              <c:f>Tabelle1!$B$2:$B$11</c:f>
              <c:numCache>
                <c:formatCode>0%</c:formatCode>
                <c:ptCount val="10"/>
                <c:pt idx="0">
                  <c:v>0.40300000000000002</c:v>
                </c:pt>
                <c:pt idx="1">
                  <c:v>0.34499999999999997</c:v>
                </c:pt>
                <c:pt idx="2">
                  <c:v>0.28899999999999998</c:v>
                </c:pt>
                <c:pt idx="3">
                  <c:v>0.28799999999999998</c:v>
                </c:pt>
                <c:pt idx="4">
                  <c:v>0.26300000000000001</c:v>
                </c:pt>
                <c:pt idx="5">
                  <c:v>0.23499999999999999</c:v>
                </c:pt>
                <c:pt idx="6">
                  <c:v>0.14199999999999999</c:v>
                </c:pt>
                <c:pt idx="7">
                  <c:v>0.185</c:v>
                </c:pt>
                <c:pt idx="8">
                  <c:v>7.5999999999999998E-2</c:v>
                </c:pt>
                <c:pt idx="9">
                  <c:v>6.3E-2</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W-CH (H) [101]</c:v>
                </c:pt>
              </c:strCache>
            </c:strRef>
          </c:tx>
          <c:spPr>
            <a:solidFill>
              <a:schemeClr val="accent5">
                <a:lumMod val="40000"/>
                <a:lumOff val="60000"/>
              </a:schemeClr>
            </a:solidFill>
          </c:spPr>
          <c:invertIfNegative val="0"/>
          <c:dPt>
            <c:idx val="3"/>
            <c:invertIfNegative val="0"/>
            <c:bubble3D val="0"/>
            <c:extLst>
              <c:ext xmlns:c16="http://schemas.microsoft.com/office/drawing/2014/chart" uri="{C3380CC4-5D6E-409C-BE32-E72D297353CC}">
                <c16:uniqueId val="{00000010-7D8A-4AF0-AE26-9A9D5F9F8697}"/>
              </c:ext>
            </c:extLst>
          </c:dPt>
          <c:dPt>
            <c:idx val="15"/>
            <c:invertIfNegative val="0"/>
            <c:bubble3D val="0"/>
            <c:spPr>
              <a:solidFill>
                <a:schemeClr val="bg1">
                  <a:lumMod val="75000"/>
                </a:schemeClr>
              </a:solidFill>
            </c:spPr>
            <c:extLst>
              <c:ext xmlns:c16="http://schemas.microsoft.com/office/drawing/2014/chart" uri="{C3380CC4-5D6E-409C-BE32-E72D297353CC}">
                <c16:uniqueId val="{00000002-0875-47F9-9EDC-E97BE4584D49}"/>
              </c:ext>
            </c:extLst>
          </c:dPt>
          <c:dPt>
            <c:idx val="16"/>
            <c:invertIfNegative val="0"/>
            <c:bubble3D val="0"/>
            <c:spPr>
              <a:solidFill>
                <a:schemeClr val="bg1">
                  <a:lumMod val="75000"/>
                </a:schemeClr>
              </a:solidFill>
            </c:spPr>
            <c:extLst>
              <c:ext xmlns:c16="http://schemas.microsoft.com/office/drawing/2014/chart" uri="{C3380CC4-5D6E-409C-BE32-E72D297353CC}">
                <c16:uniqueId val="{00000003-0875-47F9-9EDC-E97BE4584D49}"/>
              </c:ext>
            </c:extLst>
          </c:dPt>
          <c:dLbls>
            <c:dLbl>
              <c:idx val="6"/>
              <c:tx>
                <c:rich>
                  <a:bodyPr/>
                  <a:lstStyle/>
                  <a:p>
                    <a:fld id="{CC172300-2D28-9F4F-9940-E764E86253D5}" type="VALUE">
                      <a:rPr lang="en-US" smtClean="0"/>
                      <a:pPr/>
                      <a:t>[WERT]</a:t>
                    </a:fld>
                    <a:r>
                      <a:rPr lang="en-US"/>
                      <a:t> G</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A2C0-6840-BB66-540C022B4EE1}"/>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C$2:$C$11</c:f>
              <c:numCache>
                <c:formatCode>0%</c:formatCode>
                <c:ptCount val="10"/>
                <c:pt idx="0">
                  <c:v>0.376</c:v>
                </c:pt>
                <c:pt idx="1">
                  <c:v>0.312</c:v>
                </c:pt>
                <c:pt idx="2">
                  <c:v>0.35499999999999998</c:v>
                </c:pt>
                <c:pt idx="3">
                  <c:v>0.28100000000000003</c:v>
                </c:pt>
                <c:pt idx="4">
                  <c:v>0.14699999999999999</c:v>
                </c:pt>
                <c:pt idx="5">
                  <c:v>0.18099999999999999</c:v>
                </c:pt>
                <c:pt idx="6">
                  <c:v>0.26300000000000001</c:v>
                </c:pt>
                <c:pt idx="7">
                  <c:v>7.9000000000000001E-2</c:v>
                </c:pt>
                <c:pt idx="8">
                  <c:v>7.9000000000000001E-2</c:v>
                </c:pt>
                <c:pt idx="9">
                  <c:v>9.1999999999999998E-2</c:v>
                </c:pt>
              </c:numCache>
            </c:numRef>
          </c:val>
          <c:extLst>
            <c:ext xmlns:c16="http://schemas.microsoft.com/office/drawing/2014/chart" uri="{C3380CC4-5D6E-409C-BE32-E72D297353CC}">
              <c16:uniqueId val="{0000000E-7D8A-4AF0-AE26-9A9D5F9F8697}"/>
            </c:ext>
          </c:extLst>
        </c:ser>
        <c:ser>
          <c:idx val="2"/>
          <c:order val="2"/>
          <c:tx>
            <c:strRef>
              <c:f>Tabelle1!$D$1</c:f>
              <c:strCache>
                <c:ptCount val="1"/>
                <c:pt idx="0">
                  <c:v>Tessin (I) [46*]</c:v>
                </c:pt>
              </c:strCache>
            </c:strRef>
          </c:tx>
          <c:spPr>
            <a:solidFill>
              <a:schemeClr val="accent5">
                <a:lumMod val="20000"/>
                <a:lumOff val="80000"/>
              </a:schemeClr>
            </a:solidFill>
          </c:spPr>
          <c:invertIfNegative val="0"/>
          <c:dPt>
            <c:idx val="15"/>
            <c:invertIfNegative val="0"/>
            <c:bubble3D val="0"/>
            <c:spPr>
              <a:solidFill>
                <a:schemeClr val="bg1">
                  <a:lumMod val="85000"/>
                </a:schemeClr>
              </a:solidFill>
            </c:spPr>
            <c:extLst>
              <c:ext xmlns:c16="http://schemas.microsoft.com/office/drawing/2014/chart" uri="{C3380CC4-5D6E-409C-BE32-E72D297353CC}">
                <c16:uniqueId val="{00000004-0875-47F9-9EDC-E97BE4584D49}"/>
              </c:ext>
            </c:extLst>
          </c:dPt>
          <c:dPt>
            <c:idx val="16"/>
            <c:invertIfNegative val="0"/>
            <c:bubble3D val="0"/>
            <c:spPr>
              <a:solidFill>
                <a:schemeClr val="bg1">
                  <a:lumMod val="85000"/>
                </a:schemeClr>
              </a:solidFill>
            </c:spPr>
            <c:extLst>
              <c:ext xmlns:c16="http://schemas.microsoft.com/office/drawing/2014/chart" uri="{C3380CC4-5D6E-409C-BE32-E72D297353CC}">
                <c16:uniqueId val="{00000005-0875-47F9-9EDC-E97BE4584D49}"/>
              </c:ext>
            </c:extLst>
          </c:dPt>
          <c:dLbls>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D$2:$D$11</c:f>
              <c:numCache>
                <c:formatCode>0%</c:formatCode>
                <c:ptCount val="10"/>
                <c:pt idx="0">
                  <c:v>0.47699999999999998</c:v>
                </c:pt>
                <c:pt idx="1">
                  <c:v>0.40500000000000003</c:v>
                </c:pt>
                <c:pt idx="2">
                  <c:v>0.246</c:v>
                </c:pt>
                <c:pt idx="3">
                  <c:v>0.216</c:v>
                </c:pt>
                <c:pt idx="4">
                  <c:v>0.17799999999999999</c:v>
                </c:pt>
                <c:pt idx="5">
                  <c:v>0.183</c:v>
                </c:pt>
                <c:pt idx="6">
                  <c:v>0.24099999999999999</c:v>
                </c:pt>
                <c:pt idx="7">
                  <c:v>7.6999999999999999E-2</c:v>
                </c:pt>
                <c:pt idx="8">
                  <c:v>1.4E-2</c:v>
                </c:pt>
                <c:pt idx="9">
                  <c:v>7.0999999999999994E-2</c:v>
                </c:pt>
              </c:numCache>
            </c:numRef>
          </c:val>
          <c:extLst>
            <c:ext xmlns:c16="http://schemas.microsoft.com/office/drawing/2014/chart" uri="{C3380CC4-5D6E-409C-BE32-E72D297353CC}">
              <c16:uniqueId val="{0000000B-CE0D-4218-BB1D-8D191CAEC14C}"/>
            </c:ext>
          </c:extLst>
        </c:ser>
        <c:dLbls>
          <c:showLegendKey val="0"/>
          <c:showVal val="0"/>
          <c:showCatName val="0"/>
          <c:showSerName val="0"/>
          <c:showPercent val="0"/>
          <c:showBubbleSize val="0"/>
        </c:dLbls>
        <c:gapWidth val="72"/>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0.24072689206602096"/>
          <c:y val="0.9370296755302111"/>
          <c:w val="0.66217451262154869"/>
          <c:h val="6.0159030683611461E-2"/>
        </c:manualLayout>
      </c:layout>
      <c:overlay val="0"/>
      <c:txPr>
        <a:bodyPr/>
        <a:lstStyle/>
        <a:p>
          <a:pPr>
            <a:defRPr sz="8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390692688949884"/>
          <c:y val="9.2040430389156117E-2"/>
          <c:w val="0.46310336077491426"/>
          <c:h val="0.82592026152558518"/>
        </c:manualLayout>
      </c:layout>
      <c:barChart>
        <c:barDir val="bar"/>
        <c:grouping val="clustered"/>
        <c:varyColors val="0"/>
        <c:ser>
          <c:idx val="0"/>
          <c:order val="0"/>
          <c:tx>
            <c:strRef>
              <c:f>Tabelle1!$B$1</c:f>
              <c:strCache>
                <c:ptCount val="1"/>
                <c:pt idx="0">
                  <c:v>Spalte1</c:v>
                </c:pt>
              </c:strCache>
            </c:strRef>
          </c:tx>
          <c:spPr>
            <a:solidFill>
              <a:schemeClr val="accent2"/>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15"/>
            <c:invertIfNegative val="0"/>
            <c:bubble3D val="0"/>
            <c:spPr>
              <a:solidFill>
                <a:schemeClr val="bg1">
                  <a:lumMod val="75000"/>
                </a:schemeClr>
              </a:solidFill>
            </c:spPr>
            <c:extLst>
              <c:ext xmlns:c16="http://schemas.microsoft.com/office/drawing/2014/chart" uri="{C3380CC4-5D6E-409C-BE32-E72D297353CC}">
                <c16:uniqueId val="{00000000-A8B0-478E-A36C-DAE818295D4F}"/>
              </c:ext>
            </c:extLst>
          </c:dPt>
          <c:dPt>
            <c:idx val="16"/>
            <c:invertIfNegative val="0"/>
            <c:bubble3D val="0"/>
            <c:spPr>
              <a:solidFill>
                <a:schemeClr val="bg1">
                  <a:lumMod val="75000"/>
                </a:schemeClr>
              </a:solidFill>
            </c:spPr>
            <c:extLst>
              <c:ext xmlns:c16="http://schemas.microsoft.com/office/drawing/2014/chart" uri="{C3380CC4-5D6E-409C-BE32-E72D297353CC}">
                <c16:uniqueId val="{00000001-A8B0-478E-A36C-DAE818295D4F}"/>
              </c:ext>
            </c:extLst>
          </c:dPt>
          <c:dPt>
            <c:idx val="25"/>
            <c:invertIfNegative val="0"/>
            <c:bubble3D val="0"/>
            <c:extLst>
              <c:ext xmlns:c16="http://schemas.microsoft.com/office/drawing/2014/chart" uri="{C3380CC4-5D6E-409C-BE32-E72D297353CC}">
                <c16:uniqueId val="{00000001-BAAD-4EDE-B852-3FBFE25BFF49}"/>
              </c:ext>
            </c:extLst>
          </c:dPt>
          <c:dLbls>
            <c:spPr>
              <a:noFill/>
              <a:ln>
                <a:noFill/>
              </a:ln>
              <a:effectLst/>
            </c:spPr>
            <c:txPr>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11</c:f>
              <c:strCache>
                <c:ptCount val="10"/>
                <c:pt idx="0">
                  <c:v> Schlafstörungen</c:v>
                </c:pt>
                <c:pt idx="1">
                  <c:v> Schmerzlinderung</c:v>
                </c:pt>
                <c:pt idx="2">
                  <c:v> Positives Wohlbefinden / Stimmung</c:v>
                </c:pt>
                <c:pt idx="3">
                  <c:v> Stressabbau</c:v>
                </c:pt>
                <c:pt idx="4">
                  <c:v> Empfehlung von Freunden</c:v>
                </c:pt>
                <c:pt idx="5">
                  <c:v> Alternative zu Medikamenten</c:v>
                </c:pt>
                <c:pt idx="6">
                  <c:v> Angstbewältigung</c:v>
                </c:pt>
                <c:pt idx="7">
                  <c:v> Unterstützung bei Behandlung</c:v>
                </c:pt>
                <c:pt idx="8">
                  <c:v> Entwöhnung anderer Substanzen</c:v>
                </c:pt>
                <c:pt idx="9">
                  <c:v> Aus Langeweile</c:v>
                </c:pt>
              </c:strCache>
            </c:strRef>
          </c:cat>
          <c:val>
            <c:numRef>
              <c:f>Tabelle1!$B$2:$B$11</c:f>
              <c:numCache>
                <c:formatCode>0%</c:formatCode>
                <c:ptCount val="10"/>
                <c:pt idx="0">
                  <c:v>0.16400000000000001</c:v>
                </c:pt>
                <c:pt idx="1">
                  <c:v>0.156</c:v>
                </c:pt>
                <c:pt idx="2">
                  <c:v>0.126</c:v>
                </c:pt>
                <c:pt idx="3">
                  <c:v>0.126</c:v>
                </c:pt>
                <c:pt idx="4">
                  <c:v>6.4000000000000001E-2</c:v>
                </c:pt>
                <c:pt idx="5">
                  <c:v>5.7000000000000002E-2</c:v>
                </c:pt>
                <c:pt idx="6">
                  <c:v>4.4999999999999998E-2</c:v>
                </c:pt>
                <c:pt idx="7">
                  <c:v>4.2000000000000003E-2</c:v>
                </c:pt>
                <c:pt idx="8">
                  <c:v>3.4000000000000002E-2</c:v>
                </c:pt>
                <c:pt idx="9">
                  <c:v>3.1E-2</c:v>
                </c:pt>
              </c:numCache>
            </c:numRef>
          </c:val>
          <c:extLst>
            <c:ext xmlns:c16="http://schemas.microsoft.com/office/drawing/2014/chart" uri="{C3380CC4-5D6E-409C-BE32-E72D297353CC}">
              <c16:uniqueId val="{00000002-BAAD-4EDE-B852-3FBFE25BFF49}"/>
            </c:ext>
          </c:extLst>
        </c:ser>
        <c:dLbls>
          <c:showLegendKey val="0"/>
          <c:showVal val="0"/>
          <c:showCatName val="0"/>
          <c:showSerName val="0"/>
          <c:showPercent val="0"/>
          <c:showBubbleSize val="0"/>
        </c:dLbls>
        <c:gapWidth val="65"/>
        <c:axId val="53095936"/>
        <c:axId val="137818048"/>
      </c:barChart>
      <c:catAx>
        <c:axId val="53095936"/>
        <c:scaling>
          <c:orientation val="maxMin"/>
        </c:scaling>
        <c:delete val="0"/>
        <c:axPos val="l"/>
        <c:numFmt formatCode="General" sourceLinked="0"/>
        <c:majorTickMark val="none"/>
        <c:minorTickMark val="none"/>
        <c:tickLblPos val="nextTo"/>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plotVisOnly val="1"/>
    <c:dispBlanksAs val="gap"/>
    <c:showDLblsOverMax val="0"/>
  </c:chart>
  <c:txPr>
    <a:bodyPr/>
    <a:lstStyle/>
    <a:p>
      <a:pPr>
        <a:defRPr sz="1800"/>
      </a:pPr>
      <a:endParaRPr lang="de-DE"/>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104959629280667"/>
          <c:y val="9.2040430389156117E-2"/>
          <c:w val="0.45769326735290644"/>
          <c:h val="0.82873155531176257"/>
        </c:manualLayout>
      </c:layout>
      <c:barChart>
        <c:barDir val="bar"/>
        <c:grouping val="clustered"/>
        <c:varyColors val="0"/>
        <c:ser>
          <c:idx val="0"/>
          <c:order val="0"/>
          <c:tx>
            <c:strRef>
              <c:f>Tabelle1!$B$1</c:f>
              <c:strCache>
                <c:ptCount val="1"/>
                <c:pt idx="0">
                  <c:v>Männer (A) [178]</c:v>
                </c:pt>
              </c:strCache>
            </c:strRef>
          </c:tx>
          <c:spPr>
            <a:solidFill>
              <a:schemeClr val="accent6"/>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14"/>
            <c:invertIfNegative val="0"/>
            <c:bubble3D val="0"/>
            <c:spPr>
              <a:solidFill>
                <a:schemeClr val="bg1">
                  <a:lumMod val="75000"/>
                </a:schemeClr>
              </a:solidFill>
            </c:spPr>
            <c:extLst>
              <c:ext xmlns:c16="http://schemas.microsoft.com/office/drawing/2014/chart" uri="{C3380CC4-5D6E-409C-BE32-E72D297353CC}">
                <c16:uniqueId val="{00000000-B002-4D1F-97C0-1795A68D671E}"/>
              </c:ext>
            </c:extLst>
          </c:dPt>
          <c:dPt>
            <c:idx val="15"/>
            <c:invertIfNegative val="0"/>
            <c:bubble3D val="0"/>
            <c:spPr>
              <a:solidFill>
                <a:schemeClr val="bg1">
                  <a:lumMod val="75000"/>
                </a:schemeClr>
              </a:solidFill>
            </c:spPr>
            <c:extLst>
              <c:ext xmlns:c16="http://schemas.microsoft.com/office/drawing/2014/chart" uri="{C3380CC4-5D6E-409C-BE32-E72D297353CC}">
                <c16:uniqueId val="{00000001-B002-4D1F-97C0-1795A68D671E}"/>
              </c:ext>
            </c:extLst>
          </c:dPt>
          <c:dPt>
            <c:idx val="24"/>
            <c:invertIfNegative val="0"/>
            <c:bubble3D val="0"/>
            <c:extLst>
              <c:ext xmlns:c16="http://schemas.microsoft.com/office/drawing/2014/chart" uri="{C3380CC4-5D6E-409C-BE32-E72D297353CC}">
                <c16:uniqueId val="{00000001-BAAD-4EDE-B852-3FBFE25BFF49}"/>
              </c:ext>
            </c:extLst>
          </c:dPt>
          <c:dLbls>
            <c:dLbl>
              <c:idx val="2"/>
              <c:tx>
                <c:rich>
                  <a:bodyPr/>
                  <a:lstStyle/>
                  <a:p>
                    <a:fld id="{45CADA12-997D-5845-9619-6A012F005F8C}" type="VALUE">
                      <a:rPr lang="en-US" smtClean="0"/>
                      <a:pPr/>
                      <a:t>[WERT]</a:t>
                    </a:fld>
                    <a:r>
                      <a:rPr lang="en-US"/>
                      <a:t> B</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625-470E-AB92-E576FCBE9BB1}"/>
                </c:ext>
              </c:extLst>
            </c:dLbl>
            <c:dLbl>
              <c:idx val="8"/>
              <c:tx>
                <c:rich>
                  <a:bodyPr/>
                  <a:lstStyle/>
                  <a:p>
                    <a:fld id="{0E9D51AD-01A0-564B-B57D-0407A55396A1}" type="VALUE">
                      <a:rPr lang="en-US" smtClean="0"/>
                      <a:pPr/>
                      <a:t>[WERT]</a:t>
                    </a:fld>
                    <a:r>
                      <a:rPr lang="en-US"/>
                      <a:t> B</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3641-7B4D-AE22-EA57EEFDC1C5}"/>
                </c:ext>
              </c:extLst>
            </c:dLbl>
            <c:dLbl>
              <c:idx val="9"/>
              <c:tx>
                <c:rich>
                  <a:bodyPr/>
                  <a:lstStyle/>
                  <a:p>
                    <a:fld id="{EE6AC6DA-2235-E349-B4CA-90FD8263B782}" type="VALUE">
                      <a:rPr lang="en-US" smtClean="0"/>
                      <a:pPr/>
                      <a:t>[WERT]</a:t>
                    </a:fld>
                    <a:r>
                      <a:rPr lang="en-US"/>
                      <a:t> B</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3641-7B4D-AE22-EA57EEFDC1C5}"/>
                </c:ext>
              </c:extLst>
            </c:dLbl>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11</c:f>
              <c:numCache>
                <c:formatCode>General</c:formatCode>
                <c:ptCount val="10"/>
              </c:numCache>
            </c:numRef>
          </c:cat>
          <c:val>
            <c:numRef>
              <c:f>Tabelle1!$B$2:$B$11</c:f>
              <c:numCache>
                <c:formatCode>0%</c:formatCode>
                <c:ptCount val="10"/>
                <c:pt idx="0">
                  <c:v>0.14699999999999999</c:v>
                </c:pt>
                <c:pt idx="1">
                  <c:v>5.6000000000000001E-2</c:v>
                </c:pt>
                <c:pt idx="2">
                  <c:v>0.183</c:v>
                </c:pt>
                <c:pt idx="3">
                  <c:v>0.13300000000000001</c:v>
                </c:pt>
                <c:pt idx="4">
                  <c:v>7.9000000000000001E-2</c:v>
                </c:pt>
                <c:pt idx="5">
                  <c:v>3.1E-2</c:v>
                </c:pt>
                <c:pt idx="6">
                  <c:v>2.7E-2</c:v>
                </c:pt>
                <c:pt idx="7">
                  <c:v>3.2000000000000001E-2</c:v>
                </c:pt>
                <c:pt idx="8">
                  <c:v>6.0999999999999999E-2</c:v>
                </c:pt>
                <c:pt idx="9">
                  <c:v>6.5000000000000002E-2</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Frauen (B) [228]</c:v>
                </c:pt>
              </c:strCache>
            </c:strRef>
          </c:tx>
          <c:spPr>
            <a:solidFill>
              <a:schemeClr val="accent6">
                <a:lumMod val="60000"/>
                <a:lumOff val="40000"/>
              </a:schemeClr>
            </a:solidFill>
          </c:spPr>
          <c:invertIfNegative val="0"/>
          <c:dPt>
            <c:idx val="14"/>
            <c:invertIfNegative val="0"/>
            <c:bubble3D val="0"/>
            <c:spPr>
              <a:solidFill>
                <a:schemeClr val="bg1">
                  <a:lumMod val="85000"/>
                </a:schemeClr>
              </a:solidFill>
            </c:spPr>
            <c:extLst>
              <c:ext xmlns:c16="http://schemas.microsoft.com/office/drawing/2014/chart" uri="{C3380CC4-5D6E-409C-BE32-E72D297353CC}">
                <c16:uniqueId val="{00000002-B002-4D1F-97C0-1795A68D671E}"/>
              </c:ext>
            </c:extLst>
          </c:dPt>
          <c:dPt>
            <c:idx val="15"/>
            <c:invertIfNegative val="0"/>
            <c:bubble3D val="0"/>
            <c:spPr>
              <a:solidFill>
                <a:schemeClr val="bg1">
                  <a:lumMod val="85000"/>
                </a:schemeClr>
              </a:solidFill>
            </c:spPr>
            <c:extLst>
              <c:ext xmlns:c16="http://schemas.microsoft.com/office/drawing/2014/chart" uri="{C3380CC4-5D6E-409C-BE32-E72D297353CC}">
                <c16:uniqueId val="{00000003-B002-4D1F-97C0-1795A68D671E}"/>
              </c:ext>
            </c:extLst>
          </c:dPt>
          <c:dLbls>
            <c:dLbl>
              <c:idx val="1"/>
              <c:tx>
                <c:rich>
                  <a:bodyPr/>
                  <a:lstStyle/>
                  <a:p>
                    <a:fld id="{26378874-ACD2-1A49-A4CF-70C431C0DB46}" type="VALUE">
                      <a:rPr lang="en-US" smtClean="0"/>
                      <a:pPr/>
                      <a:t>[WERT]</a:t>
                    </a:fld>
                    <a:r>
                      <a:rPr lang="en-US"/>
                      <a:t> A</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3641-7B4D-AE22-EA57EEFDC1C5}"/>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C$2:$C$11</c:f>
              <c:numCache>
                <c:formatCode>0%</c:formatCode>
                <c:ptCount val="10"/>
                <c:pt idx="0">
                  <c:v>0.17799999999999999</c:v>
                </c:pt>
                <c:pt idx="1">
                  <c:v>0.23699999999999999</c:v>
                </c:pt>
                <c:pt idx="2">
                  <c:v>0.08</c:v>
                </c:pt>
                <c:pt idx="3">
                  <c:v>0.12</c:v>
                </c:pt>
                <c:pt idx="4">
                  <c:v>5.0999999999999997E-2</c:v>
                </c:pt>
                <c:pt idx="5">
                  <c:v>7.8E-2</c:v>
                </c:pt>
                <c:pt idx="6">
                  <c:v>0.06</c:v>
                </c:pt>
                <c:pt idx="7">
                  <c:v>5.0999999999999997E-2</c:v>
                </c:pt>
                <c:pt idx="8">
                  <c:v>1.2E-2</c:v>
                </c:pt>
                <c:pt idx="9">
                  <c:v>4.0000000000000001E-3</c:v>
                </c:pt>
              </c:numCache>
            </c:numRef>
          </c:val>
          <c:extLst>
            <c:ext xmlns:c16="http://schemas.microsoft.com/office/drawing/2014/chart" uri="{C3380CC4-5D6E-409C-BE32-E72D297353CC}">
              <c16:uniqueId val="{0000000E-7D8A-4AF0-AE26-9A9D5F9F8697}"/>
            </c:ext>
          </c:extLst>
        </c:ser>
        <c:dLbls>
          <c:showLegendKey val="0"/>
          <c:showVal val="0"/>
          <c:showCatName val="0"/>
          <c:showSerName val="0"/>
          <c:showPercent val="0"/>
          <c:showBubbleSize val="0"/>
        </c:dLbls>
        <c:gapWidth val="81"/>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0.3395328404828229"/>
          <c:y val="0.93548213577752082"/>
          <c:w val="0.40172488254216432"/>
          <c:h val="6.1706570436301726E-2"/>
        </c:manualLayout>
      </c:layout>
      <c:overlay val="0"/>
      <c:txPr>
        <a:bodyPr/>
        <a:lstStyle/>
        <a:p>
          <a:pPr>
            <a:defRPr sz="8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09553543597054"/>
          <c:y val="9.2040430389156117E-2"/>
          <c:w val="0.45769326735290644"/>
          <c:h val="0.82592026152558518"/>
        </c:manualLayout>
      </c:layout>
      <c:barChart>
        <c:barDir val="bar"/>
        <c:grouping val="clustered"/>
        <c:varyColors val="0"/>
        <c:ser>
          <c:idx val="0"/>
          <c:order val="0"/>
          <c:tx>
            <c:strRef>
              <c:f>Tabelle1!$B$1</c:f>
              <c:strCache>
                <c:ptCount val="1"/>
                <c:pt idx="0">
                  <c:v>15-29 J. (C) [119]</c:v>
                </c:pt>
              </c:strCache>
            </c:strRef>
          </c:tx>
          <c:spPr>
            <a:solidFill>
              <a:schemeClr val="accent4">
                <a:lumMod val="75000"/>
              </a:schemeClr>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15"/>
            <c:invertIfNegative val="0"/>
            <c:bubble3D val="0"/>
            <c:spPr>
              <a:solidFill>
                <a:schemeClr val="bg1">
                  <a:lumMod val="50000"/>
                </a:schemeClr>
              </a:solidFill>
            </c:spPr>
            <c:extLst>
              <c:ext xmlns:c16="http://schemas.microsoft.com/office/drawing/2014/chart" uri="{C3380CC4-5D6E-409C-BE32-E72D297353CC}">
                <c16:uniqueId val="{00000000-EA47-4B35-88ED-C549BF575F65}"/>
              </c:ext>
            </c:extLst>
          </c:dPt>
          <c:dPt>
            <c:idx val="16"/>
            <c:invertIfNegative val="0"/>
            <c:bubble3D val="0"/>
            <c:spPr>
              <a:solidFill>
                <a:schemeClr val="bg1">
                  <a:lumMod val="50000"/>
                </a:schemeClr>
              </a:solidFill>
            </c:spPr>
            <c:extLst>
              <c:ext xmlns:c16="http://schemas.microsoft.com/office/drawing/2014/chart" uri="{C3380CC4-5D6E-409C-BE32-E72D297353CC}">
                <c16:uniqueId val="{00000001-EA47-4B35-88ED-C549BF575F65}"/>
              </c:ext>
            </c:extLst>
          </c:dPt>
          <c:dPt>
            <c:idx val="24"/>
            <c:invertIfNegative val="0"/>
            <c:bubble3D val="0"/>
            <c:extLst>
              <c:ext xmlns:c16="http://schemas.microsoft.com/office/drawing/2014/chart" uri="{C3380CC4-5D6E-409C-BE32-E72D297353CC}">
                <c16:uniqueId val="{00000001-BAAD-4EDE-B852-3FBFE25BFF49}"/>
              </c:ext>
            </c:extLst>
          </c:dPt>
          <c:dLbls>
            <c:dLbl>
              <c:idx val="8"/>
              <c:tx>
                <c:rich>
                  <a:bodyPr/>
                  <a:lstStyle/>
                  <a:p>
                    <a:fld id="{1EEFE3FD-AC1A-5F47-82B1-59607597CFC8}" type="VALUE">
                      <a:rPr lang="en-US" smtClean="0"/>
                      <a:pPr/>
                      <a:t>[WERT]</a:t>
                    </a:fld>
                    <a:r>
                      <a:rPr lang="en-US"/>
                      <a:t> E</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DAE1-C949-ABE9-5D83AB74A99C}"/>
                </c:ext>
              </c:extLst>
            </c:dLbl>
            <c:dLbl>
              <c:idx val="9"/>
              <c:tx>
                <c:rich>
                  <a:bodyPr/>
                  <a:lstStyle/>
                  <a:p>
                    <a:fld id="{223858A2-093D-0448-95CA-4E804A92901B}" type="VALUE">
                      <a:rPr lang="en-US" smtClean="0"/>
                      <a:pPr/>
                      <a:t>[WERT]</a:t>
                    </a:fld>
                    <a:r>
                      <a:rPr lang="en-US"/>
                      <a:t> E</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8-DAE1-C949-ABE9-5D83AB74A99C}"/>
                </c:ext>
              </c:extLst>
            </c:dLbl>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11</c:f>
              <c:numCache>
                <c:formatCode>General</c:formatCode>
                <c:ptCount val="10"/>
              </c:numCache>
            </c:numRef>
          </c:cat>
          <c:val>
            <c:numRef>
              <c:f>Tabelle1!$B$2:$B$11</c:f>
              <c:numCache>
                <c:formatCode>0%</c:formatCode>
                <c:ptCount val="10"/>
                <c:pt idx="0">
                  <c:v>0.11700000000000001</c:v>
                </c:pt>
                <c:pt idx="1">
                  <c:v>7.1999999999999995E-2</c:v>
                </c:pt>
                <c:pt idx="2">
                  <c:v>0.17699999999999999</c:v>
                </c:pt>
                <c:pt idx="3">
                  <c:v>9.1999999999999998E-2</c:v>
                </c:pt>
                <c:pt idx="4">
                  <c:v>6.0999999999999999E-2</c:v>
                </c:pt>
                <c:pt idx="5">
                  <c:v>3.1E-2</c:v>
                </c:pt>
                <c:pt idx="6">
                  <c:v>7.4999999999999997E-2</c:v>
                </c:pt>
                <c:pt idx="7">
                  <c:v>0.02</c:v>
                </c:pt>
                <c:pt idx="8">
                  <c:v>5.8000000000000003E-2</c:v>
                </c:pt>
                <c:pt idx="9">
                  <c:v>6.0999999999999999E-2</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30-44 J. (D) [131]</c:v>
                </c:pt>
              </c:strCache>
            </c:strRef>
          </c:tx>
          <c:spPr>
            <a:solidFill>
              <a:schemeClr val="accent4"/>
            </a:solidFill>
          </c:spPr>
          <c:invertIfNegative val="0"/>
          <c:dPt>
            <c:idx val="3"/>
            <c:invertIfNegative val="0"/>
            <c:bubble3D val="0"/>
            <c:extLst>
              <c:ext xmlns:c16="http://schemas.microsoft.com/office/drawing/2014/chart" uri="{C3380CC4-5D6E-409C-BE32-E72D297353CC}">
                <c16:uniqueId val="{00000010-7D8A-4AF0-AE26-9A9D5F9F8697}"/>
              </c:ext>
            </c:extLst>
          </c:dPt>
          <c:dPt>
            <c:idx val="15"/>
            <c:invertIfNegative val="0"/>
            <c:bubble3D val="0"/>
            <c:spPr>
              <a:solidFill>
                <a:schemeClr val="bg1">
                  <a:lumMod val="65000"/>
                </a:schemeClr>
              </a:solidFill>
            </c:spPr>
            <c:extLst>
              <c:ext xmlns:c16="http://schemas.microsoft.com/office/drawing/2014/chart" uri="{C3380CC4-5D6E-409C-BE32-E72D297353CC}">
                <c16:uniqueId val="{00000002-EA47-4B35-88ED-C549BF575F65}"/>
              </c:ext>
            </c:extLst>
          </c:dPt>
          <c:dPt>
            <c:idx val="16"/>
            <c:invertIfNegative val="0"/>
            <c:bubble3D val="0"/>
            <c:spPr>
              <a:solidFill>
                <a:schemeClr val="bg1">
                  <a:lumMod val="65000"/>
                </a:schemeClr>
              </a:solidFill>
            </c:spPr>
            <c:extLst>
              <c:ext xmlns:c16="http://schemas.microsoft.com/office/drawing/2014/chart" uri="{C3380CC4-5D6E-409C-BE32-E72D297353CC}">
                <c16:uniqueId val="{00000003-EA47-4B35-88ED-C549BF575F65}"/>
              </c:ext>
            </c:extLst>
          </c:dPt>
          <c:dLbls>
            <c:dLbl>
              <c:idx val="8"/>
              <c:tx>
                <c:rich>
                  <a:bodyPr/>
                  <a:lstStyle/>
                  <a:p>
                    <a:fld id="{BF637655-4F76-C046-AD5B-B9F966832887}" type="VALUE">
                      <a:rPr lang="en-US" smtClean="0"/>
                      <a:pPr/>
                      <a:t>[WERT]</a:t>
                    </a:fld>
                    <a:r>
                      <a:rPr lang="en-US"/>
                      <a:t> E</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7-DAE1-C949-ABE9-5D83AB74A99C}"/>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C$2:$C$11</c:f>
              <c:numCache>
                <c:formatCode>0%</c:formatCode>
                <c:ptCount val="10"/>
                <c:pt idx="0">
                  <c:v>0.107</c:v>
                </c:pt>
                <c:pt idx="1">
                  <c:v>0.13100000000000001</c:v>
                </c:pt>
                <c:pt idx="2">
                  <c:v>0.11700000000000001</c:v>
                </c:pt>
                <c:pt idx="3">
                  <c:v>0.185</c:v>
                </c:pt>
                <c:pt idx="4">
                  <c:v>7.1999999999999995E-2</c:v>
                </c:pt>
                <c:pt idx="5">
                  <c:v>7.2999999999999995E-2</c:v>
                </c:pt>
                <c:pt idx="6">
                  <c:v>5.8000000000000003E-2</c:v>
                </c:pt>
                <c:pt idx="7">
                  <c:v>0.02</c:v>
                </c:pt>
                <c:pt idx="8">
                  <c:v>4.4999999999999998E-2</c:v>
                </c:pt>
                <c:pt idx="9">
                  <c:v>4.2000000000000003E-2</c:v>
                </c:pt>
              </c:numCache>
            </c:numRef>
          </c:val>
          <c:extLst>
            <c:ext xmlns:c16="http://schemas.microsoft.com/office/drawing/2014/chart" uri="{C3380CC4-5D6E-409C-BE32-E72D297353CC}">
              <c16:uniqueId val="{0000000E-7D8A-4AF0-AE26-9A9D5F9F8697}"/>
            </c:ext>
          </c:extLst>
        </c:ser>
        <c:ser>
          <c:idx val="2"/>
          <c:order val="2"/>
          <c:tx>
            <c:strRef>
              <c:f>Tabelle1!$D$1</c:f>
              <c:strCache>
                <c:ptCount val="1"/>
                <c:pt idx="0">
                  <c:v>45-59 J. (E) [99]</c:v>
                </c:pt>
              </c:strCache>
            </c:strRef>
          </c:tx>
          <c:spPr>
            <a:solidFill>
              <a:schemeClr val="accent4">
                <a:lumMod val="60000"/>
                <a:lumOff val="40000"/>
              </a:schemeClr>
            </a:solidFill>
          </c:spPr>
          <c:invertIfNegative val="0"/>
          <c:dPt>
            <c:idx val="15"/>
            <c:invertIfNegative val="0"/>
            <c:bubble3D val="0"/>
            <c:spPr>
              <a:solidFill>
                <a:schemeClr val="bg1">
                  <a:lumMod val="75000"/>
                </a:schemeClr>
              </a:solidFill>
            </c:spPr>
            <c:extLst>
              <c:ext xmlns:c16="http://schemas.microsoft.com/office/drawing/2014/chart" uri="{C3380CC4-5D6E-409C-BE32-E72D297353CC}">
                <c16:uniqueId val="{00000004-EA47-4B35-88ED-C549BF575F65}"/>
              </c:ext>
            </c:extLst>
          </c:dPt>
          <c:dPt>
            <c:idx val="16"/>
            <c:invertIfNegative val="0"/>
            <c:bubble3D val="0"/>
            <c:spPr>
              <a:solidFill>
                <a:schemeClr val="bg1">
                  <a:lumMod val="75000"/>
                </a:schemeClr>
              </a:solidFill>
            </c:spPr>
            <c:extLst>
              <c:ext xmlns:c16="http://schemas.microsoft.com/office/drawing/2014/chart" uri="{C3380CC4-5D6E-409C-BE32-E72D297353CC}">
                <c16:uniqueId val="{00000005-EA47-4B35-88ED-C549BF575F65}"/>
              </c:ext>
            </c:extLst>
          </c:dPt>
          <c:dLbls>
            <c:dLbl>
              <c:idx val="0"/>
              <c:tx>
                <c:rich>
                  <a:bodyPr/>
                  <a:lstStyle/>
                  <a:p>
                    <a:fld id="{817F677A-03D7-8946-B6E1-51A49D6C8675}" type="VALUE">
                      <a:rPr lang="en-US" smtClean="0"/>
                      <a:pPr/>
                      <a:t>[WERT]</a:t>
                    </a:fld>
                    <a:r>
                      <a:rPr lang="en-US"/>
                      <a:t> D</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46F1-D04B-BA01-A24F1CFEC555}"/>
                </c:ext>
              </c:extLst>
            </c:dLbl>
            <c:dLbl>
              <c:idx val="1"/>
              <c:tx>
                <c:rich>
                  <a:bodyPr/>
                  <a:lstStyle/>
                  <a:p>
                    <a:fld id="{6A60994F-5929-DC4D-8D87-116155D00D3C}" type="VALUE">
                      <a:rPr lang="en-US" smtClean="0"/>
                      <a:pPr/>
                      <a:t>[WERT]</a:t>
                    </a:fld>
                    <a:r>
                      <a:rPr lang="en-US"/>
                      <a:t> C</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8-46F1-D04B-BA01-A24F1CFEC555}"/>
                </c:ext>
              </c:extLst>
            </c:dLbl>
            <c:dLbl>
              <c:idx val="7"/>
              <c:tx>
                <c:rich>
                  <a:bodyPr/>
                  <a:lstStyle/>
                  <a:p>
                    <a:fld id="{C311372D-A1A6-0444-B172-0F2A63253B1E}" type="VALUE">
                      <a:rPr lang="en-US" smtClean="0"/>
                      <a:pPr/>
                      <a:t>[WERT]</a:t>
                    </a:fld>
                    <a:r>
                      <a:rPr lang="en-US"/>
                      <a:t> CD</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A-46F1-D04B-BA01-A24F1CFEC555}"/>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D$2:$D$11</c:f>
              <c:numCache>
                <c:formatCode>0%</c:formatCode>
                <c:ptCount val="10"/>
                <c:pt idx="0">
                  <c:v>0.219</c:v>
                </c:pt>
                <c:pt idx="1">
                  <c:v>0.19600000000000001</c:v>
                </c:pt>
                <c:pt idx="2">
                  <c:v>9.0999999999999998E-2</c:v>
                </c:pt>
                <c:pt idx="3">
                  <c:v>0.11799999999999999</c:v>
                </c:pt>
                <c:pt idx="4">
                  <c:v>7.0999999999999994E-2</c:v>
                </c:pt>
                <c:pt idx="5">
                  <c:v>8.5999999999999993E-2</c:v>
                </c:pt>
                <c:pt idx="6">
                  <c:v>1.7000000000000001E-2</c:v>
                </c:pt>
                <c:pt idx="7">
                  <c:v>0.105</c:v>
                </c:pt>
                <c:pt idx="8">
                  <c:v>0</c:v>
                </c:pt>
                <c:pt idx="9">
                  <c:v>0</c:v>
                </c:pt>
              </c:numCache>
            </c:numRef>
          </c:val>
          <c:extLst>
            <c:ext xmlns:c16="http://schemas.microsoft.com/office/drawing/2014/chart" uri="{C3380CC4-5D6E-409C-BE32-E72D297353CC}">
              <c16:uniqueId val="{0000000B-A4AA-4B61-ADC3-6229709C4A52}"/>
            </c:ext>
          </c:extLst>
        </c:ser>
        <c:ser>
          <c:idx val="3"/>
          <c:order val="3"/>
          <c:tx>
            <c:strRef>
              <c:f>Tabelle1!$E$1</c:f>
              <c:strCache>
                <c:ptCount val="1"/>
                <c:pt idx="0">
                  <c:v>60+ J. (F) [56]</c:v>
                </c:pt>
              </c:strCache>
            </c:strRef>
          </c:tx>
          <c:spPr>
            <a:solidFill>
              <a:schemeClr val="accent4">
                <a:lumMod val="40000"/>
                <a:lumOff val="60000"/>
              </a:schemeClr>
            </a:solidFill>
          </c:spPr>
          <c:invertIfNegative val="0"/>
          <c:dPt>
            <c:idx val="15"/>
            <c:invertIfNegative val="0"/>
            <c:bubble3D val="0"/>
            <c:spPr>
              <a:solidFill>
                <a:schemeClr val="bg1">
                  <a:lumMod val="85000"/>
                </a:schemeClr>
              </a:solidFill>
            </c:spPr>
            <c:extLst>
              <c:ext xmlns:c16="http://schemas.microsoft.com/office/drawing/2014/chart" uri="{C3380CC4-5D6E-409C-BE32-E72D297353CC}">
                <c16:uniqueId val="{00000006-EA47-4B35-88ED-C549BF575F65}"/>
              </c:ext>
            </c:extLst>
          </c:dPt>
          <c:dPt>
            <c:idx val="16"/>
            <c:invertIfNegative val="0"/>
            <c:bubble3D val="0"/>
            <c:spPr>
              <a:solidFill>
                <a:schemeClr val="bg1">
                  <a:lumMod val="85000"/>
                </a:schemeClr>
              </a:solidFill>
            </c:spPr>
            <c:extLst>
              <c:ext xmlns:c16="http://schemas.microsoft.com/office/drawing/2014/chart" uri="{C3380CC4-5D6E-409C-BE32-E72D297353CC}">
                <c16:uniqueId val="{00000007-EA47-4B35-88ED-C549BF575F65}"/>
              </c:ext>
            </c:extLst>
          </c:dPt>
          <c:dLbls>
            <c:dLbl>
              <c:idx val="0"/>
              <c:tx>
                <c:rich>
                  <a:bodyPr/>
                  <a:lstStyle/>
                  <a:p>
                    <a:fld id="{1A67171F-AAE9-7C42-B5F4-A8C05855F65A}" type="VALUE">
                      <a:rPr lang="en-US" smtClean="0"/>
                      <a:pPr/>
                      <a:t>[WERT]</a:t>
                    </a:fld>
                    <a:r>
                      <a:rPr lang="en-US"/>
                      <a:t> CD</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7-46F1-D04B-BA01-A24F1CFEC555}"/>
                </c:ext>
              </c:extLst>
            </c:dLbl>
            <c:dLbl>
              <c:idx val="1"/>
              <c:tx>
                <c:rich>
                  <a:bodyPr/>
                  <a:lstStyle/>
                  <a:p>
                    <a:fld id="{1B00BE7D-0507-8F4D-8DCB-74E251DCBC41}" type="VALUE">
                      <a:rPr lang="en-US" smtClean="0"/>
                      <a:pPr/>
                      <a:t>[WERT]</a:t>
                    </a:fld>
                    <a:r>
                      <a:rPr lang="en-US"/>
                      <a:t> CD</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9-46F1-D04B-BA01-A24F1CFEC555}"/>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E$2:$E$11</c:f>
              <c:numCache>
                <c:formatCode>0%</c:formatCode>
                <c:ptCount val="10"/>
                <c:pt idx="0">
                  <c:v>0.30099999999999999</c:v>
                </c:pt>
                <c:pt idx="1">
                  <c:v>0.32200000000000001</c:v>
                </c:pt>
                <c:pt idx="2">
                  <c:v>9.7000000000000003E-2</c:v>
                </c:pt>
                <c:pt idx="3">
                  <c:v>8.3000000000000004E-2</c:v>
                </c:pt>
                <c:pt idx="4">
                  <c:v>2.1000000000000001E-2</c:v>
                </c:pt>
                <c:pt idx="5">
                  <c:v>2.8000000000000001E-2</c:v>
                </c:pt>
                <c:pt idx="6">
                  <c:v>0</c:v>
                </c:pt>
                <c:pt idx="7">
                  <c:v>3.4000000000000002E-2</c:v>
                </c:pt>
                <c:pt idx="8">
                  <c:v>1.9E-2</c:v>
                </c:pt>
                <c:pt idx="9">
                  <c:v>0</c:v>
                </c:pt>
              </c:numCache>
            </c:numRef>
          </c:val>
          <c:extLst>
            <c:ext xmlns:c16="http://schemas.microsoft.com/office/drawing/2014/chart" uri="{C3380CC4-5D6E-409C-BE32-E72D297353CC}">
              <c16:uniqueId val="{0000000C-A4AA-4B61-ADC3-6229709C4A52}"/>
            </c:ext>
          </c:extLst>
        </c:ser>
        <c:dLbls>
          <c:showLegendKey val="0"/>
          <c:showVal val="0"/>
          <c:showCatName val="0"/>
          <c:showSerName val="0"/>
          <c:showPercent val="0"/>
          <c:showBubbleSize val="0"/>
        </c:dLbls>
        <c:gapWidth val="45"/>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0.14186969831696192"/>
          <c:y val="0.93421838174403371"/>
          <c:w val="0.77012121464867256"/>
          <c:h val="6.2970324469788883E-2"/>
        </c:manualLayout>
      </c:layout>
      <c:overlay val="0"/>
      <c:txPr>
        <a:bodyPr/>
        <a:lstStyle/>
        <a:p>
          <a:pPr>
            <a:defRPr sz="8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088645235986524"/>
          <c:y val="9.2040430389156117E-2"/>
          <c:w val="0.45769326735290644"/>
          <c:h val="0.82873155531176257"/>
        </c:manualLayout>
      </c:layout>
      <c:barChart>
        <c:barDir val="bar"/>
        <c:grouping val="clustered"/>
        <c:varyColors val="0"/>
        <c:ser>
          <c:idx val="0"/>
          <c:order val="0"/>
          <c:tx>
            <c:strRef>
              <c:f>Tabelle1!$B$1</c:f>
              <c:strCache>
                <c:ptCount val="1"/>
                <c:pt idx="0">
                  <c:v>D-CH (G) [258]</c:v>
                </c:pt>
              </c:strCache>
            </c:strRef>
          </c:tx>
          <c:spPr>
            <a:solidFill>
              <a:schemeClr val="accent5"/>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15"/>
            <c:invertIfNegative val="0"/>
            <c:bubble3D val="0"/>
            <c:spPr>
              <a:solidFill>
                <a:schemeClr val="bg1">
                  <a:lumMod val="65000"/>
                </a:schemeClr>
              </a:solidFill>
            </c:spPr>
            <c:extLst>
              <c:ext xmlns:c16="http://schemas.microsoft.com/office/drawing/2014/chart" uri="{C3380CC4-5D6E-409C-BE32-E72D297353CC}">
                <c16:uniqueId val="{00000000-0875-47F9-9EDC-E97BE4584D49}"/>
              </c:ext>
            </c:extLst>
          </c:dPt>
          <c:dPt>
            <c:idx val="16"/>
            <c:invertIfNegative val="0"/>
            <c:bubble3D val="0"/>
            <c:spPr>
              <a:solidFill>
                <a:schemeClr val="bg1">
                  <a:lumMod val="65000"/>
                </a:schemeClr>
              </a:solidFill>
            </c:spPr>
            <c:extLst>
              <c:ext xmlns:c16="http://schemas.microsoft.com/office/drawing/2014/chart" uri="{C3380CC4-5D6E-409C-BE32-E72D297353CC}">
                <c16:uniqueId val="{00000001-0875-47F9-9EDC-E97BE4584D49}"/>
              </c:ext>
            </c:extLst>
          </c:dPt>
          <c:dPt>
            <c:idx val="24"/>
            <c:invertIfNegative val="0"/>
            <c:bubble3D val="0"/>
            <c:extLst>
              <c:ext xmlns:c16="http://schemas.microsoft.com/office/drawing/2014/chart" uri="{C3380CC4-5D6E-409C-BE32-E72D297353CC}">
                <c16:uniqueId val="{00000001-BAAD-4EDE-B852-3FBFE25BFF49}"/>
              </c:ext>
            </c:extLst>
          </c:dPt>
          <c:dLbls>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11</c:f>
              <c:numCache>
                <c:formatCode>General</c:formatCode>
                <c:ptCount val="10"/>
              </c:numCache>
            </c:numRef>
          </c:cat>
          <c:val>
            <c:numRef>
              <c:f>Tabelle1!$B$2:$B$11</c:f>
              <c:numCache>
                <c:formatCode>0%</c:formatCode>
                <c:ptCount val="10"/>
                <c:pt idx="0">
                  <c:v>0.186</c:v>
                </c:pt>
                <c:pt idx="1">
                  <c:v>0.14599999999999999</c:v>
                </c:pt>
                <c:pt idx="2">
                  <c:v>0.13100000000000001</c:v>
                </c:pt>
                <c:pt idx="3">
                  <c:v>0.124</c:v>
                </c:pt>
                <c:pt idx="4">
                  <c:v>6.7000000000000004E-2</c:v>
                </c:pt>
                <c:pt idx="5">
                  <c:v>0.06</c:v>
                </c:pt>
                <c:pt idx="6">
                  <c:v>3.7999999999999999E-2</c:v>
                </c:pt>
                <c:pt idx="7">
                  <c:v>0.05</c:v>
                </c:pt>
                <c:pt idx="8">
                  <c:v>3.2000000000000001E-2</c:v>
                </c:pt>
                <c:pt idx="9">
                  <c:v>3.9E-2</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W-CH (H) [101]</c:v>
                </c:pt>
              </c:strCache>
            </c:strRef>
          </c:tx>
          <c:spPr>
            <a:solidFill>
              <a:schemeClr val="accent5">
                <a:lumMod val="40000"/>
                <a:lumOff val="60000"/>
              </a:schemeClr>
            </a:solidFill>
          </c:spPr>
          <c:invertIfNegative val="0"/>
          <c:dPt>
            <c:idx val="3"/>
            <c:invertIfNegative val="0"/>
            <c:bubble3D val="0"/>
            <c:extLst>
              <c:ext xmlns:c16="http://schemas.microsoft.com/office/drawing/2014/chart" uri="{C3380CC4-5D6E-409C-BE32-E72D297353CC}">
                <c16:uniqueId val="{00000010-7D8A-4AF0-AE26-9A9D5F9F8697}"/>
              </c:ext>
            </c:extLst>
          </c:dPt>
          <c:dPt>
            <c:idx val="15"/>
            <c:invertIfNegative val="0"/>
            <c:bubble3D val="0"/>
            <c:spPr>
              <a:solidFill>
                <a:schemeClr val="bg1">
                  <a:lumMod val="75000"/>
                </a:schemeClr>
              </a:solidFill>
            </c:spPr>
            <c:extLst>
              <c:ext xmlns:c16="http://schemas.microsoft.com/office/drawing/2014/chart" uri="{C3380CC4-5D6E-409C-BE32-E72D297353CC}">
                <c16:uniqueId val="{00000002-0875-47F9-9EDC-E97BE4584D49}"/>
              </c:ext>
            </c:extLst>
          </c:dPt>
          <c:dPt>
            <c:idx val="16"/>
            <c:invertIfNegative val="0"/>
            <c:bubble3D val="0"/>
            <c:spPr>
              <a:solidFill>
                <a:schemeClr val="bg1">
                  <a:lumMod val="75000"/>
                </a:schemeClr>
              </a:solidFill>
            </c:spPr>
            <c:extLst>
              <c:ext xmlns:c16="http://schemas.microsoft.com/office/drawing/2014/chart" uri="{C3380CC4-5D6E-409C-BE32-E72D297353CC}">
                <c16:uniqueId val="{00000003-0875-47F9-9EDC-E97BE4584D49}"/>
              </c:ext>
            </c:extLst>
          </c:dPt>
          <c:dLbls>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C$2:$C$11</c:f>
              <c:numCache>
                <c:formatCode>0%</c:formatCode>
                <c:ptCount val="10"/>
                <c:pt idx="0">
                  <c:v>0.109</c:v>
                </c:pt>
                <c:pt idx="1">
                  <c:v>0.19</c:v>
                </c:pt>
                <c:pt idx="2">
                  <c:v>0.11799999999999999</c:v>
                </c:pt>
                <c:pt idx="3">
                  <c:v>0.113</c:v>
                </c:pt>
                <c:pt idx="4">
                  <c:v>5.0999999999999997E-2</c:v>
                </c:pt>
                <c:pt idx="5">
                  <c:v>5.3999999999999999E-2</c:v>
                </c:pt>
                <c:pt idx="6">
                  <c:v>0.06</c:v>
                </c:pt>
                <c:pt idx="7">
                  <c:v>2.4E-2</c:v>
                </c:pt>
                <c:pt idx="8">
                  <c:v>4.3999999999999997E-2</c:v>
                </c:pt>
                <c:pt idx="9">
                  <c:v>1.4999999999999999E-2</c:v>
                </c:pt>
              </c:numCache>
            </c:numRef>
          </c:val>
          <c:extLst>
            <c:ext xmlns:c16="http://schemas.microsoft.com/office/drawing/2014/chart" uri="{C3380CC4-5D6E-409C-BE32-E72D297353CC}">
              <c16:uniqueId val="{0000000E-7D8A-4AF0-AE26-9A9D5F9F8697}"/>
            </c:ext>
          </c:extLst>
        </c:ser>
        <c:ser>
          <c:idx val="2"/>
          <c:order val="2"/>
          <c:tx>
            <c:strRef>
              <c:f>Tabelle1!$D$1</c:f>
              <c:strCache>
                <c:ptCount val="1"/>
                <c:pt idx="0">
                  <c:v>Tessin (I) [46*]</c:v>
                </c:pt>
              </c:strCache>
            </c:strRef>
          </c:tx>
          <c:spPr>
            <a:solidFill>
              <a:schemeClr val="accent5">
                <a:lumMod val="20000"/>
                <a:lumOff val="80000"/>
              </a:schemeClr>
            </a:solidFill>
          </c:spPr>
          <c:invertIfNegative val="0"/>
          <c:dPt>
            <c:idx val="15"/>
            <c:invertIfNegative val="0"/>
            <c:bubble3D val="0"/>
            <c:spPr>
              <a:solidFill>
                <a:schemeClr val="bg1">
                  <a:lumMod val="85000"/>
                </a:schemeClr>
              </a:solidFill>
            </c:spPr>
            <c:extLst>
              <c:ext xmlns:c16="http://schemas.microsoft.com/office/drawing/2014/chart" uri="{C3380CC4-5D6E-409C-BE32-E72D297353CC}">
                <c16:uniqueId val="{00000004-0875-47F9-9EDC-E97BE4584D49}"/>
              </c:ext>
            </c:extLst>
          </c:dPt>
          <c:dPt>
            <c:idx val="16"/>
            <c:invertIfNegative val="0"/>
            <c:bubble3D val="0"/>
            <c:spPr>
              <a:solidFill>
                <a:schemeClr val="bg1">
                  <a:lumMod val="85000"/>
                </a:schemeClr>
              </a:solidFill>
            </c:spPr>
            <c:extLst>
              <c:ext xmlns:c16="http://schemas.microsoft.com/office/drawing/2014/chart" uri="{C3380CC4-5D6E-409C-BE32-E72D297353CC}">
                <c16:uniqueId val="{00000005-0875-47F9-9EDC-E97BE4584D49}"/>
              </c:ext>
            </c:extLst>
          </c:dPt>
          <c:dLbls>
            <c:dLbl>
              <c:idx val="3"/>
              <c:tx>
                <c:rich>
                  <a:bodyPr/>
                  <a:lstStyle/>
                  <a:p>
                    <a:fld id="{C0A1228D-7CD9-8144-BFE2-CEFEBD12C298}" type="VALUE">
                      <a:rPr lang="en-US" smtClean="0"/>
                      <a:pPr/>
                      <a:t>[WERT]</a:t>
                    </a:fld>
                    <a:r>
                      <a:rPr lang="en-US"/>
                      <a:t> GH</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C76D-B94E-8417-8B6286C4602A}"/>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numCache>
            </c:numRef>
          </c:cat>
          <c:val>
            <c:numRef>
              <c:f>Tabelle1!$D$2:$D$11</c:f>
              <c:numCache>
                <c:formatCode>0%</c:formatCode>
                <c:ptCount val="10"/>
                <c:pt idx="0">
                  <c:v>0.16</c:v>
                </c:pt>
                <c:pt idx="1">
                  <c:v>7.8E-2</c:v>
                </c:pt>
                <c:pt idx="2">
                  <c:v>7.6999999999999999E-2</c:v>
                </c:pt>
                <c:pt idx="3">
                  <c:v>0.312</c:v>
                </c:pt>
                <c:pt idx="4">
                  <c:v>2.1999999999999999E-2</c:v>
                </c:pt>
                <c:pt idx="5">
                  <c:v>1.4999999999999999E-2</c:v>
                </c:pt>
                <c:pt idx="6">
                  <c:v>7.0000000000000007E-2</c:v>
                </c:pt>
                <c:pt idx="7">
                  <c:v>2.7E-2</c:v>
                </c:pt>
                <c:pt idx="8">
                  <c:v>0</c:v>
                </c:pt>
                <c:pt idx="9">
                  <c:v>0</c:v>
                </c:pt>
              </c:numCache>
            </c:numRef>
          </c:val>
          <c:extLst>
            <c:ext xmlns:c16="http://schemas.microsoft.com/office/drawing/2014/chart" uri="{C3380CC4-5D6E-409C-BE32-E72D297353CC}">
              <c16:uniqueId val="{0000000B-CE0D-4218-BB1D-8D191CAEC14C}"/>
            </c:ext>
          </c:extLst>
        </c:ser>
        <c:dLbls>
          <c:showLegendKey val="0"/>
          <c:showVal val="0"/>
          <c:showCatName val="0"/>
          <c:showSerName val="0"/>
          <c:showPercent val="0"/>
          <c:showBubbleSize val="0"/>
        </c:dLbls>
        <c:gapWidth val="72"/>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0.24072689206602096"/>
          <c:y val="0.9370296755302111"/>
          <c:w val="0.66217451262154869"/>
          <c:h val="6.0159030683611461E-2"/>
        </c:manualLayout>
      </c:layout>
      <c:overlay val="0"/>
      <c:txPr>
        <a:bodyPr/>
        <a:lstStyle/>
        <a:p>
          <a:pPr>
            <a:defRPr sz="8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390692688949884"/>
          <c:y val="9.2040430389156117E-2"/>
          <c:w val="0.46310336077491426"/>
          <c:h val="0.82592026152558518"/>
        </c:manualLayout>
      </c:layout>
      <c:barChart>
        <c:barDir val="bar"/>
        <c:grouping val="clustered"/>
        <c:varyColors val="0"/>
        <c:ser>
          <c:idx val="0"/>
          <c:order val="0"/>
          <c:tx>
            <c:strRef>
              <c:f>Tabelle1!$B$1</c:f>
              <c:strCache>
                <c:ptCount val="1"/>
                <c:pt idx="0">
                  <c:v>Spalte1</c:v>
                </c:pt>
              </c:strCache>
            </c:strRef>
          </c:tx>
          <c:spPr>
            <a:solidFill>
              <a:schemeClr val="accent2"/>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7"/>
            <c:invertIfNegative val="0"/>
            <c:bubble3D val="0"/>
            <c:spPr>
              <a:solidFill>
                <a:schemeClr val="bg1">
                  <a:lumMod val="75000"/>
                </a:schemeClr>
              </a:solidFill>
            </c:spPr>
            <c:extLst>
              <c:ext xmlns:c16="http://schemas.microsoft.com/office/drawing/2014/chart" uri="{C3380CC4-5D6E-409C-BE32-E72D297353CC}">
                <c16:uniqueId val="{0000000D-F87D-4379-AC9F-4E9EEAD99E90}"/>
              </c:ext>
            </c:extLst>
          </c:dPt>
          <c:dPt>
            <c:idx val="8"/>
            <c:invertIfNegative val="0"/>
            <c:bubble3D val="0"/>
            <c:spPr>
              <a:solidFill>
                <a:schemeClr val="bg1">
                  <a:lumMod val="75000"/>
                </a:schemeClr>
              </a:solidFill>
            </c:spPr>
            <c:extLst>
              <c:ext xmlns:c16="http://schemas.microsoft.com/office/drawing/2014/chart" uri="{C3380CC4-5D6E-409C-BE32-E72D297353CC}">
                <c16:uniqueId val="{0000000E-F87D-4379-AC9F-4E9EEAD99E90}"/>
              </c:ext>
            </c:extLst>
          </c:dPt>
          <c:dPt>
            <c:idx val="15"/>
            <c:invertIfNegative val="0"/>
            <c:bubble3D val="0"/>
            <c:spPr>
              <a:solidFill>
                <a:schemeClr val="bg1">
                  <a:lumMod val="75000"/>
                </a:schemeClr>
              </a:solidFill>
            </c:spPr>
            <c:extLst>
              <c:ext xmlns:c16="http://schemas.microsoft.com/office/drawing/2014/chart" uri="{C3380CC4-5D6E-409C-BE32-E72D297353CC}">
                <c16:uniqueId val="{00000000-A8B0-478E-A36C-DAE818295D4F}"/>
              </c:ext>
            </c:extLst>
          </c:dPt>
          <c:dPt>
            <c:idx val="16"/>
            <c:invertIfNegative val="0"/>
            <c:bubble3D val="0"/>
            <c:spPr>
              <a:solidFill>
                <a:schemeClr val="bg1">
                  <a:lumMod val="75000"/>
                </a:schemeClr>
              </a:solidFill>
            </c:spPr>
            <c:extLst>
              <c:ext xmlns:c16="http://schemas.microsoft.com/office/drawing/2014/chart" uri="{C3380CC4-5D6E-409C-BE32-E72D297353CC}">
                <c16:uniqueId val="{00000001-A8B0-478E-A36C-DAE818295D4F}"/>
              </c:ext>
            </c:extLst>
          </c:dPt>
          <c:dPt>
            <c:idx val="25"/>
            <c:invertIfNegative val="0"/>
            <c:bubble3D val="0"/>
            <c:extLst>
              <c:ext xmlns:c16="http://schemas.microsoft.com/office/drawing/2014/chart" uri="{C3380CC4-5D6E-409C-BE32-E72D297353CC}">
                <c16:uniqueId val="{00000001-BAAD-4EDE-B852-3FBFE25BFF49}"/>
              </c:ext>
            </c:extLst>
          </c:dPt>
          <c:dLbls>
            <c:spPr>
              <a:noFill/>
              <a:ln>
                <a:noFill/>
              </a:ln>
              <a:effectLst/>
            </c:spPr>
            <c:txPr>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10</c:f>
              <c:strCache>
                <c:ptCount val="9"/>
                <c:pt idx="0">
                  <c:v> Qualität</c:v>
                </c:pt>
                <c:pt idx="1">
                  <c:v> Schweizer Herkunft</c:v>
                </c:pt>
                <c:pt idx="2">
                  <c:v>Art des Produktes resp. Darreichungsform</c:v>
                </c:pt>
                <c:pt idx="3">
                  <c:v> Preis</c:v>
                </c:pt>
                <c:pt idx="4">
                  <c:v>Inhaltsstoffe</c:v>
                </c:pt>
                <c:pt idx="5">
                  <c:v>Verfügbarkeit</c:v>
                </c:pt>
                <c:pt idx="6">
                  <c:v> Marke</c:v>
                </c:pt>
                <c:pt idx="7">
                  <c:v> Andere</c:v>
                </c:pt>
                <c:pt idx="8">
                  <c:v> Weiss nicht / keine Antwort</c:v>
                </c:pt>
              </c:strCache>
            </c:strRef>
          </c:cat>
          <c:val>
            <c:numRef>
              <c:f>Tabelle1!$B$2:$B$10</c:f>
              <c:numCache>
                <c:formatCode>0%</c:formatCode>
                <c:ptCount val="9"/>
                <c:pt idx="0">
                  <c:v>0.63600000000000001</c:v>
                </c:pt>
                <c:pt idx="1">
                  <c:v>0.45400000000000001</c:v>
                </c:pt>
                <c:pt idx="2">
                  <c:v>0.375</c:v>
                </c:pt>
                <c:pt idx="3">
                  <c:v>0.36499999999999999</c:v>
                </c:pt>
                <c:pt idx="4">
                  <c:v>0.26700000000000002</c:v>
                </c:pt>
                <c:pt idx="5">
                  <c:v>0.129</c:v>
                </c:pt>
                <c:pt idx="6">
                  <c:v>6.4000000000000001E-2</c:v>
                </c:pt>
                <c:pt idx="7">
                  <c:v>2.9000000000000001E-2</c:v>
                </c:pt>
                <c:pt idx="8">
                  <c:v>4.7E-2</c:v>
                </c:pt>
              </c:numCache>
            </c:numRef>
          </c:val>
          <c:extLst>
            <c:ext xmlns:c16="http://schemas.microsoft.com/office/drawing/2014/chart" uri="{C3380CC4-5D6E-409C-BE32-E72D297353CC}">
              <c16:uniqueId val="{00000002-BAAD-4EDE-B852-3FBFE25BFF49}"/>
            </c:ext>
          </c:extLst>
        </c:ser>
        <c:dLbls>
          <c:showLegendKey val="0"/>
          <c:showVal val="0"/>
          <c:showCatName val="0"/>
          <c:showSerName val="0"/>
          <c:showPercent val="0"/>
          <c:showBubbleSize val="0"/>
        </c:dLbls>
        <c:gapWidth val="65"/>
        <c:axId val="53095936"/>
        <c:axId val="137818048"/>
      </c:barChart>
      <c:catAx>
        <c:axId val="53095936"/>
        <c:scaling>
          <c:orientation val="maxMin"/>
        </c:scaling>
        <c:delete val="0"/>
        <c:axPos val="l"/>
        <c:numFmt formatCode="General" sourceLinked="0"/>
        <c:majorTickMark val="none"/>
        <c:minorTickMark val="none"/>
        <c:tickLblPos val="nextTo"/>
        <c:txPr>
          <a:bodyPr/>
          <a:lstStyle/>
          <a:p>
            <a:pPr algn="r">
              <a:defRPr sz="10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plotVisOnly val="1"/>
    <c:dispBlanksAs val="gap"/>
    <c:showDLblsOverMax val="0"/>
  </c:chart>
  <c:txPr>
    <a:bodyPr/>
    <a:lstStyle/>
    <a:p>
      <a:pPr>
        <a:defRPr sz="1800"/>
      </a:pPr>
      <a:endParaRPr lang="de-DE"/>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104959629280667"/>
          <c:y val="9.2040430389156117E-2"/>
          <c:w val="0.45769326735290644"/>
          <c:h val="0.82873155531176257"/>
        </c:manualLayout>
      </c:layout>
      <c:barChart>
        <c:barDir val="bar"/>
        <c:grouping val="clustered"/>
        <c:varyColors val="0"/>
        <c:ser>
          <c:idx val="0"/>
          <c:order val="0"/>
          <c:tx>
            <c:strRef>
              <c:f>Tabelle1!$B$1</c:f>
              <c:strCache>
                <c:ptCount val="1"/>
                <c:pt idx="0">
                  <c:v>Männer (A) [99]</c:v>
                </c:pt>
              </c:strCache>
            </c:strRef>
          </c:tx>
          <c:spPr>
            <a:solidFill>
              <a:schemeClr val="accent6"/>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7"/>
            <c:invertIfNegative val="0"/>
            <c:bubble3D val="0"/>
            <c:spPr>
              <a:solidFill>
                <a:schemeClr val="bg1">
                  <a:lumMod val="75000"/>
                </a:schemeClr>
              </a:solidFill>
            </c:spPr>
            <c:extLst>
              <c:ext xmlns:c16="http://schemas.microsoft.com/office/drawing/2014/chart" uri="{C3380CC4-5D6E-409C-BE32-E72D297353CC}">
                <c16:uniqueId val="{0000000D-8F86-4890-934F-54D1CD4DADD6}"/>
              </c:ext>
            </c:extLst>
          </c:dPt>
          <c:dPt>
            <c:idx val="8"/>
            <c:invertIfNegative val="0"/>
            <c:bubble3D val="0"/>
            <c:spPr>
              <a:solidFill>
                <a:schemeClr val="bg1">
                  <a:lumMod val="75000"/>
                </a:schemeClr>
              </a:solidFill>
            </c:spPr>
            <c:extLst>
              <c:ext xmlns:c16="http://schemas.microsoft.com/office/drawing/2014/chart" uri="{C3380CC4-5D6E-409C-BE32-E72D297353CC}">
                <c16:uniqueId val="{0000000E-8F86-4890-934F-54D1CD4DADD6}"/>
              </c:ext>
            </c:extLst>
          </c:dPt>
          <c:dPt>
            <c:idx val="14"/>
            <c:invertIfNegative val="0"/>
            <c:bubble3D val="0"/>
            <c:spPr>
              <a:solidFill>
                <a:schemeClr val="bg1">
                  <a:lumMod val="75000"/>
                </a:schemeClr>
              </a:solidFill>
            </c:spPr>
            <c:extLst>
              <c:ext xmlns:c16="http://schemas.microsoft.com/office/drawing/2014/chart" uri="{C3380CC4-5D6E-409C-BE32-E72D297353CC}">
                <c16:uniqueId val="{00000000-B002-4D1F-97C0-1795A68D671E}"/>
              </c:ext>
            </c:extLst>
          </c:dPt>
          <c:dPt>
            <c:idx val="15"/>
            <c:invertIfNegative val="0"/>
            <c:bubble3D val="0"/>
            <c:spPr>
              <a:solidFill>
                <a:schemeClr val="bg1">
                  <a:lumMod val="75000"/>
                </a:schemeClr>
              </a:solidFill>
            </c:spPr>
            <c:extLst>
              <c:ext xmlns:c16="http://schemas.microsoft.com/office/drawing/2014/chart" uri="{C3380CC4-5D6E-409C-BE32-E72D297353CC}">
                <c16:uniqueId val="{00000001-B002-4D1F-97C0-1795A68D671E}"/>
              </c:ext>
            </c:extLst>
          </c:dPt>
          <c:dPt>
            <c:idx val="24"/>
            <c:invertIfNegative val="0"/>
            <c:bubble3D val="0"/>
            <c:extLst>
              <c:ext xmlns:c16="http://schemas.microsoft.com/office/drawing/2014/chart" uri="{C3380CC4-5D6E-409C-BE32-E72D297353CC}">
                <c16:uniqueId val="{00000001-BAAD-4EDE-B852-3FBFE25BFF49}"/>
              </c:ext>
            </c:extLst>
          </c:dPt>
          <c:dLbls>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10</c:f>
              <c:numCache>
                <c:formatCode>General</c:formatCode>
                <c:ptCount val="9"/>
              </c:numCache>
            </c:numRef>
          </c:cat>
          <c:val>
            <c:numRef>
              <c:f>Tabelle1!$B$2:$B$10</c:f>
              <c:numCache>
                <c:formatCode>0%</c:formatCode>
                <c:ptCount val="9"/>
                <c:pt idx="0">
                  <c:v>0.63400000000000001</c:v>
                </c:pt>
                <c:pt idx="1">
                  <c:v>0.39</c:v>
                </c:pt>
                <c:pt idx="2">
                  <c:v>0.36299999999999999</c:v>
                </c:pt>
                <c:pt idx="3">
                  <c:v>0.32400000000000001</c:v>
                </c:pt>
                <c:pt idx="4">
                  <c:v>0.224</c:v>
                </c:pt>
                <c:pt idx="5">
                  <c:v>0.14399999999999999</c:v>
                </c:pt>
                <c:pt idx="6">
                  <c:v>9.2999999999999999E-2</c:v>
                </c:pt>
                <c:pt idx="7">
                  <c:v>0.04</c:v>
                </c:pt>
                <c:pt idx="8">
                  <c:v>6.8000000000000005E-2</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Frauen (B) [123]</c:v>
                </c:pt>
              </c:strCache>
            </c:strRef>
          </c:tx>
          <c:spPr>
            <a:solidFill>
              <a:schemeClr val="accent6">
                <a:lumMod val="60000"/>
                <a:lumOff val="40000"/>
              </a:schemeClr>
            </a:solidFill>
          </c:spPr>
          <c:invertIfNegative val="0"/>
          <c:dPt>
            <c:idx val="7"/>
            <c:invertIfNegative val="0"/>
            <c:bubble3D val="0"/>
            <c:spPr>
              <a:solidFill>
                <a:schemeClr val="bg1">
                  <a:lumMod val="85000"/>
                </a:schemeClr>
              </a:solidFill>
            </c:spPr>
            <c:extLst>
              <c:ext xmlns:c16="http://schemas.microsoft.com/office/drawing/2014/chart" uri="{C3380CC4-5D6E-409C-BE32-E72D297353CC}">
                <c16:uniqueId val="{0000000F-8F86-4890-934F-54D1CD4DADD6}"/>
              </c:ext>
            </c:extLst>
          </c:dPt>
          <c:dPt>
            <c:idx val="8"/>
            <c:invertIfNegative val="0"/>
            <c:bubble3D val="0"/>
            <c:spPr>
              <a:solidFill>
                <a:schemeClr val="bg1">
                  <a:lumMod val="85000"/>
                </a:schemeClr>
              </a:solidFill>
            </c:spPr>
            <c:extLst>
              <c:ext xmlns:c16="http://schemas.microsoft.com/office/drawing/2014/chart" uri="{C3380CC4-5D6E-409C-BE32-E72D297353CC}">
                <c16:uniqueId val="{00000010-8F86-4890-934F-54D1CD4DADD6}"/>
              </c:ext>
            </c:extLst>
          </c:dPt>
          <c:dPt>
            <c:idx val="14"/>
            <c:invertIfNegative val="0"/>
            <c:bubble3D val="0"/>
            <c:spPr>
              <a:solidFill>
                <a:schemeClr val="bg1">
                  <a:lumMod val="85000"/>
                </a:schemeClr>
              </a:solidFill>
            </c:spPr>
            <c:extLst>
              <c:ext xmlns:c16="http://schemas.microsoft.com/office/drawing/2014/chart" uri="{C3380CC4-5D6E-409C-BE32-E72D297353CC}">
                <c16:uniqueId val="{00000002-B002-4D1F-97C0-1795A68D671E}"/>
              </c:ext>
            </c:extLst>
          </c:dPt>
          <c:dPt>
            <c:idx val="15"/>
            <c:invertIfNegative val="0"/>
            <c:bubble3D val="0"/>
            <c:spPr>
              <a:solidFill>
                <a:schemeClr val="bg1">
                  <a:lumMod val="85000"/>
                </a:schemeClr>
              </a:solidFill>
            </c:spPr>
            <c:extLst>
              <c:ext xmlns:c16="http://schemas.microsoft.com/office/drawing/2014/chart" uri="{C3380CC4-5D6E-409C-BE32-E72D297353CC}">
                <c16:uniqueId val="{00000003-B002-4D1F-97C0-1795A68D671E}"/>
              </c:ext>
            </c:extLst>
          </c:dPt>
          <c:dLbls>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0</c:f>
              <c:numCache>
                <c:formatCode>General</c:formatCode>
                <c:ptCount val="9"/>
              </c:numCache>
            </c:numRef>
          </c:cat>
          <c:val>
            <c:numRef>
              <c:f>Tabelle1!$C$2:$C$10</c:f>
              <c:numCache>
                <c:formatCode>0%</c:formatCode>
                <c:ptCount val="9"/>
                <c:pt idx="0">
                  <c:v>0.63800000000000001</c:v>
                </c:pt>
                <c:pt idx="1">
                  <c:v>0.50800000000000001</c:v>
                </c:pt>
                <c:pt idx="2">
                  <c:v>0.38600000000000001</c:v>
                </c:pt>
                <c:pt idx="3">
                  <c:v>0.39900000000000002</c:v>
                </c:pt>
                <c:pt idx="4">
                  <c:v>0.30399999999999999</c:v>
                </c:pt>
                <c:pt idx="5">
                  <c:v>0.115</c:v>
                </c:pt>
                <c:pt idx="6">
                  <c:v>3.9E-2</c:v>
                </c:pt>
                <c:pt idx="7">
                  <c:v>0.02</c:v>
                </c:pt>
                <c:pt idx="8">
                  <c:v>2.9000000000000001E-2</c:v>
                </c:pt>
              </c:numCache>
            </c:numRef>
          </c:val>
          <c:extLst>
            <c:ext xmlns:c16="http://schemas.microsoft.com/office/drawing/2014/chart" uri="{C3380CC4-5D6E-409C-BE32-E72D297353CC}">
              <c16:uniqueId val="{0000000E-7D8A-4AF0-AE26-9A9D5F9F8697}"/>
            </c:ext>
          </c:extLst>
        </c:ser>
        <c:dLbls>
          <c:showLegendKey val="0"/>
          <c:showVal val="0"/>
          <c:showCatName val="0"/>
          <c:showSerName val="0"/>
          <c:showPercent val="0"/>
          <c:showBubbleSize val="0"/>
        </c:dLbls>
        <c:gapWidth val="81"/>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0.3395328404828229"/>
          <c:y val="0.93548213577752082"/>
          <c:w val="0.40172488254216432"/>
          <c:h val="6.1706570436301726E-2"/>
        </c:manualLayout>
      </c:layout>
      <c:overlay val="0"/>
      <c:txPr>
        <a:bodyPr/>
        <a:lstStyle/>
        <a:p>
          <a:pPr>
            <a:defRPr sz="8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09553543597054"/>
          <c:y val="9.2040430389156117E-2"/>
          <c:w val="0.45769326735290644"/>
          <c:h val="0.82592026152558518"/>
        </c:manualLayout>
      </c:layout>
      <c:barChart>
        <c:barDir val="bar"/>
        <c:grouping val="clustered"/>
        <c:varyColors val="0"/>
        <c:ser>
          <c:idx val="0"/>
          <c:order val="0"/>
          <c:tx>
            <c:strRef>
              <c:f>Tabelle1!$B$1</c:f>
              <c:strCache>
                <c:ptCount val="1"/>
                <c:pt idx="0">
                  <c:v>15-29 J. (C) [61]</c:v>
                </c:pt>
              </c:strCache>
            </c:strRef>
          </c:tx>
          <c:spPr>
            <a:solidFill>
              <a:schemeClr val="accent4">
                <a:lumMod val="75000"/>
              </a:schemeClr>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7"/>
            <c:invertIfNegative val="0"/>
            <c:bubble3D val="0"/>
            <c:spPr>
              <a:solidFill>
                <a:schemeClr val="bg1">
                  <a:lumMod val="50000"/>
                </a:schemeClr>
              </a:solidFill>
            </c:spPr>
            <c:extLst>
              <c:ext xmlns:c16="http://schemas.microsoft.com/office/drawing/2014/chart" uri="{C3380CC4-5D6E-409C-BE32-E72D297353CC}">
                <c16:uniqueId val="{00000016-20B0-498C-AD2F-51C30B2CB864}"/>
              </c:ext>
            </c:extLst>
          </c:dPt>
          <c:dPt>
            <c:idx val="8"/>
            <c:invertIfNegative val="0"/>
            <c:bubble3D val="0"/>
            <c:spPr>
              <a:solidFill>
                <a:schemeClr val="bg1">
                  <a:lumMod val="50000"/>
                </a:schemeClr>
              </a:solidFill>
            </c:spPr>
            <c:extLst>
              <c:ext xmlns:c16="http://schemas.microsoft.com/office/drawing/2014/chart" uri="{C3380CC4-5D6E-409C-BE32-E72D297353CC}">
                <c16:uniqueId val="{00000017-20B0-498C-AD2F-51C30B2CB864}"/>
              </c:ext>
            </c:extLst>
          </c:dPt>
          <c:dPt>
            <c:idx val="15"/>
            <c:invertIfNegative val="0"/>
            <c:bubble3D val="0"/>
            <c:spPr>
              <a:solidFill>
                <a:schemeClr val="bg1">
                  <a:lumMod val="50000"/>
                </a:schemeClr>
              </a:solidFill>
            </c:spPr>
            <c:extLst>
              <c:ext xmlns:c16="http://schemas.microsoft.com/office/drawing/2014/chart" uri="{C3380CC4-5D6E-409C-BE32-E72D297353CC}">
                <c16:uniqueId val="{00000000-EA47-4B35-88ED-C549BF575F65}"/>
              </c:ext>
            </c:extLst>
          </c:dPt>
          <c:dPt>
            <c:idx val="16"/>
            <c:invertIfNegative val="0"/>
            <c:bubble3D val="0"/>
            <c:spPr>
              <a:solidFill>
                <a:schemeClr val="bg1">
                  <a:lumMod val="50000"/>
                </a:schemeClr>
              </a:solidFill>
            </c:spPr>
            <c:extLst>
              <c:ext xmlns:c16="http://schemas.microsoft.com/office/drawing/2014/chart" uri="{C3380CC4-5D6E-409C-BE32-E72D297353CC}">
                <c16:uniqueId val="{00000001-EA47-4B35-88ED-C549BF575F65}"/>
              </c:ext>
            </c:extLst>
          </c:dPt>
          <c:dPt>
            <c:idx val="24"/>
            <c:invertIfNegative val="0"/>
            <c:bubble3D val="0"/>
            <c:extLst>
              <c:ext xmlns:c16="http://schemas.microsoft.com/office/drawing/2014/chart" uri="{C3380CC4-5D6E-409C-BE32-E72D297353CC}">
                <c16:uniqueId val="{00000001-BAAD-4EDE-B852-3FBFE25BFF49}"/>
              </c:ext>
            </c:extLst>
          </c:dPt>
          <c:dLbls>
            <c:dLbl>
              <c:idx val="3"/>
              <c:tx>
                <c:rich>
                  <a:bodyPr/>
                  <a:lstStyle/>
                  <a:p>
                    <a:fld id="{7DEC4C1B-E1E3-634C-A978-D3A0F3B1AEA8}" type="VALUE">
                      <a:rPr lang="en-US" smtClean="0"/>
                      <a:pPr/>
                      <a:t>[WERT]</a:t>
                    </a:fld>
                    <a:r>
                      <a:rPr lang="en-US"/>
                      <a:t> E</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625-470E-AB92-E576FCBE9BB1}"/>
                </c:ext>
              </c:extLst>
            </c:dLbl>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10</c:f>
              <c:numCache>
                <c:formatCode>General</c:formatCode>
                <c:ptCount val="9"/>
              </c:numCache>
            </c:numRef>
          </c:cat>
          <c:val>
            <c:numRef>
              <c:f>Tabelle1!$B$2:$B$10</c:f>
              <c:numCache>
                <c:formatCode>0%</c:formatCode>
                <c:ptCount val="9"/>
                <c:pt idx="0">
                  <c:v>0.66400000000000003</c:v>
                </c:pt>
                <c:pt idx="1">
                  <c:v>0.28499999999999998</c:v>
                </c:pt>
                <c:pt idx="2">
                  <c:v>0.34899999999999998</c:v>
                </c:pt>
                <c:pt idx="3">
                  <c:v>0.51300000000000001</c:v>
                </c:pt>
                <c:pt idx="4">
                  <c:v>0.16800000000000001</c:v>
                </c:pt>
                <c:pt idx="5">
                  <c:v>0.104</c:v>
                </c:pt>
                <c:pt idx="6">
                  <c:v>9.9000000000000005E-2</c:v>
                </c:pt>
                <c:pt idx="7">
                  <c:v>0</c:v>
                </c:pt>
                <c:pt idx="8">
                  <c:v>6.9000000000000006E-2</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30-44 J. (D) [67]</c:v>
                </c:pt>
              </c:strCache>
            </c:strRef>
          </c:tx>
          <c:spPr>
            <a:solidFill>
              <a:schemeClr val="accent4"/>
            </a:solidFill>
          </c:spPr>
          <c:invertIfNegative val="0"/>
          <c:dPt>
            <c:idx val="3"/>
            <c:invertIfNegative val="0"/>
            <c:bubble3D val="0"/>
            <c:extLst>
              <c:ext xmlns:c16="http://schemas.microsoft.com/office/drawing/2014/chart" uri="{C3380CC4-5D6E-409C-BE32-E72D297353CC}">
                <c16:uniqueId val="{00000010-7D8A-4AF0-AE26-9A9D5F9F8697}"/>
              </c:ext>
            </c:extLst>
          </c:dPt>
          <c:dPt>
            <c:idx val="7"/>
            <c:invertIfNegative val="0"/>
            <c:bubble3D val="0"/>
            <c:spPr>
              <a:solidFill>
                <a:schemeClr val="bg1">
                  <a:lumMod val="65000"/>
                </a:schemeClr>
              </a:solidFill>
            </c:spPr>
            <c:extLst>
              <c:ext xmlns:c16="http://schemas.microsoft.com/office/drawing/2014/chart" uri="{C3380CC4-5D6E-409C-BE32-E72D297353CC}">
                <c16:uniqueId val="{00000018-20B0-498C-AD2F-51C30B2CB864}"/>
              </c:ext>
            </c:extLst>
          </c:dPt>
          <c:dPt>
            <c:idx val="8"/>
            <c:invertIfNegative val="0"/>
            <c:bubble3D val="0"/>
            <c:spPr>
              <a:solidFill>
                <a:schemeClr val="bg1">
                  <a:lumMod val="65000"/>
                </a:schemeClr>
              </a:solidFill>
            </c:spPr>
            <c:extLst>
              <c:ext xmlns:c16="http://schemas.microsoft.com/office/drawing/2014/chart" uri="{C3380CC4-5D6E-409C-BE32-E72D297353CC}">
                <c16:uniqueId val="{00000019-20B0-498C-AD2F-51C30B2CB864}"/>
              </c:ext>
            </c:extLst>
          </c:dPt>
          <c:dPt>
            <c:idx val="15"/>
            <c:invertIfNegative val="0"/>
            <c:bubble3D val="0"/>
            <c:spPr>
              <a:solidFill>
                <a:schemeClr val="bg1">
                  <a:lumMod val="65000"/>
                </a:schemeClr>
              </a:solidFill>
            </c:spPr>
            <c:extLst>
              <c:ext xmlns:c16="http://schemas.microsoft.com/office/drawing/2014/chart" uri="{C3380CC4-5D6E-409C-BE32-E72D297353CC}">
                <c16:uniqueId val="{00000002-EA47-4B35-88ED-C549BF575F65}"/>
              </c:ext>
            </c:extLst>
          </c:dPt>
          <c:dPt>
            <c:idx val="16"/>
            <c:invertIfNegative val="0"/>
            <c:bubble3D val="0"/>
            <c:spPr>
              <a:solidFill>
                <a:schemeClr val="bg1">
                  <a:lumMod val="65000"/>
                </a:schemeClr>
              </a:solidFill>
            </c:spPr>
            <c:extLst>
              <c:ext xmlns:c16="http://schemas.microsoft.com/office/drawing/2014/chart" uri="{C3380CC4-5D6E-409C-BE32-E72D297353CC}">
                <c16:uniqueId val="{00000003-EA47-4B35-88ED-C549BF575F65}"/>
              </c:ext>
            </c:extLst>
          </c:dPt>
          <c:dLbls>
            <c:dLbl>
              <c:idx val="7"/>
              <c:tx>
                <c:rich>
                  <a:bodyPr/>
                  <a:lstStyle/>
                  <a:p>
                    <a:fld id="{8D8E8C63-A814-9848-9794-F18BD3B5CEE2}" type="VALUE">
                      <a:rPr lang="en-US" smtClean="0"/>
                      <a:pPr/>
                      <a:t>[WERT]</a:t>
                    </a:fld>
                    <a:r>
                      <a:rPr lang="en-US"/>
                      <a:t> C</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8-20B0-498C-AD2F-51C30B2CB864}"/>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0</c:f>
              <c:numCache>
                <c:formatCode>General</c:formatCode>
                <c:ptCount val="9"/>
              </c:numCache>
            </c:numRef>
          </c:cat>
          <c:val>
            <c:numRef>
              <c:f>Tabelle1!$C$2:$C$10</c:f>
              <c:numCache>
                <c:formatCode>0%</c:formatCode>
                <c:ptCount val="9"/>
                <c:pt idx="0">
                  <c:v>0.53900000000000003</c:v>
                </c:pt>
                <c:pt idx="1">
                  <c:v>0.45700000000000002</c:v>
                </c:pt>
                <c:pt idx="2">
                  <c:v>0.33700000000000002</c:v>
                </c:pt>
                <c:pt idx="3">
                  <c:v>0.374</c:v>
                </c:pt>
                <c:pt idx="4">
                  <c:v>0.313</c:v>
                </c:pt>
                <c:pt idx="5">
                  <c:v>0.14899999999999999</c:v>
                </c:pt>
                <c:pt idx="6">
                  <c:v>0.09</c:v>
                </c:pt>
                <c:pt idx="7">
                  <c:v>7.6999999999999999E-2</c:v>
                </c:pt>
                <c:pt idx="8">
                  <c:v>2.1000000000000001E-2</c:v>
                </c:pt>
              </c:numCache>
            </c:numRef>
          </c:val>
          <c:extLst>
            <c:ext xmlns:c16="http://schemas.microsoft.com/office/drawing/2014/chart" uri="{C3380CC4-5D6E-409C-BE32-E72D297353CC}">
              <c16:uniqueId val="{0000000E-7D8A-4AF0-AE26-9A9D5F9F8697}"/>
            </c:ext>
          </c:extLst>
        </c:ser>
        <c:ser>
          <c:idx val="2"/>
          <c:order val="2"/>
          <c:tx>
            <c:strRef>
              <c:f>Tabelle1!$D$1</c:f>
              <c:strCache>
                <c:ptCount val="1"/>
                <c:pt idx="0">
                  <c:v>45-59 J. (E) [62]</c:v>
                </c:pt>
              </c:strCache>
            </c:strRef>
          </c:tx>
          <c:spPr>
            <a:solidFill>
              <a:schemeClr val="accent4">
                <a:lumMod val="60000"/>
                <a:lumOff val="40000"/>
              </a:schemeClr>
            </a:solidFill>
          </c:spPr>
          <c:invertIfNegative val="0"/>
          <c:dPt>
            <c:idx val="7"/>
            <c:invertIfNegative val="0"/>
            <c:bubble3D val="0"/>
            <c:spPr>
              <a:solidFill>
                <a:schemeClr val="bg1">
                  <a:lumMod val="75000"/>
                </a:schemeClr>
              </a:solidFill>
            </c:spPr>
            <c:extLst>
              <c:ext xmlns:c16="http://schemas.microsoft.com/office/drawing/2014/chart" uri="{C3380CC4-5D6E-409C-BE32-E72D297353CC}">
                <c16:uniqueId val="{0000001A-20B0-498C-AD2F-51C30B2CB864}"/>
              </c:ext>
            </c:extLst>
          </c:dPt>
          <c:dPt>
            <c:idx val="8"/>
            <c:invertIfNegative val="0"/>
            <c:bubble3D val="0"/>
            <c:spPr>
              <a:solidFill>
                <a:schemeClr val="bg1">
                  <a:lumMod val="75000"/>
                </a:schemeClr>
              </a:solidFill>
            </c:spPr>
            <c:extLst>
              <c:ext xmlns:c16="http://schemas.microsoft.com/office/drawing/2014/chart" uri="{C3380CC4-5D6E-409C-BE32-E72D297353CC}">
                <c16:uniqueId val="{0000001B-20B0-498C-AD2F-51C30B2CB864}"/>
              </c:ext>
            </c:extLst>
          </c:dPt>
          <c:dPt>
            <c:idx val="15"/>
            <c:invertIfNegative val="0"/>
            <c:bubble3D val="0"/>
            <c:spPr>
              <a:solidFill>
                <a:schemeClr val="bg1">
                  <a:lumMod val="75000"/>
                </a:schemeClr>
              </a:solidFill>
            </c:spPr>
            <c:extLst>
              <c:ext xmlns:c16="http://schemas.microsoft.com/office/drawing/2014/chart" uri="{C3380CC4-5D6E-409C-BE32-E72D297353CC}">
                <c16:uniqueId val="{00000004-EA47-4B35-88ED-C549BF575F65}"/>
              </c:ext>
            </c:extLst>
          </c:dPt>
          <c:dPt>
            <c:idx val="16"/>
            <c:invertIfNegative val="0"/>
            <c:bubble3D val="0"/>
            <c:spPr>
              <a:solidFill>
                <a:schemeClr val="bg1">
                  <a:lumMod val="75000"/>
                </a:schemeClr>
              </a:solidFill>
            </c:spPr>
            <c:extLst>
              <c:ext xmlns:c16="http://schemas.microsoft.com/office/drawing/2014/chart" uri="{C3380CC4-5D6E-409C-BE32-E72D297353CC}">
                <c16:uniqueId val="{00000005-EA47-4B35-88ED-C549BF575F65}"/>
              </c:ext>
            </c:extLst>
          </c:dPt>
          <c:dLbls>
            <c:dLbl>
              <c:idx val="0"/>
              <c:tx>
                <c:rich>
                  <a:bodyPr/>
                  <a:lstStyle/>
                  <a:p>
                    <a:fld id="{04C08249-E797-F645-A099-0860A84B4CBF}" type="VALUE">
                      <a:rPr lang="en-US" smtClean="0"/>
                      <a:pPr/>
                      <a:t>[WERT]</a:t>
                    </a:fld>
                    <a:r>
                      <a:rPr lang="en-US"/>
                      <a:t> D</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6-3E35-5C48-A766-13F20B0C60F8}"/>
                </c:ext>
              </c:extLst>
            </c:dLbl>
            <c:dLbl>
              <c:idx val="1"/>
              <c:tx>
                <c:rich>
                  <a:bodyPr/>
                  <a:lstStyle/>
                  <a:p>
                    <a:fld id="{35968E40-CDFB-2548-9775-A71519C1BE58}" type="VALUE">
                      <a:rPr lang="en-US" smtClean="0"/>
                      <a:pPr/>
                      <a:t>[WERT]</a:t>
                    </a:fld>
                    <a:r>
                      <a:rPr lang="en-US"/>
                      <a:t> C</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7-3E35-5C48-A766-13F20B0C60F8}"/>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0</c:f>
              <c:numCache>
                <c:formatCode>General</c:formatCode>
                <c:ptCount val="9"/>
              </c:numCache>
            </c:numRef>
          </c:cat>
          <c:val>
            <c:numRef>
              <c:f>Tabelle1!$D$2:$D$10</c:f>
              <c:numCache>
                <c:formatCode>0%</c:formatCode>
                <c:ptCount val="9"/>
                <c:pt idx="0">
                  <c:v>0.74299999999999999</c:v>
                </c:pt>
                <c:pt idx="1">
                  <c:v>0.63700000000000001</c:v>
                </c:pt>
                <c:pt idx="2">
                  <c:v>0.39700000000000002</c:v>
                </c:pt>
                <c:pt idx="3">
                  <c:v>0.222</c:v>
                </c:pt>
                <c:pt idx="4">
                  <c:v>0.32700000000000001</c:v>
                </c:pt>
                <c:pt idx="5">
                  <c:v>0.113</c:v>
                </c:pt>
                <c:pt idx="6">
                  <c:v>3.5999999999999997E-2</c:v>
                </c:pt>
                <c:pt idx="7">
                  <c:v>5.0000000000000001E-3</c:v>
                </c:pt>
                <c:pt idx="8">
                  <c:v>2.1000000000000001E-2</c:v>
                </c:pt>
              </c:numCache>
            </c:numRef>
          </c:val>
          <c:extLst>
            <c:ext xmlns:c16="http://schemas.microsoft.com/office/drawing/2014/chart" uri="{C3380CC4-5D6E-409C-BE32-E72D297353CC}">
              <c16:uniqueId val="{0000000B-A4AA-4B61-ADC3-6229709C4A52}"/>
            </c:ext>
          </c:extLst>
        </c:ser>
        <c:ser>
          <c:idx val="3"/>
          <c:order val="3"/>
          <c:tx>
            <c:strRef>
              <c:f>Tabelle1!$E$1</c:f>
              <c:strCache>
                <c:ptCount val="1"/>
                <c:pt idx="0">
                  <c:v>60+ J. (F) [31*]</c:v>
                </c:pt>
              </c:strCache>
            </c:strRef>
          </c:tx>
          <c:spPr>
            <a:solidFill>
              <a:schemeClr val="accent4">
                <a:lumMod val="40000"/>
                <a:lumOff val="60000"/>
              </a:schemeClr>
            </a:solidFill>
          </c:spPr>
          <c:invertIfNegative val="0"/>
          <c:dPt>
            <c:idx val="7"/>
            <c:invertIfNegative val="0"/>
            <c:bubble3D val="0"/>
            <c:spPr>
              <a:solidFill>
                <a:schemeClr val="bg1">
                  <a:lumMod val="85000"/>
                </a:schemeClr>
              </a:solidFill>
            </c:spPr>
            <c:extLst>
              <c:ext xmlns:c16="http://schemas.microsoft.com/office/drawing/2014/chart" uri="{C3380CC4-5D6E-409C-BE32-E72D297353CC}">
                <c16:uniqueId val="{0000001C-20B0-498C-AD2F-51C30B2CB864}"/>
              </c:ext>
            </c:extLst>
          </c:dPt>
          <c:dPt>
            <c:idx val="8"/>
            <c:invertIfNegative val="0"/>
            <c:bubble3D val="0"/>
            <c:spPr>
              <a:solidFill>
                <a:schemeClr val="bg1">
                  <a:lumMod val="85000"/>
                </a:schemeClr>
              </a:solidFill>
            </c:spPr>
            <c:extLst>
              <c:ext xmlns:c16="http://schemas.microsoft.com/office/drawing/2014/chart" uri="{C3380CC4-5D6E-409C-BE32-E72D297353CC}">
                <c16:uniqueId val="{0000001D-20B0-498C-AD2F-51C30B2CB864}"/>
              </c:ext>
            </c:extLst>
          </c:dPt>
          <c:dPt>
            <c:idx val="15"/>
            <c:invertIfNegative val="0"/>
            <c:bubble3D val="0"/>
            <c:spPr>
              <a:solidFill>
                <a:schemeClr val="bg1">
                  <a:lumMod val="85000"/>
                </a:schemeClr>
              </a:solidFill>
            </c:spPr>
            <c:extLst>
              <c:ext xmlns:c16="http://schemas.microsoft.com/office/drawing/2014/chart" uri="{C3380CC4-5D6E-409C-BE32-E72D297353CC}">
                <c16:uniqueId val="{00000006-EA47-4B35-88ED-C549BF575F65}"/>
              </c:ext>
            </c:extLst>
          </c:dPt>
          <c:dPt>
            <c:idx val="16"/>
            <c:invertIfNegative val="0"/>
            <c:bubble3D val="0"/>
            <c:spPr>
              <a:solidFill>
                <a:schemeClr val="bg1">
                  <a:lumMod val="85000"/>
                </a:schemeClr>
              </a:solidFill>
            </c:spPr>
            <c:extLst>
              <c:ext xmlns:c16="http://schemas.microsoft.com/office/drawing/2014/chart" uri="{C3380CC4-5D6E-409C-BE32-E72D297353CC}">
                <c16:uniqueId val="{00000007-EA47-4B35-88ED-C549BF575F65}"/>
              </c:ext>
            </c:extLst>
          </c:dPt>
          <c:dLbls>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0</c:f>
              <c:numCache>
                <c:formatCode>General</c:formatCode>
                <c:ptCount val="9"/>
              </c:numCache>
            </c:numRef>
          </c:cat>
          <c:val>
            <c:numRef>
              <c:f>Tabelle1!$E$2:$E$10</c:f>
              <c:numCache>
                <c:formatCode>0%</c:formatCode>
                <c:ptCount val="9"/>
                <c:pt idx="0">
                  <c:v>0.58899999999999997</c:v>
                </c:pt>
                <c:pt idx="1">
                  <c:v>0.437</c:v>
                </c:pt>
                <c:pt idx="2">
                  <c:v>0.47299999999999998</c:v>
                </c:pt>
                <c:pt idx="3">
                  <c:v>0.34200000000000003</c:v>
                </c:pt>
                <c:pt idx="4">
                  <c:v>0.26200000000000001</c:v>
                </c:pt>
                <c:pt idx="5">
                  <c:v>0.17100000000000001</c:v>
                </c:pt>
                <c:pt idx="6">
                  <c:v>0</c:v>
                </c:pt>
                <c:pt idx="7">
                  <c:v>3.9E-2</c:v>
                </c:pt>
                <c:pt idx="8">
                  <c:v>7.6999999999999999E-2</c:v>
                </c:pt>
              </c:numCache>
            </c:numRef>
          </c:val>
          <c:extLst>
            <c:ext xmlns:c16="http://schemas.microsoft.com/office/drawing/2014/chart" uri="{C3380CC4-5D6E-409C-BE32-E72D297353CC}">
              <c16:uniqueId val="{0000000C-A4AA-4B61-ADC3-6229709C4A52}"/>
            </c:ext>
          </c:extLst>
        </c:ser>
        <c:dLbls>
          <c:showLegendKey val="0"/>
          <c:showVal val="0"/>
          <c:showCatName val="0"/>
          <c:showSerName val="0"/>
          <c:showPercent val="0"/>
          <c:showBubbleSize val="0"/>
        </c:dLbls>
        <c:gapWidth val="45"/>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0.14186969831696192"/>
          <c:y val="0.93421838174403371"/>
          <c:w val="0.77012121464867256"/>
          <c:h val="6.2970324469788883E-2"/>
        </c:manualLayout>
      </c:layout>
      <c:overlay val="0"/>
      <c:txPr>
        <a:bodyPr/>
        <a:lstStyle/>
        <a:p>
          <a:pPr>
            <a:defRPr sz="8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088645235986524"/>
          <c:y val="9.2040430389156117E-2"/>
          <c:w val="0.45769326735290644"/>
          <c:h val="0.82873155531176257"/>
        </c:manualLayout>
      </c:layout>
      <c:barChart>
        <c:barDir val="bar"/>
        <c:grouping val="clustered"/>
        <c:varyColors val="0"/>
        <c:ser>
          <c:idx val="0"/>
          <c:order val="0"/>
          <c:tx>
            <c:strRef>
              <c:f>Tabelle1!$B$1</c:f>
              <c:strCache>
                <c:ptCount val="1"/>
                <c:pt idx="0">
                  <c:v>D-CH (G) [136]</c:v>
                </c:pt>
              </c:strCache>
            </c:strRef>
          </c:tx>
          <c:spPr>
            <a:solidFill>
              <a:schemeClr val="accent5"/>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7"/>
            <c:invertIfNegative val="0"/>
            <c:bubble3D val="0"/>
            <c:spPr>
              <a:solidFill>
                <a:schemeClr val="bg1">
                  <a:lumMod val="65000"/>
                </a:schemeClr>
              </a:solidFill>
            </c:spPr>
            <c:extLst>
              <c:ext xmlns:c16="http://schemas.microsoft.com/office/drawing/2014/chart" uri="{C3380CC4-5D6E-409C-BE32-E72D297353CC}">
                <c16:uniqueId val="{00000012-4AEB-4BD1-8B5F-55CF49CB90FA}"/>
              </c:ext>
            </c:extLst>
          </c:dPt>
          <c:dPt>
            <c:idx val="8"/>
            <c:invertIfNegative val="0"/>
            <c:bubble3D val="0"/>
            <c:spPr>
              <a:solidFill>
                <a:schemeClr val="bg1">
                  <a:lumMod val="65000"/>
                </a:schemeClr>
              </a:solidFill>
            </c:spPr>
            <c:extLst>
              <c:ext xmlns:c16="http://schemas.microsoft.com/office/drawing/2014/chart" uri="{C3380CC4-5D6E-409C-BE32-E72D297353CC}">
                <c16:uniqueId val="{00000013-4AEB-4BD1-8B5F-55CF49CB90FA}"/>
              </c:ext>
            </c:extLst>
          </c:dPt>
          <c:dPt>
            <c:idx val="15"/>
            <c:invertIfNegative val="0"/>
            <c:bubble3D val="0"/>
            <c:spPr>
              <a:solidFill>
                <a:schemeClr val="bg1">
                  <a:lumMod val="65000"/>
                </a:schemeClr>
              </a:solidFill>
            </c:spPr>
            <c:extLst>
              <c:ext xmlns:c16="http://schemas.microsoft.com/office/drawing/2014/chart" uri="{C3380CC4-5D6E-409C-BE32-E72D297353CC}">
                <c16:uniqueId val="{00000000-0875-47F9-9EDC-E97BE4584D49}"/>
              </c:ext>
            </c:extLst>
          </c:dPt>
          <c:dPt>
            <c:idx val="16"/>
            <c:invertIfNegative val="0"/>
            <c:bubble3D val="0"/>
            <c:spPr>
              <a:solidFill>
                <a:schemeClr val="bg1">
                  <a:lumMod val="65000"/>
                </a:schemeClr>
              </a:solidFill>
            </c:spPr>
            <c:extLst>
              <c:ext xmlns:c16="http://schemas.microsoft.com/office/drawing/2014/chart" uri="{C3380CC4-5D6E-409C-BE32-E72D297353CC}">
                <c16:uniqueId val="{00000001-0875-47F9-9EDC-E97BE4584D49}"/>
              </c:ext>
            </c:extLst>
          </c:dPt>
          <c:dPt>
            <c:idx val="24"/>
            <c:invertIfNegative val="0"/>
            <c:bubble3D val="0"/>
            <c:extLst>
              <c:ext xmlns:c16="http://schemas.microsoft.com/office/drawing/2014/chart" uri="{C3380CC4-5D6E-409C-BE32-E72D297353CC}">
                <c16:uniqueId val="{00000001-BAAD-4EDE-B852-3FBFE25BFF49}"/>
              </c:ext>
            </c:extLst>
          </c:dPt>
          <c:dLbls>
            <c:dLbl>
              <c:idx val="4"/>
              <c:tx>
                <c:rich>
                  <a:bodyPr/>
                  <a:lstStyle/>
                  <a:p>
                    <a:fld id="{B46AA297-3347-EF43-9AD6-3E8A13FC0E02}" type="VALUE">
                      <a:rPr lang="en-US" smtClean="0"/>
                      <a:pPr/>
                      <a:t>[WERT]</a:t>
                    </a:fld>
                    <a:r>
                      <a:rPr lang="en-US"/>
                      <a:t> H</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E-B0F8-ED41-BFFC-4658BF86E111}"/>
                </c:ext>
              </c:extLst>
            </c:dLbl>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10</c:f>
              <c:numCache>
                <c:formatCode>General</c:formatCode>
                <c:ptCount val="9"/>
              </c:numCache>
            </c:numRef>
          </c:cat>
          <c:val>
            <c:numRef>
              <c:f>Tabelle1!$B$2:$B$10</c:f>
              <c:numCache>
                <c:formatCode>0%</c:formatCode>
                <c:ptCount val="9"/>
                <c:pt idx="0">
                  <c:v>0.61899999999999999</c:v>
                </c:pt>
                <c:pt idx="1">
                  <c:v>0.46200000000000002</c:v>
                </c:pt>
                <c:pt idx="2">
                  <c:v>0.35599999999999998</c:v>
                </c:pt>
                <c:pt idx="3">
                  <c:v>0.34399999999999997</c:v>
                </c:pt>
                <c:pt idx="4">
                  <c:v>0.32700000000000001</c:v>
                </c:pt>
                <c:pt idx="5">
                  <c:v>0.14199999999999999</c:v>
                </c:pt>
                <c:pt idx="6">
                  <c:v>5.2999999999999999E-2</c:v>
                </c:pt>
                <c:pt idx="7">
                  <c:v>3.2000000000000001E-2</c:v>
                </c:pt>
                <c:pt idx="8">
                  <c:v>4.8000000000000001E-2</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W-CH (H) [56]</c:v>
                </c:pt>
              </c:strCache>
            </c:strRef>
          </c:tx>
          <c:spPr>
            <a:solidFill>
              <a:schemeClr val="accent5">
                <a:lumMod val="40000"/>
                <a:lumOff val="60000"/>
              </a:schemeClr>
            </a:solidFill>
          </c:spPr>
          <c:invertIfNegative val="0"/>
          <c:dPt>
            <c:idx val="3"/>
            <c:invertIfNegative val="0"/>
            <c:bubble3D val="0"/>
            <c:extLst>
              <c:ext xmlns:c16="http://schemas.microsoft.com/office/drawing/2014/chart" uri="{C3380CC4-5D6E-409C-BE32-E72D297353CC}">
                <c16:uniqueId val="{00000010-7D8A-4AF0-AE26-9A9D5F9F8697}"/>
              </c:ext>
            </c:extLst>
          </c:dPt>
          <c:dPt>
            <c:idx val="7"/>
            <c:invertIfNegative val="0"/>
            <c:bubble3D val="0"/>
            <c:spPr>
              <a:solidFill>
                <a:schemeClr val="bg1">
                  <a:lumMod val="75000"/>
                </a:schemeClr>
              </a:solidFill>
            </c:spPr>
            <c:extLst>
              <c:ext xmlns:c16="http://schemas.microsoft.com/office/drawing/2014/chart" uri="{C3380CC4-5D6E-409C-BE32-E72D297353CC}">
                <c16:uniqueId val="{00000014-4AEB-4BD1-8B5F-55CF49CB90FA}"/>
              </c:ext>
            </c:extLst>
          </c:dPt>
          <c:dPt>
            <c:idx val="8"/>
            <c:invertIfNegative val="0"/>
            <c:bubble3D val="0"/>
            <c:spPr>
              <a:solidFill>
                <a:schemeClr val="bg1">
                  <a:lumMod val="75000"/>
                </a:schemeClr>
              </a:solidFill>
            </c:spPr>
            <c:extLst>
              <c:ext xmlns:c16="http://schemas.microsoft.com/office/drawing/2014/chart" uri="{C3380CC4-5D6E-409C-BE32-E72D297353CC}">
                <c16:uniqueId val="{00000015-4AEB-4BD1-8B5F-55CF49CB90FA}"/>
              </c:ext>
            </c:extLst>
          </c:dPt>
          <c:dPt>
            <c:idx val="15"/>
            <c:invertIfNegative val="0"/>
            <c:bubble3D val="0"/>
            <c:spPr>
              <a:solidFill>
                <a:schemeClr val="bg1">
                  <a:lumMod val="75000"/>
                </a:schemeClr>
              </a:solidFill>
            </c:spPr>
            <c:extLst>
              <c:ext xmlns:c16="http://schemas.microsoft.com/office/drawing/2014/chart" uri="{C3380CC4-5D6E-409C-BE32-E72D297353CC}">
                <c16:uniqueId val="{00000002-0875-47F9-9EDC-E97BE4584D49}"/>
              </c:ext>
            </c:extLst>
          </c:dPt>
          <c:dPt>
            <c:idx val="16"/>
            <c:invertIfNegative val="0"/>
            <c:bubble3D val="0"/>
            <c:spPr>
              <a:solidFill>
                <a:schemeClr val="bg1">
                  <a:lumMod val="75000"/>
                </a:schemeClr>
              </a:solidFill>
            </c:spPr>
            <c:extLst>
              <c:ext xmlns:c16="http://schemas.microsoft.com/office/drawing/2014/chart" uri="{C3380CC4-5D6E-409C-BE32-E72D297353CC}">
                <c16:uniqueId val="{00000003-0875-47F9-9EDC-E97BE4584D49}"/>
              </c:ext>
            </c:extLst>
          </c:dPt>
          <c:dLbls>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0</c:f>
              <c:numCache>
                <c:formatCode>General</c:formatCode>
                <c:ptCount val="9"/>
              </c:numCache>
            </c:numRef>
          </c:cat>
          <c:val>
            <c:numRef>
              <c:f>Tabelle1!$C$2:$C$10</c:f>
              <c:numCache>
                <c:formatCode>0%</c:formatCode>
                <c:ptCount val="9"/>
                <c:pt idx="0">
                  <c:v>0.69399999999999995</c:v>
                </c:pt>
                <c:pt idx="1">
                  <c:v>0.45200000000000001</c:v>
                </c:pt>
                <c:pt idx="2">
                  <c:v>0.44900000000000001</c:v>
                </c:pt>
                <c:pt idx="3">
                  <c:v>0.42199999999999999</c:v>
                </c:pt>
                <c:pt idx="4">
                  <c:v>0.129</c:v>
                </c:pt>
                <c:pt idx="5">
                  <c:v>9.6000000000000002E-2</c:v>
                </c:pt>
                <c:pt idx="6">
                  <c:v>8.6999999999999994E-2</c:v>
                </c:pt>
                <c:pt idx="7">
                  <c:v>1.2E-2</c:v>
                </c:pt>
                <c:pt idx="8">
                  <c:v>3.4000000000000002E-2</c:v>
                </c:pt>
              </c:numCache>
            </c:numRef>
          </c:val>
          <c:extLst>
            <c:ext xmlns:c16="http://schemas.microsoft.com/office/drawing/2014/chart" uri="{C3380CC4-5D6E-409C-BE32-E72D297353CC}">
              <c16:uniqueId val="{0000000E-7D8A-4AF0-AE26-9A9D5F9F8697}"/>
            </c:ext>
          </c:extLst>
        </c:ser>
        <c:ser>
          <c:idx val="2"/>
          <c:order val="2"/>
          <c:tx>
            <c:strRef>
              <c:f>Tabelle1!$D$1</c:f>
              <c:strCache>
                <c:ptCount val="1"/>
                <c:pt idx="0">
                  <c:v>Tessin (I) [29**]</c:v>
                </c:pt>
              </c:strCache>
            </c:strRef>
          </c:tx>
          <c:spPr>
            <a:solidFill>
              <a:schemeClr val="accent5">
                <a:lumMod val="20000"/>
                <a:lumOff val="80000"/>
              </a:schemeClr>
            </a:solidFill>
          </c:spPr>
          <c:invertIfNegative val="0"/>
          <c:dPt>
            <c:idx val="7"/>
            <c:invertIfNegative val="0"/>
            <c:bubble3D val="0"/>
            <c:spPr>
              <a:solidFill>
                <a:schemeClr val="bg1">
                  <a:lumMod val="85000"/>
                </a:schemeClr>
              </a:solidFill>
            </c:spPr>
            <c:extLst>
              <c:ext xmlns:c16="http://schemas.microsoft.com/office/drawing/2014/chart" uri="{C3380CC4-5D6E-409C-BE32-E72D297353CC}">
                <c16:uniqueId val="{00000016-4AEB-4BD1-8B5F-55CF49CB90FA}"/>
              </c:ext>
            </c:extLst>
          </c:dPt>
          <c:dPt>
            <c:idx val="8"/>
            <c:invertIfNegative val="0"/>
            <c:bubble3D val="0"/>
            <c:spPr>
              <a:solidFill>
                <a:schemeClr val="bg1">
                  <a:lumMod val="85000"/>
                </a:schemeClr>
              </a:solidFill>
            </c:spPr>
            <c:extLst>
              <c:ext xmlns:c16="http://schemas.microsoft.com/office/drawing/2014/chart" uri="{C3380CC4-5D6E-409C-BE32-E72D297353CC}">
                <c16:uniqueId val="{00000017-4AEB-4BD1-8B5F-55CF49CB90FA}"/>
              </c:ext>
            </c:extLst>
          </c:dPt>
          <c:dPt>
            <c:idx val="15"/>
            <c:invertIfNegative val="0"/>
            <c:bubble3D val="0"/>
            <c:spPr>
              <a:solidFill>
                <a:schemeClr val="bg1">
                  <a:lumMod val="85000"/>
                </a:schemeClr>
              </a:solidFill>
            </c:spPr>
            <c:extLst>
              <c:ext xmlns:c16="http://schemas.microsoft.com/office/drawing/2014/chart" uri="{C3380CC4-5D6E-409C-BE32-E72D297353CC}">
                <c16:uniqueId val="{00000004-0875-47F9-9EDC-E97BE4584D49}"/>
              </c:ext>
            </c:extLst>
          </c:dPt>
          <c:dPt>
            <c:idx val="16"/>
            <c:invertIfNegative val="0"/>
            <c:bubble3D val="0"/>
            <c:spPr>
              <a:solidFill>
                <a:schemeClr val="bg1">
                  <a:lumMod val="85000"/>
                </a:schemeClr>
              </a:solidFill>
            </c:spPr>
            <c:extLst>
              <c:ext xmlns:c16="http://schemas.microsoft.com/office/drawing/2014/chart" uri="{C3380CC4-5D6E-409C-BE32-E72D297353CC}">
                <c16:uniqueId val="{00000005-0875-47F9-9EDC-E97BE4584D49}"/>
              </c:ext>
            </c:extLst>
          </c:dPt>
          <c:dLbls>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0</c:f>
              <c:numCache>
                <c:formatCode>General</c:formatCode>
                <c:ptCount val="9"/>
              </c:numCache>
            </c:numRef>
          </c:cat>
          <c:val>
            <c:numRef>
              <c:f>Tabelle1!$D$2:$D$10</c:f>
              <c:numCache>
                <c:formatCode>0%</c:formatCode>
                <c:ptCount val="9"/>
                <c:pt idx="0">
                  <c:v>0.57299999999999995</c:v>
                </c:pt>
                <c:pt idx="1">
                  <c:v>0.35099999999999998</c:v>
                </c:pt>
                <c:pt idx="2">
                  <c:v>0.193</c:v>
                </c:pt>
                <c:pt idx="3">
                  <c:v>0.34300000000000003</c:v>
                </c:pt>
                <c:pt idx="4">
                  <c:v>0.251</c:v>
                </c:pt>
                <c:pt idx="5">
                  <c:v>0.156</c:v>
                </c:pt>
                <c:pt idx="6">
                  <c:v>0.104</c:v>
                </c:pt>
                <c:pt idx="7">
                  <c:v>0.13100000000000001</c:v>
                </c:pt>
                <c:pt idx="8">
                  <c:v>0</c:v>
                </c:pt>
              </c:numCache>
            </c:numRef>
          </c:val>
          <c:extLst>
            <c:ext xmlns:c16="http://schemas.microsoft.com/office/drawing/2014/chart" uri="{C3380CC4-5D6E-409C-BE32-E72D297353CC}">
              <c16:uniqueId val="{0000000B-CE0D-4218-BB1D-8D191CAEC14C}"/>
            </c:ext>
          </c:extLst>
        </c:ser>
        <c:dLbls>
          <c:showLegendKey val="0"/>
          <c:showVal val="0"/>
          <c:showCatName val="0"/>
          <c:showSerName val="0"/>
          <c:showPercent val="0"/>
          <c:showBubbleSize val="0"/>
        </c:dLbls>
        <c:gapWidth val="72"/>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0.24072689206602096"/>
          <c:y val="0.9370296755302111"/>
          <c:w val="0.66217451262154869"/>
          <c:h val="6.0159030683611461E-2"/>
        </c:manualLayout>
      </c:layout>
      <c:overlay val="0"/>
      <c:txPr>
        <a:bodyPr/>
        <a:lstStyle/>
        <a:p>
          <a:pPr>
            <a:defRPr sz="8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1899145881302264"/>
          <c:y val="9.2040430389156117E-2"/>
          <c:w val="0.27707601076959432"/>
          <c:h val="0.82592026152558518"/>
        </c:manualLayout>
      </c:layout>
      <c:barChart>
        <c:barDir val="bar"/>
        <c:grouping val="clustered"/>
        <c:varyColors val="0"/>
        <c:ser>
          <c:idx val="0"/>
          <c:order val="0"/>
          <c:tx>
            <c:strRef>
              <c:f>Tabelle1!$B$1</c:f>
              <c:strCache>
                <c:ptCount val="1"/>
                <c:pt idx="0">
                  <c:v>Spalte1</c:v>
                </c:pt>
              </c:strCache>
            </c:strRef>
          </c:tx>
          <c:spPr>
            <a:solidFill>
              <a:schemeClr val="accent2"/>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7"/>
            <c:invertIfNegative val="0"/>
            <c:bubble3D val="0"/>
            <c:spPr>
              <a:solidFill>
                <a:schemeClr val="bg1">
                  <a:lumMod val="75000"/>
                </a:schemeClr>
              </a:solidFill>
            </c:spPr>
            <c:extLst>
              <c:ext xmlns:c16="http://schemas.microsoft.com/office/drawing/2014/chart" uri="{C3380CC4-5D6E-409C-BE32-E72D297353CC}">
                <c16:uniqueId val="{0000000D-F87D-4379-AC9F-4E9EEAD99E90}"/>
              </c:ext>
            </c:extLst>
          </c:dPt>
          <c:dPt>
            <c:idx val="8"/>
            <c:invertIfNegative val="0"/>
            <c:bubble3D val="0"/>
            <c:spPr>
              <a:solidFill>
                <a:schemeClr val="bg1">
                  <a:lumMod val="75000"/>
                </a:schemeClr>
              </a:solidFill>
            </c:spPr>
            <c:extLst>
              <c:ext xmlns:c16="http://schemas.microsoft.com/office/drawing/2014/chart" uri="{C3380CC4-5D6E-409C-BE32-E72D297353CC}">
                <c16:uniqueId val="{0000000E-F87D-4379-AC9F-4E9EEAD99E90}"/>
              </c:ext>
            </c:extLst>
          </c:dPt>
          <c:dPt>
            <c:idx val="15"/>
            <c:invertIfNegative val="0"/>
            <c:bubble3D val="0"/>
            <c:spPr>
              <a:solidFill>
                <a:schemeClr val="bg1">
                  <a:lumMod val="75000"/>
                </a:schemeClr>
              </a:solidFill>
            </c:spPr>
            <c:extLst>
              <c:ext xmlns:c16="http://schemas.microsoft.com/office/drawing/2014/chart" uri="{C3380CC4-5D6E-409C-BE32-E72D297353CC}">
                <c16:uniqueId val="{00000000-A8B0-478E-A36C-DAE818295D4F}"/>
              </c:ext>
            </c:extLst>
          </c:dPt>
          <c:dPt>
            <c:idx val="16"/>
            <c:invertIfNegative val="0"/>
            <c:bubble3D val="0"/>
            <c:spPr>
              <a:solidFill>
                <a:schemeClr val="bg1">
                  <a:lumMod val="75000"/>
                </a:schemeClr>
              </a:solidFill>
            </c:spPr>
            <c:extLst>
              <c:ext xmlns:c16="http://schemas.microsoft.com/office/drawing/2014/chart" uri="{C3380CC4-5D6E-409C-BE32-E72D297353CC}">
                <c16:uniqueId val="{00000001-A8B0-478E-A36C-DAE818295D4F}"/>
              </c:ext>
            </c:extLst>
          </c:dPt>
          <c:dPt>
            <c:idx val="25"/>
            <c:invertIfNegative val="0"/>
            <c:bubble3D val="0"/>
            <c:extLst>
              <c:ext xmlns:c16="http://schemas.microsoft.com/office/drawing/2014/chart" uri="{C3380CC4-5D6E-409C-BE32-E72D297353CC}">
                <c16:uniqueId val="{00000001-BAAD-4EDE-B852-3FBFE25BFF49}"/>
              </c:ext>
            </c:extLst>
          </c:dPt>
          <c:dLbls>
            <c:spPr>
              <a:noFill/>
              <a:ln>
                <a:noFill/>
              </a:ln>
              <a:effectLst/>
            </c:spPr>
            <c:txPr>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10</c:f>
              <c:strCache>
                <c:ptCount val="9"/>
                <c:pt idx="0">
                  <c:v> Sozialen Umkreis</c:v>
                </c:pt>
                <c:pt idx="1">
                  <c:v> Soziale Medien</c:v>
                </c:pt>
                <c:pt idx="2">
                  <c:v> Zeitung/Zeitschrift</c:v>
                </c:pt>
                <c:pt idx="3">
                  <c:v> Arzt/Apotheke/Drogerie</c:v>
                </c:pt>
                <c:pt idx="4">
                  <c:v> TV</c:v>
                </c:pt>
                <c:pt idx="5">
                  <c:v> Radio</c:v>
                </c:pt>
                <c:pt idx="6">
                  <c:v> Messen</c:v>
                </c:pt>
                <c:pt idx="7">
                  <c:v> Anderswo</c:v>
                </c:pt>
                <c:pt idx="8">
                  <c:v> Weiss nicht/keine Angabe</c:v>
                </c:pt>
              </c:strCache>
            </c:strRef>
          </c:cat>
          <c:val>
            <c:numRef>
              <c:f>Tabelle1!$B$2:$B$10</c:f>
              <c:numCache>
                <c:formatCode>0%</c:formatCode>
                <c:ptCount val="9"/>
                <c:pt idx="0">
                  <c:v>0.64400000000000002</c:v>
                </c:pt>
                <c:pt idx="1">
                  <c:v>0.221</c:v>
                </c:pt>
                <c:pt idx="2">
                  <c:v>0.20599999999999999</c:v>
                </c:pt>
                <c:pt idx="3">
                  <c:v>0.14399999999999999</c:v>
                </c:pt>
                <c:pt idx="4">
                  <c:v>8.5999999999999993E-2</c:v>
                </c:pt>
                <c:pt idx="5">
                  <c:v>5.7000000000000002E-2</c:v>
                </c:pt>
                <c:pt idx="6">
                  <c:v>3.4000000000000002E-2</c:v>
                </c:pt>
                <c:pt idx="7">
                  <c:v>0.126</c:v>
                </c:pt>
                <c:pt idx="8">
                  <c:v>4.9000000000000002E-2</c:v>
                </c:pt>
              </c:numCache>
            </c:numRef>
          </c:val>
          <c:extLst>
            <c:ext xmlns:c16="http://schemas.microsoft.com/office/drawing/2014/chart" uri="{C3380CC4-5D6E-409C-BE32-E72D297353CC}">
              <c16:uniqueId val="{00000002-BAAD-4EDE-B852-3FBFE25BFF49}"/>
            </c:ext>
          </c:extLst>
        </c:ser>
        <c:dLbls>
          <c:showLegendKey val="0"/>
          <c:showVal val="0"/>
          <c:showCatName val="0"/>
          <c:showSerName val="0"/>
          <c:showPercent val="0"/>
          <c:showBubbleSize val="0"/>
        </c:dLbls>
        <c:gapWidth val="65"/>
        <c:axId val="53095936"/>
        <c:axId val="137818048"/>
      </c:barChart>
      <c:catAx>
        <c:axId val="53095936"/>
        <c:scaling>
          <c:orientation val="maxMin"/>
        </c:scaling>
        <c:delete val="0"/>
        <c:axPos val="l"/>
        <c:numFmt formatCode="General" sourceLinked="0"/>
        <c:majorTickMark val="none"/>
        <c:minorTickMark val="none"/>
        <c:tickLblPos val="nextTo"/>
        <c:txPr>
          <a:bodyPr/>
          <a:lstStyle/>
          <a:p>
            <a:pPr algn="r">
              <a:defRPr sz="10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plotVisOnly val="1"/>
    <c:dispBlanksAs val="gap"/>
    <c:showDLblsOverMax val="0"/>
  </c:chart>
  <c:txPr>
    <a:bodyPr/>
    <a:lstStyle/>
    <a:p>
      <a:pPr>
        <a:defRPr sz="18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938032596296647"/>
          <c:y val="9.2040452936335393E-2"/>
          <c:w val="0.46310336077491426"/>
          <c:h val="0.80342991123616569"/>
        </c:manualLayout>
      </c:layout>
      <c:barChart>
        <c:barDir val="bar"/>
        <c:grouping val="clustered"/>
        <c:varyColors val="0"/>
        <c:ser>
          <c:idx val="0"/>
          <c:order val="0"/>
          <c:tx>
            <c:strRef>
              <c:f>Tabelle1!$B$1</c:f>
              <c:strCache>
                <c:ptCount val="1"/>
                <c:pt idx="0">
                  <c:v>Spalte1</c:v>
                </c:pt>
              </c:strCache>
            </c:strRef>
          </c:tx>
          <c:spPr>
            <a:solidFill>
              <a:schemeClr val="accent2"/>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spPr>
              <a:solidFill>
                <a:schemeClr val="bg1">
                  <a:lumMod val="75000"/>
                </a:schemeClr>
              </a:solidFill>
            </c:spPr>
            <c:extLst>
              <c:ext xmlns:c16="http://schemas.microsoft.com/office/drawing/2014/chart" uri="{C3380CC4-5D6E-409C-BE32-E72D297353CC}">
                <c16:uniqueId val="{00000000-9625-470E-AB92-E576FCBE9BB1}"/>
              </c:ext>
            </c:extLst>
          </c:dPt>
          <c:dPt>
            <c:idx val="25"/>
            <c:invertIfNegative val="0"/>
            <c:bubble3D val="0"/>
            <c:extLst>
              <c:ext xmlns:c16="http://schemas.microsoft.com/office/drawing/2014/chart" uri="{C3380CC4-5D6E-409C-BE32-E72D297353CC}">
                <c16:uniqueId val="{00000001-BAAD-4EDE-B852-3FBFE25BFF49}"/>
              </c:ext>
            </c:extLst>
          </c:dPt>
          <c:dLbls>
            <c:spPr>
              <a:noFill/>
              <a:ln>
                <a:noFill/>
              </a:ln>
              <a:effectLst/>
            </c:spPr>
            <c:txPr>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Ja, in letzten 12 Monaten frei erhältliche CBD-Produkte genutzt</c:v>
                </c:pt>
                <c:pt idx="1">
                  <c:v>Ja, früher frei erhältliche CBD Produkte genutzt</c:v>
                </c:pt>
                <c:pt idx="2">
                  <c:v>Nein, noch nie frei erhältliche CBD Produkte genutzt</c:v>
                </c:pt>
                <c:pt idx="3">
                  <c:v>Weiss nicht /
keine Antwort</c:v>
                </c:pt>
              </c:strCache>
            </c:strRef>
          </c:cat>
          <c:val>
            <c:numRef>
              <c:f>Tabelle1!$B$2:$B$5</c:f>
              <c:numCache>
                <c:formatCode>0%</c:formatCode>
                <c:ptCount val="4"/>
                <c:pt idx="0">
                  <c:v>0.13900000000000001</c:v>
                </c:pt>
                <c:pt idx="1">
                  <c:v>0.115</c:v>
                </c:pt>
                <c:pt idx="2">
                  <c:v>0.74</c:v>
                </c:pt>
                <c:pt idx="3">
                  <c:v>6.0000000000000001E-3</c:v>
                </c:pt>
              </c:numCache>
            </c:numRef>
          </c:val>
          <c:extLst>
            <c:ext xmlns:c16="http://schemas.microsoft.com/office/drawing/2014/chart" uri="{C3380CC4-5D6E-409C-BE32-E72D297353CC}">
              <c16:uniqueId val="{00000002-BAAD-4EDE-B852-3FBFE25BFF49}"/>
            </c:ext>
          </c:extLst>
        </c:ser>
        <c:dLbls>
          <c:showLegendKey val="0"/>
          <c:showVal val="0"/>
          <c:showCatName val="0"/>
          <c:showSerName val="0"/>
          <c:showPercent val="0"/>
          <c:showBubbleSize val="0"/>
        </c:dLbls>
        <c:gapWidth val="153"/>
        <c:axId val="53095936"/>
        <c:axId val="137818048"/>
      </c:barChart>
      <c:catAx>
        <c:axId val="53095936"/>
        <c:scaling>
          <c:orientation val="maxMin"/>
        </c:scaling>
        <c:delete val="0"/>
        <c:axPos val="l"/>
        <c:numFmt formatCode="General" sourceLinked="0"/>
        <c:majorTickMark val="none"/>
        <c:minorTickMark val="none"/>
        <c:tickLblPos val="nextTo"/>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plotVisOnly val="1"/>
    <c:dispBlanksAs val="gap"/>
    <c:showDLblsOverMax val="0"/>
  </c:chart>
  <c:txPr>
    <a:bodyPr/>
    <a:lstStyle/>
    <a:p>
      <a:pPr>
        <a:defRPr sz="1800"/>
      </a:pPr>
      <a:endParaRPr lang="de-DE"/>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104959629280667"/>
          <c:y val="9.2040430389156117E-2"/>
          <c:w val="0.45769326735290644"/>
          <c:h val="0.82873155531176257"/>
        </c:manualLayout>
      </c:layout>
      <c:barChart>
        <c:barDir val="bar"/>
        <c:grouping val="clustered"/>
        <c:varyColors val="0"/>
        <c:ser>
          <c:idx val="0"/>
          <c:order val="0"/>
          <c:tx>
            <c:strRef>
              <c:f>Tabelle1!$B$1</c:f>
              <c:strCache>
                <c:ptCount val="1"/>
                <c:pt idx="0">
                  <c:v>Männer (A) [178]</c:v>
                </c:pt>
              </c:strCache>
            </c:strRef>
          </c:tx>
          <c:spPr>
            <a:solidFill>
              <a:schemeClr val="accent6"/>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7"/>
            <c:invertIfNegative val="0"/>
            <c:bubble3D val="0"/>
            <c:spPr>
              <a:solidFill>
                <a:schemeClr val="bg1">
                  <a:lumMod val="75000"/>
                </a:schemeClr>
              </a:solidFill>
            </c:spPr>
            <c:extLst>
              <c:ext xmlns:c16="http://schemas.microsoft.com/office/drawing/2014/chart" uri="{C3380CC4-5D6E-409C-BE32-E72D297353CC}">
                <c16:uniqueId val="{0000000D-8F86-4890-934F-54D1CD4DADD6}"/>
              </c:ext>
            </c:extLst>
          </c:dPt>
          <c:dPt>
            <c:idx val="8"/>
            <c:invertIfNegative val="0"/>
            <c:bubble3D val="0"/>
            <c:spPr>
              <a:solidFill>
                <a:schemeClr val="bg1">
                  <a:lumMod val="75000"/>
                </a:schemeClr>
              </a:solidFill>
            </c:spPr>
            <c:extLst>
              <c:ext xmlns:c16="http://schemas.microsoft.com/office/drawing/2014/chart" uri="{C3380CC4-5D6E-409C-BE32-E72D297353CC}">
                <c16:uniqueId val="{0000000E-8F86-4890-934F-54D1CD4DADD6}"/>
              </c:ext>
            </c:extLst>
          </c:dPt>
          <c:dPt>
            <c:idx val="14"/>
            <c:invertIfNegative val="0"/>
            <c:bubble3D val="0"/>
            <c:spPr>
              <a:solidFill>
                <a:schemeClr val="bg1">
                  <a:lumMod val="75000"/>
                </a:schemeClr>
              </a:solidFill>
            </c:spPr>
            <c:extLst>
              <c:ext xmlns:c16="http://schemas.microsoft.com/office/drawing/2014/chart" uri="{C3380CC4-5D6E-409C-BE32-E72D297353CC}">
                <c16:uniqueId val="{00000000-B002-4D1F-97C0-1795A68D671E}"/>
              </c:ext>
            </c:extLst>
          </c:dPt>
          <c:dPt>
            <c:idx val="15"/>
            <c:invertIfNegative val="0"/>
            <c:bubble3D val="0"/>
            <c:spPr>
              <a:solidFill>
                <a:schemeClr val="bg1">
                  <a:lumMod val="75000"/>
                </a:schemeClr>
              </a:solidFill>
            </c:spPr>
            <c:extLst>
              <c:ext xmlns:c16="http://schemas.microsoft.com/office/drawing/2014/chart" uri="{C3380CC4-5D6E-409C-BE32-E72D297353CC}">
                <c16:uniqueId val="{00000001-B002-4D1F-97C0-1795A68D671E}"/>
              </c:ext>
            </c:extLst>
          </c:dPt>
          <c:dPt>
            <c:idx val="24"/>
            <c:invertIfNegative val="0"/>
            <c:bubble3D val="0"/>
            <c:extLst>
              <c:ext xmlns:c16="http://schemas.microsoft.com/office/drawing/2014/chart" uri="{C3380CC4-5D6E-409C-BE32-E72D297353CC}">
                <c16:uniqueId val="{00000001-BAAD-4EDE-B852-3FBFE25BFF49}"/>
              </c:ext>
            </c:extLst>
          </c:dPt>
          <c:dLbls>
            <c:dLbl>
              <c:idx val="5"/>
              <c:tx>
                <c:rich>
                  <a:bodyPr/>
                  <a:lstStyle/>
                  <a:p>
                    <a:fld id="{CE6A037F-E451-F84E-A101-C25FAD9EB493}" type="VALUE">
                      <a:rPr lang="en-US" smtClean="0"/>
                      <a:pPr/>
                      <a:t>[WERT]</a:t>
                    </a:fld>
                    <a:r>
                      <a:rPr lang="en-US"/>
                      <a:t> B</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7792-B542-8DE8-9F9C2090B2C5}"/>
                </c:ext>
              </c:extLst>
            </c:dLbl>
            <c:dLbl>
              <c:idx val="7"/>
              <c:tx>
                <c:rich>
                  <a:bodyPr/>
                  <a:lstStyle/>
                  <a:p>
                    <a:fld id="{A1264B6A-72EC-A84E-96B6-A7C513F5EFA4}" type="VALUE">
                      <a:rPr lang="en-US" smtClean="0"/>
                      <a:pPr/>
                      <a:t>[WERT]</a:t>
                    </a:fld>
                    <a:r>
                      <a:rPr lang="en-US"/>
                      <a:t> B</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8F86-4890-934F-54D1CD4DADD6}"/>
                </c:ext>
              </c:extLst>
            </c:dLbl>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10</c:f>
              <c:numCache>
                <c:formatCode>General</c:formatCode>
                <c:ptCount val="9"/>
              </c:numCache>
            </c:numRef>
          </c:cat>
          <c:val>
            <c:numRef>
              <c:f>Tabelle1!$B$2:$B$10</c:f>
              <c:numCache>
                <c:formatCode>0%</c:formatCode>
                <c:ptCount val="9"/>
                <c:pt idx="0">
                  <c:v>0.59199999999999997</c:v>
                </c:pt>
                <c:pt idx="1">
                  <c:v>0.248</c:v>
                </c:pt>
                <c:pt idx="2">
                  <c:v>0.219</c:v>
                </c:pt>
                <c:pt idx="3">
                  <c:v>0.11</c:v>
                </c:pt>
                <c:pt idx="4">
                  <c:v>9.7000000000000003E-2</c:v>
                </c:pt>
                <c:pt idx="5">
                  <c:v>0.09</c:v>
                </c:pt>
                <c:pt idx="6">
                  <c:v>5.2999999999999999E-2</c:v>
                </c:pt>
                <c:pt idx="7">
                  <c:v>0.16700000000000001</c:v>
                </c:pt>
                <c:pt idx="8">
                  <c:v>7.0000000000000007E-2</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Frauen (B) [228]</c:v>
                </c:pt>
              </c:strCache>
            </c:strRef>
          </c:tx>
          <c:spPr>
            <a:solidFill>
              <a:schemeClr val="accent6">
                <a:lumMod val="60000"/>
                <a:lumOff val="40000"/>
              </a:schemeClr>
            </a:solidFill>
          </c:spPr>
          <c:invertIfNegative val="0"/>
          <c:dPt>
            <c:idx val="7"/>
            <c:invertIfNegative val="0"/>
            <c:bubble3D val="0"/>
            <c:spPr>
              <a:solidFill>
                <a:schemeClr val="bg1">
                  <a:lumMod val="85000"/>
                </a:schemeClr>
              </a:solidFill>
            </c:spPr>
            <c:extLst>
              <c:ext xmlns:c16="http://schemas.microsoft.com/office/drawing/2014/chart" uri="{C3380CC4-5D6E-409C-BE32-E72D297353CC}">
                <c16:uniqueId val="{0000000F-8F86-4890-934F-54D1CD4DADD6}"/>
              </c:ext>
            </c:extLst>
          </c:dPt>
          <c:dPt>
            <c:idx val="8"/>
            <c:invertIfNegative val="0"/>
            <c:bubble3D val="0"/>
            <c:spPr>
              <a:solidFill>
                <a:schemeClr val="bg1">
                  <a:lumMod val="85000"/>
                </a:schemeClr>
              </a:solidFill>
            </c:spPr>
            <c:extLst>
              <c:ext xmlns:c16="http://schemas.microsoft.com/office/drawing/2014/chart" uri="{C3380CC4-5D6E-409C-BE32-E72D297353CC}">
                <c16:uniqueId val="{00000010-8F86-4890-934F-54D1CD4DADD6}"/>
              </c:ext>
            </c:extLst>
          </c:dPt>
          <c:dPt>
            <c:idx val="14"/>
            <c:invertIfNegative val="0"/>
            <c:bubble3D val="0"/>
            <c:spPr>
              <a:solidFill>
                <a:schemeClr val="bg1">
                  <a:lumMod val="85000"/>
                </a:schemeClr>
              </a:solidFill>
            </c:spPr>
            <c:extLst>
              <c:ext xmlns:c16="http://schemas.microsoft.com/office/drawing/2014/chart" uri="{C3380CC4-5D6E-409C-BE32-E72D297353CC}">
                <c16:uniqueId val="{00000002-B002-4D1F-97C0-1795A68D671E}"/>
              </c:ext>
            </c:extLst>
          </c:dPt>
          <c:dPt>
            <c:idx val="15"/>
            <c:invertIfNegative val="0"/>
            <c:bubble3D val="0"/>
            <c:spPr>
              <a:solidFill>
                <a:schemeClr val="bg1">
                  <a:lumMod val="85000"/>
                </a:schemeClr>
              </a:solidFill>
            </c:spPr>
            <c:extLst>
              <c:ext xmlns:c16="http://schemas.microsoft.com/office/drawing/2014/chart" uri="{C3380CC4-5D6E-409C-BE32-E72D297353CC}">
                <c16:uniqueId val="{00000003-B002-4D1F-97C0-1795A68D671E}"/>
              </c:ext>
            </c:extLst>
          </c:dPt>
          <c:dLbls>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0</c:f>
              <c:numCache>
                <c:formatCode>General</c:formatCode>
                <c:ptCount val="9"/>
              </c:numCache>
            </c:numRef>
          </c:cat>
          <c:val>
            <c:numRef>
              <c:f>Tabelle1!$C$2:$C$10</c:f>
              <c:numCache>
                <c:formatCode>0%</c:formatCode>
                <c:ptCount val="9"/>
                <c:pt idx="0">
                  <c:v>0.68500000000000005</c:v>
                </c:pt>
                <c:pt idx="1">
                  <c:v>0.19900000000000001</c:v>
                </c:pt>
                <c:pt idx="2">
                  <c:v>0.19500000000000001</c:v>
                </c:pt>
                <c:pt idx="3">
                  <c:v>0.17199999999999999</c:v>
                </c:pt>
                <c:pt idx="4">
                  <c:v>7.5999999999999998E-2</c:v>
                </c:pt>
                <c:pt idx="5">
                  <c:v>2.9000000000000001E-2</c:v>
                </c:pt>
                <c:pt idx="6">
                  <c:v>1.7999999999999999E-2</c:v>
                </c:pt>
                <c:pt idx="7">
                  <c:v>9.4E-2</c:v>
                </c:pt>
                <c:pt idx="8">
                  <c:v>3.1E-2</c:v>
                </c:pt>
              </c:numCache>
            </c:numRef>
          </c:val>
          <c:extLst>
            <c:ext xmlns:c16="http://schemas.microsoft.com/office/drawing/2014/chart" uri="{C3380CC4-5D6E-409C-BE32-E72D297353CC}">
              <c16:uniqueId val="{0000000E-7D8A-4AF0-AE26-9A9D5F9F8697}"/>
            </c:ext>
          </c:extLst>
        </c:ser>
        <c:dLbls>
          <c:showLegendKey val="0"/>
          <c:showVal val="0"/>
          <c:showCatName val="0"/>
          <c:showSerName val="0"/>
          <c:showPercent val="0"/>
          <c:showBubbleSize val="0"/>
        </c:dLbls>
        <c:gapWidth val="81"/>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0.3395328404828229"/>
          <c:y val="0.93548213577752082"/>
          <c:w val="0.40172488254216432"/>
          <c:h val="6.1706570436301726E-2"/>
        </c:manualLayout>
      </c:layout>
      <c:overlay val="0"/>
      <c:txPr>
        <a:bodyPr/>
        <a:lstStyle/>
        <a:p>
          <a:pPr>
            <a:defRPr sz="8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09553543597054"/>
          <c:y val="9.2040430389156117E-2"/>
          <c:w val="0.45769326735290644"/>
          <c:h val="0.82592026152558518"/>
        </c:manualLayout>
      </c:layout>
      <c:barChart>
        <c:barDir val="bar"/>
        <c:grouping val="clustered"/>
        <c:varyColors val="0"/>
        <c:ser>
          <c:idx val="0"/>
          <c:order val="0"/>
          <c:tx>
            <c:strRef>
              <c:f>Tabelle1!$B$1</c:f>
              <c:strCache>
                <c:ptCount val="1"/>
                <c:pt idx="0">
                  <c:v>15-29 J. (C) [119]</c:v>
                </c:pt>
              </c:strCache>
            </c:strRef>
          </c:tx>
          <c:spPr>
            <a:solidFill>
              <a:schemeClr val="accent4">
                <a:lumMod val="75000"/>
              </a:schemeClr>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7"/>
            <c:invertIfNegative val="0"/>
            <c:bubble3D val="0"/>
            <c:spPr>
              <a:solidFill>
                <a:schemeClr val="bg1">
                  <a:lumMod val="50000"/>
                </a:schemeClr>
              </a:solidFill>
            </c:spPr>
            <c:extLst>
              <c:ext xmlns:c16="http://schemas.microsoft.com/office/drawing/2014/chart" uri="{C3380CC4-5D6E-409C-BE32-E72D297353CC}">
                <c16:uniqueId val="{00000016-20B0-498C-AD2F-51C30B2CB864}"/>
              </c:ext>
            </c:extLst>
          </c:dPt>
          <c:dPt>
            <c:idx val="8"/>
            <c:invertIfNegative val="0"/>
            <c:bubble3D val="0"/>
            <c:spPr>
              <a:solidFill>
                <a:schemeClr val="bg1">
                  <a:lumMod val="50000"/>
                </a:schemeClr>
              </a:solidFill>
            </c:spPr>
            <c:extLst>
              <c:ext xmlns:c16="http://schemas.microsoft.com/office/drawing/2014/chart" uri="{C3380CC4-5D6E-409C-BE32-E72D297353CC}">
                <c16:uniqueId val="{00000017-20B0-498C-AD2F-51C30B2CB864}"/>
              </c:ext>
            </c:extLst>
          </c:dPt>
          <c:dPt>
            <c:idx val="15"/>
            <c:invertIfNegative val="0"/>
            <c:bubble3D val="0"/>
            <c:spPr>
              <a:solidFill>
                <a:schemeClr val="bg1">
                  <a:lumMod val="50000"/>
                </a:schemeClr>
              </a:solidFill>
            </c:spPr>
            <c:extLst>
              <c:ext xmlns:c16="http://schemas.microsoft.com/office/drawing/2014/chart" uri="{C3380CC4-5D6E-409C-BE32-E72D297353CC}">
                <c16:uniqueId val="{00000000-EA47-4B35-88ED-C549BF575F65}"/>
              </c:ext>
            </c:extLst>
          </c:dPt>
          <c:dPt>
            <c:idx val="16"/>
            <c:invertIfNegative val="0"/>
            <c:bubble3D val="0"/>
            <c:spPr>
              <a:solidFill>
                <a:schemeClr val="bg1">
                  <a:lumMod val="50000"/>
                </a:schemeClr>
              </a:solidFill>
            </c:spPr>
            <c:extLst>
              <c:ext xmlns:c16="http://schemas.microsoft.com/office/drawing/2014/chart" uri="{C3380CC4-5D6E-409C-BE32-E72D297353CC}">
                <c16:uniqueId val="{00000001-EA47-4B35-88ED-C549BF575F65}"/>
              </c:ext>
            </c:extLst>
          </c:dPt>
          <c:dPt>
            <c:idx val="24"/>
            <c:invertIfNegative val="0"/>
            <c:bubble3D val="0"/>
            <c:extLst>
              <c:ext xmlns:c16="http://schemas.microsoft.com/office/drawing/2014/chart" uri="{C3380CC4-5D6E-409C-BE32-E72D297353CC}">
                <c16:uniqueId val="{00000001-BAAD-4EDE-B852-3FBFE25BFF49}"/>
              </c:ext>
            </c:extLst>
          </c:dPt>
          <c:dLbls>
            <c:dLbl>
              <c:idx val="1"/>
              <c:tx>
                <c:rich>
                  <a:bodyPr/>
                  <a:lstStyle/>
                  <a:p>
                    <a:fld id="{6A93B92A-F47E-0447-ADAA-5A77E251DB37}" type="VALUE">
                      <a:rPr lang="en-US" smtClean="0"/>
                      <a:pPr/>
                      <a:t>[WERT]</a:t>
                    </a:fld>
                    <a:r>
                      <a:rPr lang="en-US"/>
                      <a:t> DEF</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9625-470E-AB92-E576FCBE9BB1}"/>
                </c:ext>
              </c:extLst>
            </c:dLbl>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10</c:f>
              <c:numCache>
                <c:formatCode>General</c:formatCode>
                <c:ptCount val="9"/>
              </c:numCache>
            </c:numRef>
          </c:cat>
          <c:val>
            <c:numRef>
              <c:f>Tabelle1!$B$2:$B$10</c:f>
              <c:numCache>
                <c:formatCode>0%</c:formatCode>
                <c:ptCount val="9"/>
                <c:pt idx="0">
                  <c:v>0.67500000000000004</c:v>
                </c:pt>
                <c:pt idx="1">
                  <c:v>0.36499999999999999</c:v>
                </c:pt>
                <c:pt idx="2">
                  <c:v>0.14299999999999999</c:v>
                </c:pt>
                <c:pt idx="3">
                  <c:v>0.122</c:v>
                </c:pt>
                <c:pt idx="4">
                  <c:v>4.9000000000000002E-2</c:v>
                </c:pt>
                <c:pt idx="5">
                  <c:v>5.8999999999999997E-2</c:v>
                </c:pt>
                <c:pt idx="6">
                  <c:v>1.2E-2</c:v>
                </c:pt>
                <c:pt idx="7">
                  <c:v>0.14699999999999999</c:v>
                </c:pt>
                <c:pt idx="8">
                  <c:v>6.5000000000000002E-2</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30-44 J. (D) [131]</c:v>
                </c:pt>
              </c:strCache>
            </c:strRef>
          </c:tx>
          <c:spPr>
            <a:solidFill>
              <a:schemeClr val="accent4"/>
            </a:solidFill>
          </c:spPr>
          <c:invertIfNegative val="0"/>
          <c:dPt>
            <c:idx val="3"/>
            <c:invertIfNegative val="0"/>
            <c:bubble3D val="0"/>
            <c:extLst>
              <c:ext xmlns:c16="http://schemas.microsoft.com/office/drawing/2014/chart" uri="{C3380CC4-5D6E-409C-BE32-E72D297353CC}">
                <c16:uniqueId val="{00000010-7D8A-4AF0-AE26-9A9D5F9F8697}"/>
              </c:ext>
            </c:extLst>
          </c:dPt>
          <c:dPt>
            <c:idx val="7"/>
            <c:invertIfNegative val="0"/>
            <c:bubble3D val="0"/>
            <c:spPr>
              <a:solidFill>
                <a:schemeClr val="bg1">
                  <a:lumMod val="65000"/>
                </a:schemeClr>
              </a:solidFill>
            </c:spPr>
            <c:extLst>
              <c:ext xmlns:c16="http://schemas.microsoft.com/office/drawing/2014/chart" uri="{C3380CC4-5D6E-409C-BE32-E72D297353CC}">
                <c16:uniqueId val="{00000018-20B0-498C-AD2F-51C30B2CB864}"/>
              </c:ext>
            </c:extLst>
          </c:dPt>
          <c:dPt>
            <c:idx val="8"/>
            <c:invertIfNegative val="0"/>
            <c:bubble3D val="0"/>
            <c:spPr>
              <a:solidFill>
                <a:schemeClr val="bg1">
                  <a:lumMod val="65000"/>
                </a:schemeClr>
              </a:solidFill>
            </c:spPr>
            <c:extLst>
              <c:ext xmlns:c16="http://schemas.microsoft.com/office/drawing/2014/chart" uri="{C3380CC4-5D6E-409C-BE32-E72D297353CC}">
                <c16:uniqueId val="{00000019-20B0-498C-AD2F-51C30B2CB864}"/>
              </c:ext>
            </c:extLst>
          </c:dPt>
          <c:dPt>
            <c:idx val="15"/>
            <c:invertIfNegative val="0"/>
            <c:bubble3D val="0"/>
            <c:spPr>
              <a:solidFill>
                <a:schemeClr val="bg1">
                  <a:lumMod val="65000"/>
                </a:schemeClr>
              </a:solidFill>
            </c:spPr>
            <c:extLst>
              <c:ext xmlns:c16="http://schemas.microsoft.com/office/drawing/2014/chart" uri="{C3380CC4-5D6E-409C-BE32-E72D297353CC}">
                <c16:uniqueId val="{00000002-EA47-4B35-88ED-C549BF575F65}"/>
              </c:ext>
            </c:extLst>
          </c:dPt>
          <c:dPt>
            <c:idx val="16"/>
            <c:invertIfNegative val="0"/>
            <c:bubble3D val="0"/>
            <c:spPr>
              <a:solidFill>
                <a:schemeClr val="bg1">
                  <a:lumMod val="65000"/>
                </a:schemeClr>
              </a:solidFill>
            </c:spPr>
            <c:extLst>
              <c:ext xmlns:c16="http://schemas.microsoft.com/office/drawing/2014/chart" uri="{C3380CC4-5D6E-409C-BE32-E72D297353CC}">
                <c16:uniqueId val="{00000003-EA47-4B35-88ED-C549BF575F65}"/>
              </c:ext>
            </c:extLst>
          </c:dPt>
          <c:dLbls>
            <c:dLbl>
              <c:idx val="1"/>
              <c:tx>
                <c:rich>
                  <a:bodyPr/>
                  <a:lstStyle/>
                  <a:p>
                    <a:fld id="{88D53A90-658B-3149-B15F-787057A9606A}" type="VALUE">
                      <a:rPr lang="en-US" smtClean="0"/>
                      <a:pPr/>
                      <a:t>[WERT]</a:t>
                    </a:fld>
                    <a:r>
                      <a:rPr lang="en-US"/>
                      <a:t> E</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6-2E26-BC4E-BA54-44992A8DFB80}"/>
                </c:ext>
              </c:extLst>
            </c:dLbl>
            <c:dLbl>
              <c:idx val="6"/>
              <c:tx>
                <c:rich>
                  <a:bodyPr/>
                  <a:lstStyle/>
                  <a:p>
                    <a:fld id="{9F469DBB-8A76-9840-ADCA-CF21EE467412}" type="VALUE">
                      <a:rPr lang="en-US" smtClean="0"/>
                      <a:pPr/>
                      <a:t>[WERT]</a:t>
                    </a:fld>
                    <a:r>
                      <a:rPr lang="en-US"/>
                      <a:t> C</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8-2E26-BC4E-BA54-44992A8DFB80}"/>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0</c:f>
              <c:numCache>
                <c:formatCode>General</c:formatCode>
                <c:ptCount val="9"/>
              </c:numCache>
            </c:numRef>
          </c:cat>
          <c:val>
            <c:numRef>
              <c:f>Tabelle1!$C$2:$C$10</c:f>
              <c:numCache>
                <c:formatCode>0%</c:formatCode>
                <c:ptCount val="9"/>
                <c:pt idx="0">
                  <c:v>0.629</c:v>
                </c:pt>
                <c:pt idx="1">
                  <c:v>0.22</c:v>
                </c:pt>
                <c:pt idx="2">
                  <c:v>0.192</c:v>
                </c:pt>
                <c:pt idx="3">
                  <c:v>0.192</c:v>
                </c:pt>
                <c:pt idx="4">
                  <c:v>0.105</c:v>
                </c:pt>
                <c:pt idx="5">
                  <c:v>8.3000000000000004E-2</c:v>
                </c:pt>
                <c:pt idx="6">
                  <c:v>6.6000000000000003E-2</c:v>
                </c:pt>
                <c:pt idx="7">
                  <c:v>0.121</c:v>
                </c:pt>
                <c:pt idx="8">
                  <c:v>5.1999999999999998E-2</c:v>
                </c:pt>
              </c:numCache>
            </c:numRef>
          </c:val>
          <c:extLst>
            <c:ext xmlns:c16="http://schemas.microsoft.com/office/drawing/2014/chart" uri="{C3380CC4-5D6E-409C-BE32-E72D297353CC}">
              <c16:uniqueId val="{0000000E-7D8A-4AF0-AE26-9A9D5F9F8697}"/>
            </c:ext>
          </c:extLst>
        </c:ser>
        <c:ser>
          <c:idx val="2"/>
          <c:order val="2"/>
          <c:tx>
            <c:strRef>
              <c:f>Tabelle1!$D$1</c:f>
              <c:strCache>
                <c:ptCount val="1"/>
                <c:pt idx="0">
                  <c:v>45-59 J. (E) [99]</c:v>
                </c:pt>
              </c:strCache>
            </c:strRef>
          </c:tx>
          <c:spPr>
            <a:solidFill>
              <a:schemeClr val="accent4">
                <a:lumMod val="60000"/>
                <a:lumOff val="40000"/>
              </a:schemeClr>
            </a:solidFill>
          </c:spPr>
          <c:invertIfNegative val="0"/>
          <c:dPt>
            <c:idx val="7"/>
            <c:invertIfNegative val="0"/>
            <c:bubble3D val="0"/>
            <c:spPr>
              <a:solidFill>
                <a:schemeClr val="bg1">
                  <a:lumMod val="75000"/>
                </a:schemeClr>
              </a:solidFill>
            </c:spPr>
            <c:extLst>
              <c:ext xmlns:c16="http://schemas.microsoft.com/office/drawing/2014/chart" uri="{C3380CC4-5D6E-409C-BE32-E72D297353CC}">
                <c16:uniqueId val="{0000001A-20B0-498C-AD2F-51C30B2CB864}"/>
              </c:ext>
            </c:extLst>
          </c:dPt>
          <c:dPt>
            <c:idx val="8"/>
            <c:invertIfNegative val="0"/>
            <c:bubble3D val="0"/>
            <c:spPr>
              <a:solidFill>
                <a:schemeClr val="bg1">
                  <a:lumMod val="75000"/>
                </a:schemeClr>
              </a:solidFill>
            </c:spPr>
            <c:extLst>
              <c:ext xmlns:c16="http://schemas.microsoft.com/office/drawing/2014/chart" uri="{C3380CC4-5D6E-409C-BE32-E72D297353CC}">
                <c16:uniqueId val="{0000001B-20B0-498C-AD2F-51C30B2CB864}"/>
              </c:ext>
            </c:extLst>
          </c:dPt>
          <c:dPt>
            <c:idx val="15"/>
            <c:invertIfNegative val="0"/>
            <c:bubble3D val="0"/>
            <c:spPr>
              <a:solidFill>
                <a:schemeClr val="bg1">
                  <a:lumMod val="75000"/>
                </a:schemeClr>
              </a:solidFill>
            </c:spPr>
            <c:extLst>
              <c:ext xmlns:c16="http://schemas.microsoft.com/office/drawing/2014/chart" uri="{C3380CC4-5D6E-409C-BE32-E72D297353CC}">
                <c16:uniqueId val="{00000004-EA47-4B35-88ED-C549BF575F65}"/>
              </c:ext>
            </c:extLst>
          </c:dPt>
          <c:dPt>
            <c:idx val="16"/>
            <c:invertIfNegative val="0"/>
            <c:bubble3D val="0"/>
            <c:spPr>
              <a:solidFill>
                <a:schemeClr val="bg1">
                  <a:lumMod val="75000"/>
                </a:schemeClr>
              </a:solidFill>
            </c:spPr>
            <c:extLst>
              <c:ext xmlns:c16="http://schemas.microsoft.com/office/drawing/2014/chart" uri="{C3380CC4-5D6E-409C-BE32-E72D297353CC}">
                <c16:uniqueId val="{00000005-EA47-4B35-88ED-C549BF575F65}"/>
              </c:ext>
            </c:extLst>
          </c:dPt>
          <c:dLbls>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0</c:f>
              <c:numCache>
                <c:formatCode>General</c:formatCode>
                <c:ptCount val="9"/>
              </c:numCache>
            </c:numRef>
          </c:cat>
          <c:val>
            <c:numRef>
              <c:f>Tabelle1!$D$2:$D$10</c:f>
              <c:numCache>
                <c:formatCode>0%</c:formatCode>
                <c:ptCount val="9"/>
                <c:pt idx="0">
                  <c:v>0.65200000000000002</c:v>
                </c:pt>
                <c:pt idx="1">
                  <c:v>0.112</c:v>
                </c:pt>
                <c:pt idx="2">
                  <c:v>0.20599999999999999</c:v>
                </c:pt>
                <c:pt idx="3">
                  <c:v>0.104</c:v>
                </c:pt>
                <c:pt idx="4">
                  <c:v>9.2999999999999999E-2</c:v>
                </c:pt>
                <c:pt idx="5">
                  <c:v>3.3000000000000002E-2</c:v>
                </c:pt>
                <c:pt idx="6">
                  <c:v>2.4E-2</c:v>
                </c:pt>
                <c:pt idx="7">
                  <c:v>0.127</c:v>
                </c:pt>
                <c:pt idx="8">
                  <c:v>0.04</c:v>
                </c:pt>
              </c:numCache>
            </c:numRef>
          </c:val>
          <c:extLst>
            <c:ext xmlns:c16="http://schemas.microsoft.com/office/drawing/2014/chart" uri="{C3380CC4-5D6E-409C-BE32-E72D297353CC}">
              <c16:uniqueId val="{0000000B-A4AA-4B61-ADC3-6229709C4A52}"/>
            </c:ext>
          </c:extLst>
        </c:ser>
        <c:ser>
          <c:idx val="3"/>
          <c:order val="3"/>
          <c:tx>
            <c:strRef>
              <c:f>Tabelle1!$E$1</c:f>
              <c:strCache>
                <c:ptCount val="1"/>
                <c:pt idx="0">
                  <c:v>60+ J. (F) [56]</c:v>
                </c:pt>
              </c:strCache>
            </c:strRef>
          </c:tx>
          <c:spPr>
            <a:solidFill>
              <a:schemeClr val="accent4">
                <a:lumMod val="40000"/>
                <a:lumOff val="60000"/>
              </a:schemeClr>
            </a:solidFill>
          </c:spPr>
          <c:invertIfNegative val="0"/>
          <c:dPt>
            <c:idx val="7"/>
            <c:invertIfNegative val="0"/>
            <c:bubble3D val="0"/>
            <c:spPr>
              <a:solidFill>
                <a:schemeClr val="bg1">
                  <a:lumMod val="85000"/>
                </a:schemeClr>
              </a:solidFill>
            </c:spPr>
            <c:extLst>
              <c:ext xmlns:c16="http://schemas.microsoft.com/office/drawing/2014/chart" uri="{C3380CC4-5D6E-409C-BE32-E72D297353CC}">
                <c16:uniqueId val="{0000001C-20B0-498C-AD2F-51C30B2CB864}"/>
              </c:ext>
            </c:extLst>
          </c:dPt>
          <c:dPt>
            <c:idx val="8"/>
            <c:invertIfNegative val="0"/>
            <c:bubble3D val="0"/>
            <c:spPr>
              <a:solidFill>
                <a:schemeClr val="bg1">
                  <a:lumMod val="85000"/>
                </a:schemeClr>
              </a:solidFill>
            </c:spPr>
            <c:extLst>
              <c:ext xmlns:c16="http://schemas.microsoft.com/office/drawing/2014/chart" uri="{C3380CC4-5D6E-409C-BE32-E72D297353CC}">
                <c16:uniqueId val="{0000001D-20B0-498C-AD2F-51C30B2CB864}"/>
              </c:ext>
            </c:extLst>
          </c:dPt>
          <c:dPt>
            <c:idx val="15"/>
            <c:invertIfNegative val="0"/>
            <c:bubble3D val="0"/>
            <c:spPr>
              <a:solidFill>
                <a:schemeClr val="bg1">
                  <a:lumMod val="85000"/>
                </a:schemeClr>
              </a:solidFill>
            </c:spPr>
            <c:extLst>
              <c:ext xmlns:c16="http://schemas.microsoft.com/office/drawing/2014/chart" uri="{C3380CC4-5D6E-409C-BE32-E72D297353CC}">
                <c16:uniqueId val="{00000006-EA47-4B35-88ED-C549BF575F65}"/>
              </c:ext>
            </c:extLst>
          </c:dPt>
          <c:dPt>
            <c:idx val="16"/>
            <c:invertIfNegative val="0"/>
            <c:bubble3D val="0"/>
            <c:spPr>
              <a:solidFill>
                <a:schemeClr val="bg1">
                  <a:lumMod val="85000"/>
                </a:schemeClr>
              </a:solidFill>
            </c:spPr>
            <c:extLst>
              <c:ext xmlns:c16="http://schemas.microsoft.com/office/drawing/2014/chart" uri="{C3380CC4-5D6E-409C-BE32-E72D297353CC}">
                <c16:uniqueId val="{00000007-EA47-4B35-88ED-C549BF575F65}"/>
              </c:ext>
            </c:extLst>
          </c:dPt>
          <c:dLbls>
            <c:dLbl>
              <c:idx val="2"/>
              <c:tx>
                <c:rich>
                  <a:bodyPr/>
                  <a:lstStyle/>
                  <a:p>
                    <a:fld id="{1C703EB3-BB35-1C47-872F-A5CF5C310F5A}" type="VALUE">
                      <a:rPr lang="en-US" smtClean="0"/>
                      <a:pPr/>
                      <a:t>[WERT]</a:t>
                    </a:fld>
                    <a:r>
                      <a:rPr lang="en-US"/>
                      <a:t> CDE</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7-2E26-BC4E-BA54-44992A8DFB80}"/>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0</c:f>
              <c:numCache>
                <c:formatCode>General</c:formatCode>
                <c:ptCount val="9"/>
              </c:numCache>
            </c:numRef>
          </c:cat>
          <c:val>
            <c:numRef>
              <c:f>Tabelle1!$E$2:$E$10</c:f>
              <c:numCache>
                <c:formatCode>0%</c:formatCode>
                <c:ptCount val="9"/>
                <c:pt idx="0">
                  <c:v>0.58899999999999997</c:v>
                </c:pt>
                <c:pt idx="1">
                  <c:v>0.107</c:v>
                </c:pt>
                <c:pt idx="2">
                  <c:v>0.375</c:v>
                </c:pt>
                <c:pt idx="3">
                  <c:v>0.157</c:v>
                </c:pt>
                <c:pt idx="4">
                  <c:v>0.11</c:v>
                </c:pt>
                <c:pt idx="5">
                  <c:v>3.4000000000000002E-2</c:v>
                </c:pt>
                <c:pt idx="6">
                  <c:v>2.5000000000000001E-2</c:v>
                </c:pt>
                <c:pt idx="7">
                  <c:v>9.5000000000000001E-2</c:v>
                </c:pt>
                <c:pt idx="8">
                  <c:v>2.1999999999999999E-2</c:v>
                </c:pt>
              </c:numCache>
            </c:numRef>
          </c:val>
          <c:extLst>
            <c:ext xmlns:c16="http://schemas.microsoft.com/office/drawing/2014/chart" uri="{C3380CC4-5D6E-409C-BE32-E72D297353CC}">
              <c16:uniqueId val="{0000000C-A4AA-4B61-ADC3-6229709C4A52}"/>
            </c:ext>
          </c:extLst>
        </c:ser>
        <c:dLbls>
          <c:showLegendKey val="0"/>
          <c:showVal val="0"/>
          <c:showCatName val="0"/>
          <c:showSerName val="0"/>
          <c:showPercent val="0"/>
          <c:showBubbleSize val="0"/>
        </c:dLbls>
        <c:gapWidth val="45"/>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0.14186969831696192"/>
          <c:y val="0.93421838174403371"/>
          <c:w val="0.77012121464867256"/>
          <c:h val="6.2970324469788883E-2"/>
        </c:manualLayout>
      </c:layout>
      <c:overlay val="0"/>
      <c:txPr>
        <a:bodyPr/>
        <a:lstStyle/>
        <a:p>
          <a:pPr>
            <a:defRPr sz="8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088645235986524"/>
          <c:y val="9.2040430389156117E-2"/>
          <c:w val="0.45769326735290644"/>
          <c:h val="0.82873155531176257"/>
        </c:manualLayout>
      </c:layout>
      <c:barChart>
        <c:barDir val="bar"/>
        <c:grouping val="clustered"/>
        <c:varyColors val="0"/>
        <c:ser>
          <c:idx val="0"/>
          <c:order val="0"/>
          <c:tx>
            <c:strRef>
              <c:f>Tabelle1!$B$1</c:f>
              <c:strCache>
                <c:ptCount val="1"/>
                <c:pt idx="0">
                  <c:v>D-CH (G) [258]</c:v>
                </c:pt>
              </c:strCache>
            </c:strRef>
          </c:tx>
          <c:spPr>
            <a:solidFill>
              <a:schemeClr val="accent5"/>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7"/>
            <c:invertIfNegative val="0"/>
            <c:bubble3D val="0"/>
            <c:spPr>
              <a:solidFill>
                <a:schemeClr val="bg1">
                  <a:lumMod val="65000"/>
                </a:schemeClr>
              </a:solidFill>
            </c:spPr>
            <c:extLst>
              <c:ext xmlns:c16="http://schemas.microsoft.com/office/drawing/2014/chart" uri="{C3380CC4-5D6E-409C-BE32-E72D297353CC}">
                <c16:uniqueId val="{00000012-4AEB-4BD1-8B5F-55CF49CB90FA}"/>
              </c:ext>
            </c:extLst>
          </c:dPt>
          <c:dPt>
            <c:idx val="8"/>
            <c:invertIfNegative val="0"/>
            <c:bubble3D val="0"/>
            <c:spPr>
              <a:solidFill>
                <a:schemeClr val="bg1">
                  <a:lumMod val="65000"/>
                </a:schemeClr>
              </a:solidFill>
            </c:spPr>
            <c:extLst>
              <c:ext xmlns:c16="http://schemas.microsoft.com/office/drawing/2014/chart" uri="{C3380CC4-5D6E-409C-BE32-E72D297353CC}">
                <c16:uniqueId val="{00000013-4AEB-4BD1-8B5F-55CF49CB90FA}"/>
              </c:ext>
            </c:extLst>
          </c:dPt>
          <c:dPt>
            <c:idx val="15"/>
            <c:invertIfNegative val="0"/>
            <c:bubble3D val="0"/>
            <c:spPr>
              <a:solidFill>
                <a:schemeClr val="bg1">
                  <a:lumMod val="65000"/>
                </a:schemeClr>
              </a:solidFill>
            </c:spPr>
            <c:extLst>
              <c:ext xmlns:c16="http://schemas.microsoft.com/office/drawing/2014/chart" uri="{C3380CC4-5D6E-409C-BE32-E72D297353CC}">
                <c16:uniqueId val="{00000000-0875-47F9-9EDC-E97BE4584D49}"/>
              </c:ext>
            </c:extLst>
          </c:dPt>
          <c:dPt>
            <c:idx val="16"/>
            <c:invertIfNegative val="0"/>
            <c:bubble3D val="0"/>
            <c:spPr>
              <a:solidFill>
                <a:schemeClr val="bg1">
                  <a:lumMod val="65000"/>
                </a:schemeClr>
              </a:solidFill>
            </c:spPr>
            <c:extLst>
              <c:ext xmlns:c16="http://schemas.microsoft.com/office/drawing/2014/chart" uri="{C3380CC4-5D6E-409C-BE32-E72D297353CC}">
                <c16:uniqueId val="{00000001-0875-47F9-9EDC-E97BE4584D49}"/>
              </c:ext>
            </c:extLst>
          </c:dPt>
          <c:dPt>
            <c:idx val="24"/>
            <c:invertIfNegative val="0"/>
            <c:bubble3D val="0"/>
            <c:extLst>
              <c:ext xmlns:c16="http://schemas.microsoft.com/office/drawing/2014/chart" uri="{C3380CC4-5D6E-409C-BE32-E72D297353CC}">
                <c16:uniqueId val="{00000001-BAAD-4EDE-B852-3FBFE25BFF49}"/>
              </c:ext>
            </c:extLst>
          </c:dPt>
          <c:dLbls>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10</c:f>
              <c:numCache>
                <c:formatCode>General</c:formatCode>
                <c:ptCount val="9"/>
              </c:numCache>
            </c:numRef>
          </c:cat>
          <c:val>
            <c:numRef>
              <c:f>Tabelle1!$B$2:$B$10</c:f>
              <c:numCache>
                <c:formatCode>0%</c:formatCode>
                <c:ptCount val="9"/>
                <c:pt idx="0">
                  <c:v>0.59699999999999998</c:v>
                </c:pt>
                <c:pt idx="1">
                  <c:v>0.20100000000000001</c:v>
                </c:pt>
                <c:pt idx="2">
                  <c:v>0.185</c:v>
                </c:pt>
                <c:pt idx="3">
                  <c:v>0.14799999999999999</c:v>
                </c:pt>
                <c:pt idx="4">
                  <c:v>4.4999999999999998E-2</c:v>
                </c:pt>
                <c:pt idx="5">
                  <c:v>2.7E-2</c:v>
                </c:pt>
                <c:pt idx="6">
                  <c:v>0.03</c:v>
                </c:pt>
                <c:pt idx="7">
                  <c:v>0.13800000000000001</c:v>
                </c:pt>
                <c:pt idx="8">
                  <c:v>5.8000000000000003E-2</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W-CH (H) [101]</c:v>
                </c:pt>
              </c:strCache>
            </c:strRef>
          </c:tx>
          <c:spPr>
            <a:solidFill>
              <a:schemeClr val="accent5">
                <a:lumMod val="40000"/>
                <a:lumOff val="60000"/>
              </a:schemeClr>
            </a:solidFill>
          </c:spPr>
          <c:invertIfNegative val="0"/>
          <c:dPt>
            <c:idx val="3"/>
            <c:invertIfNegative val="0"/>
            <c:bubble3D val="0"/>
            <c:extLst>
              <c:ext xmlns:c16="http://schemas.microsoft.com/office/drawing/2014/chart" uri="{C3380CC4-5D6E-409C-BE32-E72D297353CC}">
                <c16:uniqueId val="{00000010-7D8A-4AF0-AE26-9A9D5F9F8697}"/>
              </c:ext>
            </c:extLst>
          </c:dPt>
          <c:dPt>
            <c:idx val="7"/>
            <c:invertIfNegative val="0"/>
            <c:bubble3D val="0"/>
            <c:spPr>
              <a:solidFill>
                <a:schemeClr val="bg1">
                  <a:lumMod val="75000"/>
                </a:schemeClr>
              </a:solidFill>
            </c:spPr>
            <c:extLst>
              <c:ext xmlns:c16="http://schemas.microsoft.com/office/drawing/2014/chart" uri="{C3380CC4-5D6E-409C-BE32-E72D297353CC}">
                <c16:uniqueId val="{00000014-4AEB-4BD1-8B5F-55CF49CB90FA}"/>
              </c:ext>
            </c:extLst>
          </c:dPt>
          <c:dPt>
            <c:idx val="8"/>
            <c:invertIfNegative val="0"/>
            <c:bubble3D val="0"/>
            <c:spPr>
              <a:solidFill>
                <a:schemeClr val="bg1">
                  <a:lumMod val="75000"/>
                </a:schemeClr>
              </a:solidFill>
            </c:spPr>
            <c:extLst>
              <c:ext xmlns:c16="http://schemas.microsoft.com/office/drawing/2014/chart" uri="{C3380CC4-5D6E-409C-BE32-E72D297353CC}">
                <c16:uniqueId val="{00000015-4AEB-4BD1-8B5F-55CF49CB90FA}"/>
              </c:ext>
            </c:extLst>
          </c:dPt>
          <c:dPt>
            <c:idx val="15"/>
            <c:invertIfNegative val="0"/>
            <c:bubble3D val="0"/>
            <c:spPr>
              <a:solidFill>
                <a:schemeClr val="bg1">
                  <a:lumMod val="75000"/>
                </a:schemeClr>
              </a:solidFill>
            </c:spPr>
            <c:extLst>
              <c:ext xmlns:c16="http://schemas.microsoft.com/office/drawing/2014/chart" uri="{C3380CC4-5D6E-409C-BE32-E72D297353CC}">
                <c16:uniqueId val="{00000002-0875-47F9-9EDC-E97BE4584D49}"/>
              </c:ext>
            </c:extLst>
          </c:dPt>
          <c:dPt>
            <c:idx val="16"/>
            <c:invertIfNegative val="0"/>
            <c:bubble3D val="0"/>
            <c:spPr>
              <a:solidFill>
                <a:schemeClr val="bg1">
                  <a:lumMod val="75000"/>
                </a:schemeClr>
              </a:solidFill>
            </c:spPr>
            <c:extLst>
              <c:ext xmlns:c16="http://schemas.microsoft.com/office/drawing/2014/chart" uri="{C3380CC4-5D6E-409C-BE32-E72D297353CC}">
                <c16:uniqueId val="{00000003-0875-47F9-9EDC-E97BE4584D49}"/>
              </c:ext>
            </c:extLst>
          </c:dPt>
          <c:dLbls>
            <c:dLbl>
              <c:idx val="0"/>
              <c:tx>
                <c:rich>
                  <a:bodyPr/>
                  <a:lstStyle/>
                  <a:p>
                    <a:fld id="{5209A6F7-E167-A945-9D61-2D66C0DB7B88}" type="VALUE">
                      <a:rPr lang="en-US" smtClean="0"/>
                      <a:pPr/>
                      <a:t>[WERT]</a:t>
                    </a:fld>
                    <a:r>
                      <a:rPr lang="en-US"/>
                      <a:t> G</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E-8346-904B-91B4-7AC9F6E52FDF}"/>
                </c:ext>
              </c:extLst>
            </c:dLbl>
            <c:dLbl>
              <c:idx val="4"/>
              <c:tx>
                <c:rich>
                  <a:bodyPr/>
                  <a:lstStyle/>
                  <a:p>
                    <a:fld id="{DC3958BD-1C4A-0149-AF24-F9AF473AF4EB}" type="VALUE">
                      <a:rPr lang="en-US" smtClean="0"/>
                      <a:pPr/>
                      <a:t>[WERT]</a:t>
                    </a:fld>
                    <a:r>
                      <a:rPr lang="en-US"/>
                      <a:t> G</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F-8346-904B-91B4-7AC9F6E52FDF}"/>
                </c:ext>
              </c:extLst>
            </c:dLbl>
            <c:dLbl>
              <c:idx val="5"/>
              <c:tx>
                <c:rich>
                  <a:bodyPr/>
                  <a:lstStyle/>
                  <a:p>
                    <a:fld id="{09D7861F-2FD2-C646-BAED-244E5F20A076}" type="VALUE">
                      <a:rPr lang="en-US" smtClean="0"/>
                      <a:pPr/>
                      <a:t>[WERT]</a:t>
                    </a:fld>
                    <a:r>
                      <a:rPr lang="en-US"/>
                      <a:t> G</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1-8346-904B-91B4-7AC9F6E52FDF}"/>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0</c:f>
              <c:numCache>
                <c:formatCode>General</c:formatCode>
                <c:ptCount val="9"/>
              </c:numCache>
            </c:numRef>
          </c:cat>
          <c:val>
            <c:numRef>
              <c:f>Tabelle1!$C$2:$C$10</c:f>
              <c:numCache>
                <c:formatCode>0%</c:formatCode>
                <c:ptCount val="9"/>
                <c:pt idx="0">
                  <c:v>0.755</c:v>
                </c:pt>
                <c:pt idx="1">
                  <c:v>0.26900000000000002</c:v>
                </c:pt>
                <c:pt idx="2">
                  <c:v>0.26600000000000001</c:v>
                </c:pt>
                <c:pt idx="3">
                  <c:v>0.14199999999999999</c:v>
                </c:pt>
                <c:pt idx="4">
                  <c:v>0.185</c:v>
                </c:pt>
                <c:pt idx="5">
                  <c:v>0.127</c:v>
                </c:pt>
                <c:pt idx="6">
                  <c:v>3.1E-2</c:v>
                </c:pt>
                <c:pt idx="7">
                  <c:v>9.2999999999999999E-2</c:v>
                </c:pt>
                <c:pt idx="8">
                  <c:v>3.1E-2</c:v>
                </c:pt>
              </c:numCache>
            </c:numRef>
          </c:val>
          <c:extLst>
            <c:ext xmlns:c16="http://schemas.microsoft.com/office/drawing/2014/chart" uri="{C3380CC4-5D6E-409C-BE32-E72D297353CC}">
              <c16:uniqueId val="{0000000E-7D8A-4AF0-AE26-9A9D5F9F8697}"/>
            </c:ext>
          </c:extLst>
        </c:ser>
        <c:ser>
          <c:idx val="2"/>
          <c:order val="2"/>
          <c:tx>
            <c:strRef>
              <c:f>Tabelle1!$D$1</c:f>
              <c:strCache>
                <c:ptCount val="1"/>
                <c:pt idx="0">
                  <c:v>Tessin (I) [46*]</c:v>
                </c:pt>
              </c:strCache>
            </c:strRef>
          </c:tx>
          <c:spPr>
            <a:solidFill>
              <a:schemeClr val="accent5">
                <a:lumMod val="20000"/>
                <a:lumOff val="80000"/>
              </a:schemeClr>
            </a:solidFill>
          </c:spPr>
          <c:invertIfNegative val="0"/>
          <c:dPt>
            <c:idx val="7"/>
            <c:invertIfNegative val="0"/>
            <c:bubble3D val="0"/>
            <c:spPr>
              <a:solidFill>
                <a:schemeClr val="bg1">
                  <a:lumMod val="85000"/>
                </a:schemeClr>
              </a:solidFill>
            </c:spPr>
            <c:extLst>
              <c:ext xmlns:c16="http://schemas.microsoft.com/office/drawing/2014/chart" uri="{C3380CC4-5D6E-409C-BE32-E72D297353CC}">
                <c16:uniqueId val="{00000016-4AEB-4BD1-8B5F-55CF49CB90FA}"/>
              </c:ext>
            </c:extLst>
          </c:dPt>
          <c:dPt>
            <c:idx val="8"/>
            <c:invertIfNegative val="0"/>
            <c:bubble3D val="0"/>
            <c:spPr>
              <a:solidFill>
                <a:schemeClr val="bg1">
                  <a:lumMod val="85000"/>
                </a:schemeClr>
              </a:solidFill>
            </c:spPr>
            <c:extLst>
              <c:ext xmlns:c16="http://schemas.microsoft.com/office/drawing/2014/chart" uri="{C3380CC4-5D6E-409C-BE32-E72D297353CC}">
                <c16:uniqueId val="{00000017-4AEB-4BD1-8B5F-55CF49CB90FA}"/>
              </c:ext>
            </c:extLst>
          </c:dPt>
          <c:dPt>
            <c:idx val="15"/>
            <c:invertIfNegative val="0"/>
            <c:bubble3D val="0"/>
            <c:spPr>
              <a:solidFill>
                <a:schemeClr val="bg1">
                  <a:lumMod val="85000"/>
                </a:schemeClr>
              </a:solidFill>
            </c:spPr>
            <c:extLst>
              <c:ext xmlns:c16="http://schemas.microsoft.com/office/drawing/2014/chart" uri="{C3380CC4-5D6E-409C-BE32-E72D297353CC}">
                <c16:uniqueId val="{00000004-0875-47F9-9EDC-E97BE4584D49}"/>
              </c:ext>
            </c:extLst>
          </c:dPt>
          <c:dPt>
            <c:idx val="16"/>
            <c:invertIfNegative val="0"/>
            <c:bubble3D val="0"/>
            <c:spPr>
              <a:solidFill>
                <a:schemeClr val="bg1">
                  <a:lumMod val="85000"/>
                </a:schemeClr>
              </a:solidFill>
            </c:spPr>
            <c:extLst>
              <c:ext xmlns:c16="http://schemas.microsoft.com/office/drawing/2014/chart" uri="{C3380CC4-5D6E-409C-BE32-E72D297353CC}">
                <c16:uniqueId val="{00000005-0875-47F9-9EDC-E97BE4584D49}"/>
              </c:ext>
            </c:extLst>
          </c:dPt>
          <c:dLbls>
            <c:dLbl>
              <c:idx val="4"/>
              <c:tx>
                <c:rich>
                  <a:bodyPr/>
                  <a:lstStyle/>
                  <a:p>
                    <a:fld id="{E58B8073-FE65-8F41-8317-F758065A01FF}" type="VALUE">
                      <a:rPr lang="en-US" smtClean="0"/>
                      <a:pPr/>
                      <a:t>[WERT]</a:t>
                    </a:fld>
                    <a:r>
                      <a:rPr lang="en-US"/>
                      <a:t> G</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0-8346-904B-91B4-7AC9F6E52FDF}"/>
                </c:ext>
              </c:extLst>
            </c:dLbl>
            <c:dLbl>
              <c:idx val="5"/>
              <c:tx>
                <c:rich>
                  <a:bodyPr/>
                  <a:lstStyle/>
                  <a:p>
                    <a:fld id="{FA6DC353-E5AA-E640-9F7C-CDBBBAAE9FDA}" type="VALUE">
                      <a:rPr lang="en-US" smtClean="0"/>
                      <a:pPr/>
                      <a:t>[WERT]</a:t>
                    </a:fld>
                    <a:r>
                      <a:rPr lang="en-US"/>
                      <a:t> G</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2-8346-904B-91B4-7AC9F6E52FDF}"/>
                </c:ext>
              </c:extLst>
            </c:dLbl>
            <c:dLbl>
              <c:idx val="6"/>
              <c:tx>
                <c:rich>
                  <a:bodyPr/>
                  <a:lstStyle/>
                  <a:p>
                    <a:fld id="{830AA95C-888E-CB49-A49C-9E090C7569A4}" type="VALUE">
                      <a:rPr lang="en-US" smtClean="0"/>
                      <a:pPr/>
                      <a:t>[WERT]</a:t>
                    </a:fld>
                    <a:r>
                      <a:rPr lang="en-US"/>
                      <a:t> GH</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3-8346-904B-91B4-7AC9F6E52FDF}"/>
                </c:ext>
              </c:extLst>
            </c:dLbl>
            <c:spPr>
              <a:noFill/>
              <a:ln>
                <a:noFill/>
              </a:ln>
              <a:effectLst/>
            </c:spPr>
            <c:txPr>
              <a:bodyPr wrap="square" lIns="38100" tIns="19050" rIns="38100" bIns="19050" anchor="ctr">
                <a:spAutoFit/>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0</c:f>
              <c:numCache>
                <c:formatCode>General</c:formatCode>
                <c:ptCount val="9"/>
              </c:numCache>
            </c:numRef>
          </c:cat>
          <c:val>
            <c:numRef>
              <c:f>Tabelle1!$D$2:$D$10</c:f>
              <c:numCache>
                <c:formatCode>0%</c:formatCode>
                <c:ptCount val="9"/>
                <c:pt idx="0">
                  <c:v>0.68300000000000005</c:v>
                </c:pt>
                <c:pt idx="1">
                  <c:v>0.27</c:v>
                </c:pt>
                <c:pt idx="2">
                  <c:v>0.17699999999999999</c:v>
                </c:pt>
                <c:pt idx="3">
                  <c:v>8.3000000000000004E-2</c:v>
                </c:pt>
                <c:pt idx="4">
                  <c:v>0.13300000000000001</c:v>
                </c:pt>
                <c:pt idx="5">
                  <c:v>0.104</c:v>
                </c:pt>
                <c:pt idx="6">
                  <c:v>0.13700000000000001</c:v>
                </c:pt>
                <c:pt idx="7">
                  <c:v>0.188</c:v>
                </c:pt>
                <c:pt idx="8">
                  <c:v>0</c:v>
                </c:pt>
              </c:numCache>
            </c:numRef>
          </c:val>
          <c:extLst>
            <c:ext xmlns:c16="http://schemas.microsoft.com/office/drawing/2014/chart" uri="{C3380CC4-5D6E-409C-BE32-E72D297353CC}">
              <c16:uniqueId val="{0000000B-CE0D-4218-BB1D-8D191CAEC14C}"/>
            </c:ext>
          </c:extLst>
        </c:ser>
        <c:dLbls>
          <c:showLegendKey val="0"/>
          <c:showVal val="0"/>
          <c:showCatName val="0"/>
          <c:showSerName val="0"/>
          <c:showPercent val="0"/>
          <c:showBubbleSize val="0"/>
        </c:dLbls>
        <c:gapWidth val="72"/>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0.24072689206602096"/>
          <c:y val="0.9370296755302111"/>
          <c:w val="0.66217451262154869"/>
          <c:h val="6.0159030683611461E-2"/>
        </c:manualLayout>
      </c:layout>
      <c:overlay val="0"/>
      <c:txPr>
        <a:bodyPr/>
        <a:lstStyle/>
        <a:p>
          <a:pPr>
            <a:defRPr sz="8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490470135280585E-2"/>
          <c:y val="9.204044503615226E-2"/>
          <c:w val="0.45769326735290644"/>
          <c:h val="0.80342991123616569"/>
        </c:manualLayout>
      </c:layout>
      <c:barChart>
        <c:barDir val="bar"/>
        <c:grouping val="clustered"/>
        <c:varyColors val="0"/>
        <c:ser>
          <c:idx val="0"/>
          <c:order val="0"/>
          <c:tx>
            <c:strRef>
              <c:f>Tabelle1!$B$1</c:f>
              <c:strCache>
                <c:ptCount val="1"/>
                <c:pt idx="0">
                  <c:v>Männer (A) [767]</c:v>
                </c:pt>
              </c:strCache>
            </c:strRef>
          </c:tx>
          <c:spPr>
            <a:solidFill>
              <a:schemeClr val="accent6"/>
            </a:solidFill>
          </c:spPr>
          <c:invertIfNegative val="0"/>
          <c:dPt>
            <c:idx val="0"/>
            <c:invertIfNegative val="0"/>
            <c:bubble3D val="0"/>
            <c:spPr>
              <a:solidFill>
                <a:schemeClr val="accent6"/>
              </a:solidFill>
            </c:spPr>
            <c:extLst>
              <c:ext xmlns:c16="http://schemas.microsoft.com/office/drawing/2014/chart" uri="{C3380CC4-5D6E-409C-BE32-E72D297353CC}">
                <c16:uniqueId val="{00000001-9625-470E-AB92-E576FCBE9BB1}"/>
              </c:ext>
            </c:extLst>
          </c:dPt>
          <c:dPt>
            <c:idx val="1"/>
            <c:invertIfNegative val="0"/>
            <c:bubble3D val="0"/>
            <c:spPr>
              <a:solidFill>
                <a:schemeClr val="accent6"/>
              </a:solidFill>
            </c:spPr>
            <c:extLst>
              <c:ext xmlns:c16="http://schemas.microsoft.com/office/drawing/2014/chart" uri="{C3380CC4-5D6E-409C-BE32-E72D297353CC}">
                <c16:uniqueId val="{00000002-9625-470E-AB92-E576FCBE9BB1}"/>
              </c:ext>
            </c:extLst>
          </c:dPt>
          <c:dPt>
            <c:idx val="2"/>
            <c:invertIfNegative val="0"/>
            <c:bubble3D val="0"/>
            <c:spPr>
              <a:solidFill>
                <a:schemeClr val="accent6"/>
              </a:solidFill>
            </c:spPr>
            <c:extLst>
              <c:ext xmlns:c16="http://schemas.microsoft.com/office/drawing/2014/chart" uri="{C3380CC4-5D6E-409C-BE32-E72D297353CC}">
                <c16:uniqueId val="{00000003-9625-470E-AB92-E576FCBE9BB1}"/>
              </c:ext>
            </c:extLst>
          </c:dPt>
          <c:dPt>
            <c:idx val="3"/>
            <c:invertIfNegative val="0"/>
            <c:bubble3D val="0"/>
            <c:spPr>
              <a:solidFill>
                <a:schemeClr val="bg1">
                  <a:lumMod val="75000"/>
                </a:schemeClr>
              </a:solidFill>
            </c:spPr>
            <c:extLst>
              <c:ext xmlns:c16="http://schemas.microsoft.com/office/drawing/2014/chart" uri="{C3380CC4-5D6E-409C-BE32-E72D297353CC}">
                <c16:uniqueId val="{00000000-9625-470E-AB92-E576FCBE9BB1}"/>
              </c:ext>
            </c:extLst>
          </c:dPt>
          <c:dPt>
            <c:idx val="24"/>
            <c:invertIfNegative val="0"/>
            <c:bubble3D val="0"/>
            <c:extLst>
              <c:ext xmlns:c16="http://schemas.microsoft.com/office/drawing/2014/chart" uri="{C3380CC4-5D6E-409C-BE32-E72D297353CC}">
                <c16:uniqueId val="{00000001-BAAD-4EDE-B852-3FBFE25BFF49}"/>
              </c:ext>
            </c:extLst>
          </c:dPt>
          <c:dLbls>
            <c:spPr>
              <a:noFill/>
              <a:ln>
                <a:noFill/>
              </a:ln>
              <a:effectLst/>
            </c:spPr>
            <c:txPr>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numCache>
            </c:numRef>
          </c:cat>
          <c:val>
            <c:numRef>
              <c:f>Tabelle1!$B$2:$B$5</c:f>
              <c:numCache>
                <c:formatCode>0%</c:formatCode>
                <c:ptCount val="4"/>
                <c:pt idx="0">
                  <c:v>0.13300000000000001</c:v>
                </c:pt>
                <c:pt idx="1">
                  <c:v>0.10299999999999999</c:v>
                </c:pt>
                <c:pt idx="2">
                  <c:v>0.755</c:v>
                </c:pt>
                <c:pt idx="3">
                  <c:v>8.9999999999999993E-3</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Frauen (B) [844]</c:v>
                </c:pt>
              </c:strCache>
            </c:strRef>
          </c:tx>
          <c:spPr>
            <a:solidFill>
              <a:schemeClr val="accent6">
                <a:lumMod val="60000"/>
                <a:lumOff val="40000"/>
              </a:schemeClr>
            </a:solidFill>
          </c:spPr>
          <c:invertIfNegative val="0"/>
          <c:dPt>
            <c:idx val="3"/>
            <c:invertIfNegative val="0"/>
            <c:bubble3D val="0"/>
            <c:spPr>
              <a:solidFill>
                <a:schemeClr val="bg1">
                  <a:lumMod val="85000"/>
                </a:schemeClr>
              </a:solidFill>
            </c:spPr>
            <c:extLst>
              <c:ext xmlns:c16="http://schemas.microsoft.com/office/drawing/2014/chart" uri="{C3380CC4-5D6E-409C-BE32-E72D297353CC}">
                <c16:uniqueId val="{00000010-7D8A-4AF0-AE26-9A9D5F9F8697}"/>
              </c:ext>
            </c:extLst>
          </c:dPt>
          <c:dLbls>
            <c:spPr>
              <a:noFill/>
              <a:ln>
                <a:noFill/>
              </a:ln>
              <a:effectLst/>
            </c:spPr>
            <c:txPr>
              <a:bodyPr wrap="square" lIns="38100" tIns="19050" rIns="38100" bIns="19050" anchor="ctr">
                <a:spAutoFit/>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5</c:f>
              <c:numCache>
                <c:formatCode>General</c:formatCode>
                <c:ptCount val="4"/>
              </c:numCache>
            </c:numRef>
          </c:cat>
          <c:val>
            <c:numRef>
              <c:f>Tabelle1!$C$2:$C$5</c:f>
              <c:numCache>
                <c:formatCode>0%</c:formatCode>
                <c:ptCount val="4"/>
                <c:pt idx="0">
                  <c:v>0.14399999999999999</c:v>
                </c:pt>
                <c:pt idx="1">
                  <c:v>0.126</c:v>
                </c:pt>
                <c:pt idx="2">
                  <c:v>0.72599999999999998</c:v>
                </c:pt>
                <c:pt idx="3">
                  <c:v>4.0000000000000001E-3</c:v>
                </c:pt>
              </c:numCache>
            </c:numRef>
          </c:val>
          <c:extLst>
            <c:ext xmlns:c16="http://schemas.microsoft.com/office/drawing/2014/chart" uri="{C3380CC4-5D6E-409C-BE32-E72D297353CC}">
              <c16:uniqueId val="{0000000E-7D8A-4AF0-AE26-9A9D5F9F8697}"/>
            </c:ext>
          </c:extLst>
        </c:ser>
        <c:dLbls>
          <c:showLegendKey val="0"/>
          <c:showVal val="0"/>
          <c:showCatName val="0"/>
          <c:showSerName val="0"/>
          <c:showPercent val="0"/>
          <c:showBubbleSize val="0"/>
        </c:dLbls>
        <c:gapWidth val="161"/>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2.9834325607893335E-2"/>
          <c:y val="0.90736919791574666"/>
          <c:w val="0.40172488254216432"/>
          <c:h val="7.5763039367188825E-2"/>
        </c:manualLayout>
      </c:layout>
      <c:overlay val="0"/>
      <c:txPr>
        <a:bodyPr/>
        <a:lstStyle/>
        <a:p>
          <a:pPr>
            <a:defRPr sz="9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490470135280585E-2"/>
          <c:y val="9.204044503615226E-2"/>
          <c:w val="0.45769326735290644"/>
          <c:h val="0.80342991123616569"/>
        </c:manualLayout>
      </c:layout>
      <c:barChart>
        <c:barDir val="bar"/>
        <c:grouping val="clustered"/>
        <c:varyColors val="0"/>
        <c:ser>
          <c:idx val="0"/>
          <c:order val="0"/>
          <c:tx>
            <c:strRef>
              <c:f>Tabelle1!$B$1</c:f>
              <c:strCache>
                <c:ptCount val="1"/>
                <c:pt idx="0">
                  <c:v>15-29 J. (C) [388]</c:v>
                </c:pt>
              </c:strCache>
            </c:strRef>
          </c:tx>
          <c:spPr>
            <a:solidFill>
              <a:schemeClr val="accent4">
                <a:lumMod val="75000"/>
              </a:schemeClr>
            </a:solidFill>
          </c:spPr>
          <c:invertIfNegative val="0"/>
          <c:dPt>
            <c:idx val="0"/>
            <c:invertIfNegative val="0"/>
            <c:bubble3D val="0"/>
            <c:spPr>
              <a:solidFill>
                <a:schemeClr val="accent4">
                  <a:lumMod val="75000"/>
                </a:schemeClr>
              </a:solidFill>
            </c:spPr>
            <c:extLst>
              <c:ext xmlns:c16="http://schemas.microsoft.com/office/drawing/2014/chart" uri="{C3380CC4-5D6E-409C-BE32-E72D297353CC}">
                <c16:uniqueId val="{00000001-9625-470E-AB92-E576FCBE9BB1}"/>
              </c:ext>
            </c:extLst>
          </c:dPt>
          <c:dPt>
            <c:idx val="1"/>
            <c:invertIfNegative val="0"/>
            <c:bubble3D val="0"/>
            <c:spPr>
              <a:solidFill>
                <a:schemeClr val="accent4">
                  <a:lumMod val="75000"/>
                </a:schemeClr>
              </a:solidFill>
            </c:spPr>
            <c:extLst>
              <c:ext xmlns:c16="http://schemas.microsoft.com/office/drawing/2014/chart" uri="{C3380CC4-5D6E-409C-BE32-E72D297353CC}">
                <c16:uniqueId val="{00000002-9625-470E-AB92-E576FCBE9BB1}"/>
              </c:ext>
            </c:extLst>
          </c:dPt>
          <c:dPt>
            <c:idx val="2"/>
            <c:invertIfNegative val="0"/>
            <c:bubble3D val="0"/>
            <c:spPr>
              <a:solidFill>
                <a:schemeClr val="accent4">
                  <a:lumMod val="75000"/>
                </a:schemeClr>
              </a:solidFill>
            </c:spPr>
            <c:extLst>
              <c:ext xmlns:c16="http://schemas.microsoft.com/office/drawing/2014/chart" uri="{C3380CC4-5D6E-409C-BE32-E72D297353CC}">
                <c16:uniqueId val="{00000003-9625-470E-AB92-E576FCBE9BB1}"/>
              </c:ext>
            </c:extLst>
          </c:dPt>
          <c:dPt>
            <c:idx val="3"/>
            <c:invertIfNegative val="0"/>
            <c:bubble3D val="0"/>
            <c:spPr>
              <a:solidFill>
                <a:schemeClr val="bg1">
                  <a:lumMod val="50000"/>
                </a:schemeClr>
              </a:solidFill>
            </c:spPr>
            <c:extLst>
              <c:ext xmlns:c16="http://schemas.microsoft.com/office/drawing/2014/chart" uri="{C3380CC4-5D6E-409C-BE32-E72D297353CC}">
                <c16:uniqueId val="{00000000-9625-470E-AB92-E576FCBE9BB1}"/>
              </c:ext>
            </c:extLst>
          </c:dPt>
          <c:dPt>
            <c:idx val="24"/>
            <c:invertIfNegative val="0"/>
            <c:bubble3D val="0"/>
            <c:extLst>
              <c:ext xmlns:c16="http://schemas.microsoft.com/office/drawing/2014/chart" uri="{C3380CC4-5D6E-409C-BE32-E72D297353CC}">
                <c16:uniqueId val="{00000001-BAAD-4EDE-B852-3FBFE25BFF49}"/>
              </c:ext>
            </c:extLst>
          </c:dPt>
          <c:dLbls>
            <c:dLbl>
              <c:idx val="1"/>
              <c:tx>
                <c:rich>
                  <a:bodyPr/>
                  <a:lstStyle/>
                  <a:p>
                    <a:fld id="{09D7C15B-19A9-B84C-B815-B166263E2BE4}" type="VALUE">
                      <a:rPr lang="en-US" smtClean="0"/>
                      <a:pPr/>
                      <a:t>[WERT]</a:t>
                    </a:fld>
                    <a:r>
                      <a:rPr lang="en-US" dirty="0"/>
                      <a:t> E</a:t>
                    </a:r>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2-9625-470E-AB92-E576FCBE9BB1}"/>
                </c:ext>
              </c:extLst>
            </c:dLbl>
            <c:spPr>
              <a:noFill/>
              <a:ln>
                <a:noFill/>
              </a:ln>
              <a:effectLst/>
            </c:spPr>
            <c:txPr>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numCache>
            </c:numRef>
          </c:cat>
          <c:val>
            <c:numRef>
              <c:f>Tabelle1!$B$2:$B$5</c:f>
              <c:numCache>
                <c:formatCode>0%</c:formatCode>
                <c:ptCount val="4"/>
                <c:pt idx="0">
                  <c:v>0.152</c:v>
                </c:pt>
                <c:pt idx="1">
                  <c:v>0.14599999999999999</c:v>
                </c:pt>
                <c:pt idx="2">
                  <c:v>0.69599999999999995</c:v>
                </c:pt>
                <c:pt idx="3">
                  <c:v>6.0000000000000001E-3</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30-44 J. (D) [527]</c:v>
                </c:pt>
              </c:strCache>
            </c:strRef>
          </c:tx>
          <c:spPr>
            <a:solidFill>
              <a:schemeClr val="accent4"/>
            </a:solidFill>
          </c:spPr>
          <c:invertIfNegative val="0"/>
          <c:dPt>
            <c:idx val="3"/>
            <c:invertIfNegative val="0"/>
            <c:bubble3D val="0"/>
            <c:spPr>
              <a:solidFill>
                <a:schemeClr val="bg1">
                  <a:lumMod val="65000"/>
                </a:schemeClr>
              </a:solidFill>
            </c:spPr>
            <c:extLst>
              <c:ext xmlns:c16="http://schemas.microsoft.com/office/drawing/2014/chart" uri="{C3380CC4-5D6E-409C-BE32-E72D297353CC}">
                <c16:uniqueId val="{00000010-7D8A-4AF0-AE26-9A9D5F9F8697}"/>
              </c:ext>
            </c:extLst>
          </c:dPt>
          <c:dLbls>
            <c:dLbl>
              <c:idx val="1"/>
              <c:tx>
                <c:rich>
                  <a:bodyPr/>
                  <a:lstStyle/>
                  <a:p>
                    <a:fld id="{EA0B955F-3CD9-D246-A5B2-ADDA0E20EE4F}" type="VALUE">
                      <a:rPr lang="en-US" smtClean="0"/>
                      <a:pPr/>
                      <a:t>[WERT]</a:t>
                    </a:fld>
                    <a:r>
                      <a:rPr lang="en-US" dirty="0"/>
                      <a:t> E</a:t>
                    </a:r>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F-D57F-FB47-839E-32EA37DE1120}"/>
                </c:ext>
              </c:extLst>
            </c:dLbl>
            <c:spPr>
              <a:noFill/>
              <a:ln>
                <a:noFill/>
              </a:ln>
              <a:effectLst/>
            </c:spPr>
            <c:txPr>
              <a:bodyPr wrap="square" lIns="38100" tIns="19050" rIns="38100" bIns="19050" anchor="ctr">
                <a:spAutoFit/>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5</c:f>
              <c:numCache>
                <c:formatCode>General</c:formatCode>
                <c:ptCount val="4"/>
              </c:numCache>
            </c:numRef>
          </c:cat>
          <c:val>
            <c:numRef>
              <c:f>Tabelle1!$C$2:$C$5</c:f>
              <c:numCache>
                <c:formatCode>0%</c:formatCode>
                <c:ptCount val="4"/>
                <c:pt idx="0">
                  <c:v>0.128</c:v>
                </c:pt>
                <c:pt idx="1">
                  <c:v>0.124</c:v>
                </c:pt>
                <c:pt idx="2">
                  <c:v>0.73899999999999999</c:v>
                </c:pt>
                <c:pt idx="3">
                  <c:v>8.9999999999999993E-3</c:v>
                </c:pt>
              </c:numCache>
            </c:numRef>
          </c:val>
          <c:extLst>
            <c:ext xmlns:c16="http://schemas.microsoft.com/office/drawing/2014/chart" uri="{C3380CC4-5D6E-409C-BE32-E72D297353CC}">
              <c16:uniqueId val="{0000000E-7D8A-4AF0-AE26-9A9D5F9F8697}"/>
            </c:ext>
          </c:extLst>
        </c:ser>
        <c:ser>
          <c:idx val="2"/>
          <c:order val="2"/>
          <c:tx>
            <c:strRef>
              <c:f>Tabelle1!$D$1</c:f>
              <c:strCache>
                <c:ptCount val="1"/>
                <c:pt idx="0">
                  <c:v>45-59 J. (E) [470]</c:v>
                </c:pt>
              </c:strCache>
            </c:strRef>
          </c:tx>
          <c:spPr>
            <a:solidFill>
              <a:schemeClr val="accent4">
                <a:lumMod val="60000"/>
                <a:lumOff val="40000"/>
              </a:schemeClr>
            </a:solidFill>
          </c:spPr>
          <c:invertIfNegative val="0"/>
          <c:dPt>
            <c:idx val="3"/>
            <c:invertIfNegative val="0"/>
            <c:bubble3D val="0"/>
            <c:spPr>
              <a:solidFill>
                <a:schemeClr val="bg1">
                  <a:lumMod val="75000"/>
                </a:schemeClr>
              </a:solidFill>
            </c:spPr>
            <c:extLst>
              <c:ext xmlns:c16="http://schemas.microsoft.com/office/drawing/2014/chart" uri="{C3380CC4-5D6E-409C-BE32-E72D297353CC}">
                <c16:uniqueId val="{0000000D-A4AA-4B61-ADC3-6229709C4A52}"/>
              </c:ext>
            </c:extLst>
          </c:dPt>
          <c:dLbls>
            <c:dLbl>
              <c:idx val="2"/>
              <c:tx>
                <c:rich>
                  <a:bodyPr/>
                  <a:lstStyle/>
                  <a:p>
                    <a:fld id="{721747EA-9A7C-EE44-84F5-5F36A8480F93}" type="VALUE">
                      <a:rPr lang="en-US" smtClean="0"/>
                      <a:pPr/>
                      <a:t>[WERT]</a:t>
                    </a:fld>
                    <a:r>
                      <a:rPr lang="en-US"/>
                      <a:t> C</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D57F-FB47-839E-32EA37DE1120}"/>
                </c:ext>
              </c:extLst>
            </c:dLbl>
            <c:spPr>
              <a:noFill/>
              <a:ln>
                <a:noFill/>
              </a:ln>
              <a:effectLst/>
            </c:spPr>
            <c:txPr>
              <a:bodyPr wrap="square" lIns="38100" tIns="19050" rIns="38100" bIns="19050" anchor="ctr">
                <a:spAutoFit/>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5</c:f>
              <c:numCache>
                <c:formatCode>General</c:formatCode>
                <c:ptCount val="4"/>
              </c:numCache>
            </c:numRef>
          </c:cat>
          <c:val>
            <c:numRef>
              <c:f>Tabelle1!$D$2:$D$5</c:f>
              <c:numCache>
                <c:formatCode>0%</c:formatCode>
                <c:ptCount val="4"/>
                <c:pt idx="0">
                  <c:v>0.13600000000000001</c:v>
                </c:pt>
                <c:pt idx="1">
                  <c:v>8.2000000000000003E-2</c:v>
                </c:pt>
                <c:pt idx="2">
                  <c:v>0.77800000000000002</c:v>
                </c:pt>
                <c:pt idx="3">
                  <c:v>4.0000000000000001E-3</c:v>
                </c:pt>
              </c:numCache>
            </c:numRef>
          </c:val>
          <c:extLst>
            <c:ext xmlns:c16="http://schemas.microsoft.com/office/drawing/2014/chart" uri="{C3380CC4-5D6E-409C-BE32-E72D297353CC}">
              <c16:uniqueId val="{0000000B-A4AA-4B61-ADC3-6229709C4A52}"/>
            </c:ext>
          </c:extLst>
        </c:ser>
        <c:ser>
          <c:idx val="3"/>
          <c:order val="3"/>
          <c:tx>
            <c:strRef>
              <c:f>Tabelle1!$E$1</c:f>
              <c:strCache>
                <c:ptCount val="1"/>
                <c:pt idx="0">
                  <c:v>60+ J. (F) [217]</c:v>
                </c:pt>
              </c:strCache>
            </c:strRef>
          </c:tx>
          <c:spPr>
            <a:solidFill>
              <a:schemeClr val="accent4">
                <a:lumMod val="40000"/>
                <a:lumOff val="60000"/>
              </a:schemeClr>
            </a:solidFill>
          </c:spPr>
          <c:invertIfNegative val="0"/>
          <c:dPt>
            <c:idx val="3"/>
            <c:invertIfNegative val="0"/>
            <c:bubble3D val="0"/>
            <c:spPr>
              <a:solidFill>
                <a:schemeClr val="bg1">
                  <a:lumMod val="85000"/>
                </a:schemeClr>
              </a:solidFill>
            </c:spPr>
            <c:extLst>
              <c:ext xmlns:c16="http://schemas.microsoft.com/office/drawing/2014/chart" uri="{C3380CC4-5D6E-409C-BE32-E72D297353CC}">
                <c16:uniqueId val="{0000000E-A4AA-4B61-ADC3-6229709C4A52}"/>
              </c:ext>
            </c:extLst>
          </c:dPt>
          <c:dLbls>
            <c:spPr>
              <a:noFill/>
              <a:ln>
                <a:noFill/>
              </a:ln>
              <a:effectLst/>
            </c:spPr>
            <c:txPr>
              <a:bodyPr wrap="square" lIns="38100" tIns="19050" rIns="38100" bIns="19050" anchor="ctr">
                <a:spAutoFit/>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5</c:f>
              <c:numCache>
                <c:formatCode>General</c:formatCode>
                <c:ptCount val="4"/>
              </c:numCache>
            </c:numRef>
          </c:cat>
          <c:val>
            <c:numRef>
              <c:f>Tabelle1!$E$2:$E$5</c:f>
              <c:numCache>
                <c:formatCode>0%</c:formatCode>
                <c:ptCount val="4"/>
                <c:pt idx="0">
                  <c:v>0.14699999999999999</c:v>
                </c:pt>
                <c:pt idx="1">
                  <c:v>0.115</c:v>
                </c:pt>
                <c:pt idx="2">
                  <c:v>0.73199999999999998</c:v>
                </c:pt>
                <c:pt idx="3">
                  <c:v>6.0000000000000001E-3</c:v>
                </c:pt>
              </c:numCache>
            </c:numRef>
          </c:val>
          <c:extLst>
            <c:ext xmlns:c16="http://schemas.microsoft.com/office/drawing/2014/chart" uri="{C3380CC4-5D6E-409C-BE32-E72D297353CC}">
              <c16:uniqueId val="{0000000C-A4AA-4B61-ADC3-6229709C4A52}"/>
            </c:ext>
          </c:extLst>
        </c:ser>
        <c:dLbls>
          <c:showLegendKey val="0"/>
          <c:showVal val="0"/>
          <c:showCatName val="0"/>
          <c:showSerName val="0"/>
          <c:showPercent val="0"/>
          <c:showBubbleSize val="0"/>
        </c:dLbls>
        <c:gapWidth val="161"/>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1.1706554384020504E-2"/>
          <c:y val="0.90048285630990466"/>
          <c:w val="0.8374469787519182"/>
          <c:h val="8.5460674759208266E-2"/>
        </c:manualLayout>
      </c:layout>
      <c:overlay val="0"/>
      <c:txPr>
        <a:bodyPr/>
        <a:lstStyle/>
        <a:p>
          <a:pPr>
            <a:defRPr sz="9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490470135280585E-2"/>
          <c:y val="9.204044503615226E-2"/>
          <c:w val="0.45769326735290644"/>
          <c:h val="0.80342991123616569"/>
        </c:manualLayout>
      </c:layout>
      <c:barChart>
        <c:barDir val="bar"/>
        <c:grouping val="clustered"/>
        <c:varyColors val="0"/>
        <c:ser>
          <c:idx val="0"/>
          <c:order val="0"/>
          <c:tx>
            <c:strRef>
              <c:f>Tabelle1!$B$1</c:f>
              <c:strCache>
                <c:ptCount val="1"/>
                <c:pt idx="0">
                  <c:v>D-CH (G) [962]</c:v>
                </c:pt>
              </c:strCache>
            </c:strRef>
          </c:tx>
          <c:spPr>
            <a:solidFill>
              <a:schemeClr val="accent5"/>
            </a:solidFill>
          </c:spPr>
          <c:invertIfNegative val="0"/>
          <c:dPt>
            <c:idx val="0"/>
            <c:invertIfNegative val="0"/>
            <c:bubble3D val="0"/>
            <c:spPr>
              <a:solidFill>
                <a:schemeClr val="accent5"/>
              </a:solidFill>
            </c:spPr>
            <c:extLst>
              <c:ext xmlns:c16="http://schemas.microsoft.com/office/drawing/2014/chart" uri="{C3380CC4-5D6E-409C-BE32-E72D297353CC}">
                <c16:uniqueId val="{00000001-9625-470E-AB92-E576FCBE9BB1}"/>
              </c:ext>
            </c:extLst>
          </c:dPt>
          <c:dPt>
            <c:idx val="1"/>
            <c:invertIfNegative val="0"/>
            <c:bubble3D val="0"/>
            <c:spPr>
              <a:solidFill>
                <a:schemeClr val="accent5"/>
              </a:solidFill>
            </c:spPr>
            <c:extLst>
              <c:ext xmlns:c16="http://schemas.microsoft.com/office/drawing/2014/chart" uri="{C3380CC4-5D6E-409C-BE32-E72D297353CC}">
                <c16:uniqueId val="{00000002-9625-470E-AB92-E576FCBE9BB1}"/>
              </c:ext>
            </c:extLst>
          </c:dPt>
          <c:dPt>
            <c:idx val="2"/>
            <c:invertIfNegative val="0"/>
            <c:bubble3D val="0"/>
            <c:spPr>
              <a:solidFill>
                <a:schemeClr val="accent5"/>
              </a:solidFill>
            </c:spPr>
            <c:extLst>
              <c:ext xmlns:c16="http://schemas.microsoft.com/office/drawing/2014/chart" uri="{C3380CC4-5D6E-409C-BE32-E72D297353CC}">
                <c16:uniqueId val="{00000003-9625-470E-AB92-E576FCBE9BB1}"/>
              </c:ext>
            </c:extLst>
          </c:dPt>
          <c:dPt>
            <c:idx val="3"/>
            <c:invertIfNegative val="0"/>
            <c:bubble3D val="0"/>
            <c:spPr>
              <a:solidFill>
                <a:schemeClr val="bg1">
                  <a:lumMod val="65000"/>
                </a:schemeClr>
              </a:solidFill>
            </c:spPr>
            <c:extLst>
              <c:ext xmlns:c16="http://schemas.microsoft.com/office/drawing/2014/chart" uri="{C3380CC4-5D6E-409C-BE32-E72D297353CC}">
                <c16:uniqueId val="{00000000-9625-470E-AB92-E576FCBE9BB1}"/>
              </c:ext>
            </c:extLst>
          </c:dPt>
          <c:dPt>
            <c:idx val="24"/>
            <c:invertIfNegative val="0"/>
            <c:bubble3D val="0"/>
            <c:extLst>
              <c:ext xmlns:c16="http://schemas.microsoft.com/office/drawing/2014/chart" uri="{C3380CC4-5D6E-409C-BE32-E72D297353CC}">
                <c16:uniqueId val="{00000001-BAAD-4EDE-B852-3FBFE25BFF49}"/>
              </c:ext>
            </c:extLst>
          </c:dPt>
          <c:dLbls>
            <c:spPr>
              <a:noFill/>
              <a:ln>
                <a:noFill/>
              </a:ln>
              <a:effectLst/>
            </c:spPr>
            <c:txPr>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numCache>
            </c:numRef>
          </c:cat>
          <c:val>
            <c:numRef>
              <c:f>Tabelle1!$B$2:$B$5</c:f>
              <c:numCache>
                <c:formatCode>0%</c:formatCode>
                <c:ptCount val="4"/>
                <c:pt idx="0">
                  <c:v>0.13900000000000001</c:v>
                </c:pt>
                <c:pt idx="1">
                  <c:v>0.122</c:v>
                </c:pt>
                <c:pt idx="2">
                  <c:v>0.73399999999999999</c:v>
                </c:pt>
                <c:pt idx="3">
                  <c:v>5.0000000000000001E-3</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W-CH (H) [406]</c:v>
                </c:pt>
              </c:strCache>
            </c:strRef>
          </c:tx>
          <c:spPr>
            <a:solidFill>
              <a:schemeClr val="accent5">
                <a:lumMod val="40000"/>
                <a:lumOff val="60000"/>
              </a:schemeClr>
            </a:solidFill>
          </c:spPr>
          <c:invertIfNegative val="0"/>
          <c:dPt>
            <c:idx val="3"/>
            <c:invertIfNegative val="0"/>
            <c:bubble3D val="0"/>
            <c:spPr>
              <a:solidFill>
                <a:schemeClr val="bg1">
                  <a:lumMod val="75000"/>
                </a:schemeClr>
              </a:solidFill>
            </c:spPr>
            <c:extLst>
              <c:ext xmlns:c16="http://schemas.microsoft.com/office/drawing/2014/chart" uri="{C3380CC4-5D6E-409C-BE32-E72D297353CC}">
                <c16:uniqueId val="{00000010-7D8A-4AF0-AE26-9A9D5F9F8697}"/>
              </c:ext>
            </c:extLst>
          </c:dPt>
          <c:dLbls>
            <c:spPr>
              <a:noFill/>
              <a:ln>
                <a:noFill/>
              </a:ln>
              <a:effectLst/>
            </c:spPr>
            <c:txPr>
              <a:bodyPr wrap="square" lIns="38100" tIns="19050" rIns="38100" bIns="19050" anchor="ctr">
                <a:spAutoFit/>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5</c:f>
              <c:numCache>
                <c:formatCode>General</c:formatCode>
                <c:ptCount val="4"/>
              </c:numCache>
            </c:numRef>
          </c:cat>
          <c:val>
            <c:numRef>
              <c:f>Tabelle1!$C$2:$C$5</c:f>
              <c:numCache>
                <c:formatCode>0%</c:formatCode>
                <c:ptCount val="4"/>
                <c:pt idx="0">
                  <c:v>0.13900000000000001</c:v>
                </c:pt>
                <c:pt idx="1">
                  <c:v>0.105</c:v>
                </c:pt>
                <c:pt idx="2">
                  <c:v>0.747</c:v>
                </c:pt>
                <c:pt idx="3">
                  <c:v>8.9999999999999993E-3</c:v>
                </c:pt>
              </c:numCache>
            </c:numRef>
          </c:val>
          <c:extLst>
            <c:ext xmlns:c16="http://schemas.microsoft.com/office/drawing/2014/chart" uri="{C3380CC4-5D6E-409C-BE32-E72D297353CC}">
              <c16:uniqueId val="{0000000E-7D8A-4AF0-AE26-9A9D5F9F8697}"/>
            </c:ext>
          </c:extLst>
        </c:ser>
        <c:ser>
          <c:idx val="2"/>
          <c:order val="2"/>
          <c:tx>
            <c:strRef>
              <c:f>Tabelle1!$D$1</c:f>
              <c:strCache>
                <c:ptCount val="1"/>
                <c:pt idx="0">
                  <c:v>Tessin (I) [242]</c:v>
                </c:pt>
              </c:strCache>
            </c:strRef>
          </c:tx>
          <c:spPr>
            <a:solidFill>
              <a:schemeClr val="accent5">
                <a:lumMod val="20000"/>
                <a:lumOff val="80000"/>
              </a:schemeClr>
            </a:solidFill>
          </c:spPr>
          <c:invertIfNegative val="0"/>
          <c:dPt>
            <c:idx val="3"/>
            <c:invertIfNegative val="0"/>
            <c:bubble3D val="0"/>
            <c:spPr>
              <a:solidFill>
                <a:schemeClr val="bg1">
                  <a:lumMod val="85000"/>
                </a:schemeClr>
              </a:solidFill>
            </c:spPr>
            <c:extLst>
              <c:ext xmlns:c16="http://schemas.microsoft.com/office/drawing/2014/chart" uri="{C3380CC4-5D6E-409C-BE32-E72D297353CC}">
                <c16:uniqueId val="{0000000C-CE0D-4218-BB1D-8D191CAEC14C}"/>
              </c:ext>
            </c:extLst>
          </c:dPt>
          <c:dLbls>
            <c:dLbl>
              <c:idx val="2"/>
              <c:tx>
                <c:rich>
                  <a:bodyPr/>
                  <a:lstStyle/>
                  <a:p>
                    <a:fld id="{B1ABEB99-1BC6-144E-8348-BD0BA17AC2E3}" type="VALUE">
                      <a:rPr lang="en-US" smtClean="0"/>
                      <a:pPr/>
                      <a:t>[WERT]</a:t>
                    </a:fld>
                    <a:r>
                      <a:rPr lang="en-US"/>
                      <a:t> G</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DD13-DD45-AB13-0CF73EBC1A01}"/>
                </c:ext>
              </c:extLst>
            </c:dLbl>
            <c:spPr>
              <a:noFill/>
              <a:ln>
                <a:noFill/>
              </a:ln>
              <a:effectLst/>
            </c:spPr>
            <c:txPr>
              <a:bodyPr wrap="square" lIns="38100" tIns="19050" rIns="38100" bIns="19050" anchor="ctr">
                <a:spAutoFit/>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5</c:f>
              <c:numCache>
                <c:formatCode>General</c:formatCode>
                <c:ptCount val="4"/>
              </c:numCache>
            </c:numRef>
          </c:cat>
          <c:val>
            <c:numRef>
              <c:f>Tabelle1!$D$2:$D$5</c:f>
              <c:numCache>
                <c:formatCode>0%</c:formatCode>
                <c:ptCount val="4"/>
                <c:pt idx="0">
                  <c:v>0.114</c:v>
                </c:pt>
                <c:pt idx="1">
                  <c:v>7.3999999999999996E-2</c:v>
                </c:pt>
                <c:pt idx="2">
                  <c:v>0.80800000000000005</c:v>
                </c:pt>
                <c:pt idx="3">
                  <c:v>4.0000000000000001E-3</c:v>
                </c:pt>
              </c:numCache>
            </c:numRef>
          </c:val>
          <c:extLst>
            <c:ext xmlns:c16="http://schemas.microsoft.com/office/drawing/2014/chart" uri="{C3380CC4-5D6E-409C-BE32-E72D297353CC}">
              <c16:uniqueId val="{0000000B-CE0D-4218-BB1D-8D191CAEC14C}"/>
            </c:ext>
          </c:extLst>
        </c:ser>
        <c:dLbls>
          <c:showLegendKey val="0"/>
          <c:showVal val="0"/>
          <c:showCatName val="0"/>
          <c:showSerName val="0"/>
          <c:showPercent val="0"/>
          <c:showBubbleSize val="0"/>
        </c:dLbls>
        <c:gapWidth val="161"/>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2.5284446935635162E-2"/>
          <c:y val="0.89767156252372726"/>
          <c:w val="0.72501189245124453"/>
          <c:h val="8.5460674759208266E-2"/>
        </c:manualLayout>
      </c:layout>
      <c:overlay val="0"/>
      <c:txPr>
        <a:bodyPr/>
        <a:lstStyle/>
        <a:p>
          <a:pPr>
            <a:defRPr sz="9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938032596296647"/>
          <c:y val="9.2040452936335393E-2"/>
          <c:w val="0.46310336077491426"/>
          <c:h val="0.80342991123616569"/>
        </c:manualLayout>
      </c:layout>
      <c:barChart>
        <c:barDir val="bar"/>
        <c:grouping val="clustered"/>
        <c:varyColors val="0"/>
        <c:ser>
          <c:idx val="0"/>
          <c:order val="0"/>
          <c:tx>
            <c:strRef>
              <c:f>Tabelle1!$B$1</c:f>
              <c:strCache>
                <c:ptCount val="1"/>
                <c:pt idx="0">
                  <c:v>Spalte1</c:v>
                </c:pt>
              </c:strCache>
            </c:strRef>
          </c:tx>
          <c:spPr>
            <a:solidFill>
              <a:schemeClr val="accent2"/>
            </a:solidFill>
          </c:spPr>
          <c:invertIfNegative val="0"/>
          <c:dPt>
            <c:idx val="0"/>
            <c:invertIfNegative val="0"/>
            <c:bubble3D val="0"/>
            <c:extLst>
              <c:ext xmlns:c16="http://schemas.microsoft.com/office/drawing/2014/chart" uri="{C3380CC4-5D6E-409C-BE32-E72D297353CC}">
                <c16:uniqueId val="{00000001-9625-470E-AB92-E576FCBE9BB1}"/>
              </c:ext>
            </c:extLst>
          </c:dPt>
          <c:dPt>
            <c:idx val="1"/>
            <c:invertIfNegative val="0"/>
            <c:bubble3D val="0"/>
            <c:extLst>
              <c:ext xmlns:c16="http://schemas.microsoft.com/office/drawing/2014/chart" uri="{C3380CC4-5D6E-409C-BE32-E72D297353CC}">
                <c16:uniqueId val="{00000002-9625-470E-AB92-E576FCBE9BB1}"/>
              </c:ext>
            </c:extLst>
          </c:dPt>
          <c:dPt>
            <c:idx val="2"/>
            <c:invertIfNegative val="0"/>
            <c:bubble3D val="0"/>
            <c:extLst>
              <c:ext xmlns:c16="http://schemas.microsoft.com/office/drawing/2014/chart" uri="{C3380CC4-5D6E-409C-BE32-E72D297353CC}">
                <c16:uniqueId val="{00000003-9625-470E-AB92-E576FCBE9BB1}"/>
              </c:ext>
            </c:extLst>
          </c:dPt>
          <c:dPt>
            <c:idx val="3"/>
            <c:invertIfNegative val="0"/>
            <c:bubble3D val="0"/>
            <c:extLst>
              <c:ext xmlns:c16="http://schemas.microsoft.com/office/drawing/2014/chart" uri="{C3380CC4-5D6E-409C-BE32-E72D297353CC}">
                <c16:uniqueId val="{00000000-9625-470E-AB92-E576FCBE9BB1}"/>
              </c:ext>
            </c:extLst>
          </c:dPt>
          <c:dPt>
            <c:idx val="25"/>
            <c:invertIfNegative val="0"/>
            <c:bubble3D val="0"/>
            <c:extLst>
              <c:ext xmlns:c16="http://schemas.microsoft.com/office/drawing/2014/chart" uri="{C3380CC4-5D6E-409C-BE32-E72D297353CC}">
                <c16:uniqueId val="{00000001-BAAD-4EDE-B852-3FBFE25BFF49}"/>
              </c:ext>
            </c:extLst>
          </c:dPt>
          <c:dLbls>
            <c:spPr>
              <a:noFill/>
              <a:ln>
                <a:noFill/>
              </a:ln>
              <a:effectLst/>
            </c:spPr>
            <c:txPr>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Kann ich mir sehr gut vorstellen</c:v>
                </c:pt>
                <c:pt idx="1">
                  <c:v>Kann ich mir eher vorstellen</c:v>
                </c:pt>
                <c:pt idx="2">
                  <c:v>Kann ich mir eher nicht vorstellen</c:v>
                </c:pt>
                <c:pt idx="3">
                  <c:v>Kann ich mir überhaupt nicht vorstellen</c:v>
                </c:pt>
              </c:strCache>
            </c:strRef>
          </c:cat>
          <c:val>
            <c:numRef>
              <c:f>Tabelle1!$B$2:$B$5</c:f>
              <c:numCache>
                <c:formatCode>0%</c:formatCode>
                <c:ptCount val="4"/>
                <c:pt idx="0">
                  <c:v>6.7000000000000004E-2</c:v>
                </c:pt>
                <c:pt idx="1">
                  <c:v>0.184</c:v>
                </c:pt>
                <c:pt idx="2">
                  <c:v>0.312</c:v>
                </c:pt>
                <c:pt idx="3">
                  <c:v>0.437</c:v>
                </c:pt>
              </c:numCache>
            </c:numRef>
          </c:val>
          <c:extLst>
            <c:ext xmlns:c16="http://schemas.microsoft.com/office/drawing/2014/chart" uri="{C3380CC4-5D6E-409C-BE32-E72D297353CC}">
              <c16:uniqueId val="{00000002-BAAD-4EDE-B852-3FBFE25BFF49}"/>
            </c:ext>
          </c:extLst>
        </c:ser>
        <c:dLbls>
          <c:showLegendKey val="0"/>
          <c:showVal val="0"/>
          <c:showCatName val="0"/>
          <c:showSerName val="0"/>
          <c:showPercent val="0"/>
          <c:showBubbleSize val="0"/>
        </c:dLbls>
        <c:gapWidth val="153"/>
        <c:axId val="53095936"/>
        <c:axId val="137818048"/>
      </c:barChart>
      <c:catAx>
        <c:axId val="53095936"/>
        <c:scaling>
          <c:orientation val="maxMin"/>
        </c:scaling>
        <c:delete val="0"/>
        <c:axPos val="l"/>
        <c:numFmt formatCode="General" sourceLinked="0"/>
        <c:majorTickMark val="none"/>
        <c:minorTickMark val="none"/>
        <c:tickLblPos val="nextTo"/>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plotVisOnly val="1"/>
    <c:dispBlanksAs val="gap"/>
    <c:showDLblsOverMax val="0"/>
  </c:chart>
  <c:txPr>
    <a:bodyPr/>
    <a:lstStyle/>
    <a:p>
      <a:pPr>
        <a:defRPr sz="1800"/>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490470135280585E-2"/>
          <c:y val="9.204044503615226E-2"/>
          <c:w val="0.45769326735290644"/>
          <c:h val="0.80342991123616569"/>
        </c:manualLayout>
      </c:layout>
      <c:barChart>
        <c:barDir val="bar"/>
        <c:grouping val="clustered"/>
        <c:varyColors val="0"/>
        <c:ser>
          <c:idx val="0"/>
          <c:order val="0"/>
          <c:tx>
            <c:strRef>
              <c:f>Tabelle1!$B$1</c:f>
              <c:strCache>
                <c:ptCount val="1"/>
                <c:pt idx="0">
                  <c:v>Männer (A) [583]</c:v>
                </c:pt>
              </c:strCache>
            </c:strRef>
          </c:tx>
          <c:spPr>
            <a:solidFill>
              <a:schemeClr val="accent6"/>
            </a:solidFill>
          </c:spPr>
          <c:invertIfNegative val="0"/>
          <c:dPt>
            <c:idx val="0"/>
            <c:invertIfNegative val="0"/>
            <c:bubble3D val="0"/>
            <c:spPr>
              <a:solidFill>
                <a:schemeClr val="accent6"/>
              </a:solidFill>
            </c:spPr>
            <c:extLst>
              <c:ext xmlns:c16="http://schemas.microsoft.com/office/drawing/2014/chart" uri="{C3380CC4-5D6E-409C-BE32-E72D297353CC}">
                <c16:uniqueId val="{00000001-9625-470E-AB92-E576FCBE9BB1}"/>
              </c:ext>
            </c:extLst>
          </c:dPt>
          <c:dPt>
            <c:idx val="1"/>
            <c:invertIfNegative val="0"/>
            <c:bubble3D val="0"/>
            <c:spPr>
              <a:solidFill>
                <a:schemeClr val="accent6"/>
              </a:solidFill>
            </c:spPr>
            <c:extLst>
              <c:ext xmlns:c16="http://schemas.microsoft.com/office/drawing/2014/chart" uri="{C3380CC4-5D6E-409C-BE32-E72D297353CC}">
                <c16:uniqueId val="{00000002-9625-470E-AB92-E576FCBE9BB1}"/>
              </c:ext>
            </c:extLst>
          </c:dPt>
          <c:dPt>
            <c:idx val="2"/>
            <c:invertIfNegative val="0"/>
            <c:bubble3D val="0"/>
            <c:spPr>
              <a:solidFill>
                <a:schemeClr val="accent6"/>
              </a:solidFill>
            </c:spPr>
            <c:extLst>
              <c:ext xmlns:c16="http://schemas.microsoft.com/office/drawing/2014/chart" uri="{C3380CC4-5D6E-409C-BE32-E72D297353CC}">
                <c16:uniqueId val="{00000003-9625-470E-AB92-E576FCBE9BB1}"/>
              </c:ext>
            </c:extLst>
          </c:dPt>
          <c:dPt>
            <c:idx val="3"/>
            <c:invertIfNegative val="0"/>
            <c:bubble3D val="0"/>
            <c:spPr>
              <a:solidFill>
                <a:schemeClr val="accent6"/>
              </a:solidFill>
            </c:spPr>
            <c:extLst>
              <c:ext xmlns:c16="http://schemas.microsoft.com/office/drawing/2014/chart" uri="{C3380CC4-5D6E-409C-BE32-E72D297353CC}">
                <c16:uniqueId val="{00000000-9625-470E-AB92-E576FCBE9BB1}"/>
              </c:ext>
            </c:extLst>
          </c:dPt>
          <c:dPt>
            <c:idx val="24"/>
            <c:invertIfNegative val="0"/>
            <c:bubble3D val="0"/>
            <c:extLst>
              <c:ext xmlns:c16="http://schemas.microsoft.com/office/drawing/2014/chart" uri="{C3380CC4-5D6E-409C-BE32-E72D297353CC}">
                <c16:uniqueId val="{00000001-BAAD-4EDE-B852-3FBFE25BFF49}"/>
              </c:ext>
            </c:extLst>
          </c:dPt>
          <c:dLbls>
            <c:dLbl>
              <c:idx val="3"/>
              <c:tx>
                <c:rich>
                  <a:bodyPr/>
                  <a:lstStyle/>
                  <a:p>
                    <a:fld id="{9F34498E-AF55-F343-B2B3-21A89EF2EDAA}" type="VALUE">
                      <a:rPr lang="en-US" smtClean="0"/>
                      <a:pPr/>
                      <a:t>[WERT]</a:t>
                    </a:fld>
                    <a:r>
                      <a:rPr lang="en-US"/>
                      <a:t> B</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625-470E-AB92-E576FCBE9BB1}"/>
                </c:ext>
              </c:extLst>
            </c:dLbl>
            <c:spPr>
              <a:noFill/>
              <a:ln>
                <a:noFill/>
              </a:ln>
              <a:effectLst/>
            </c:spPr>
            <c:txPr>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numCache>
            </c:numRef>
          </c:cat>
          <c:val>
            <c:numRef>
              <c:f>Tabelle1!$B$2:$B$5</c:f>
              <c:numCache>
                <c:formatCode>0%</c:formatCode>
                <c:ptCount val="4"/>
                <c:pt idx="0">
                  <c:v>6.0999999999999999E-2</c:v>
                </c:pt>
                <c:pt idx="1">
                  <c:v>0.14399999999999999</c:v>
                </c:pt>
                <c:pt idx="2">
                  <c:v>0.32</c:v>
                </c:pt>
                <c:pt idx="3">
                  <c:v>0.47599999999999998</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Frauen (B) [613]</c:v>
                </c:pt>
              </c:strCache>
            </c:strRef>
          </c:tx>
          <c:spPr>
            <a:solidFill>
              <a:schemeClr val="accent6">
                <a:lumMod val="60000"/>
                <a:lumOff val="40000"/>
              </a:schemeClr>
            </a:solidFill>
          </c:spPr>
          <c:invertIfNegative val="0"/>
          <c:dPt>
            <c:idx val="3"/>
            <c:invertIfNegative val="0"/>
            <c:bubble3D val="0"/>
            <c:extLst>
              <c:ext xmlns:c16="http://schemas.microsoft.com/office/drawing/2014/chart" uri="{C3380CC4-5D6E-409C-BE32-E72D297353CC}">
                <c16:uniqueId val="{00000010-7D8A-4AF0-AE26-9A9D5F9F8697}"/>
              </c:ext>
            </c:extLst>
          </c:dPt>
          <c:dLbls>
            <c:dLbl>
              <c:idx val="1"/>
              <c:tx>
                <c:rich>
                  <a:bodyPr/>
                  <a:lstStyle/>
                  <a:p>
                    <a:fld id="{0818E8B8-E5B3-364C-B464-667FF25A5262}" type="VALUE">
                      <a:rPr lang="en-US" smtClean="0"/>
                      <a:pPr/>
                      <a:t>[WERT]</a:t>
                    </a:fld>
                    <a:r>
                      <a:rPr lang="en-US"/>
                      <a:t> A</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C02E-5B40-8C25-7B8B13C48C4D}"/>
                </c:ext>
              </c:extLst>
            </c:dLbl>
            <c:spPr>
              <a:noFill/>
              <a:ln>
                <a:noFill/>
              </a:ln>
              <a:effectLst/>
            </c:spPr>
            <c:txPr>
              <a:bodyPr wrap="square" lIns="38100" tIns="19050" rIns="38100" bIns="19050" anchor="ctr">
                <a:spAutoFit/>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5</c:f>
              <c:numCache>
                <c:formatCode>General</c:formatCode>
                <c:ptCount val="4"/>
              </c:numCache>
            </c:numRef>
          </c:cat>
          <c:val>
            <c:numRef>
              <c:f>Tabelle1!$C$2:$C$5</c:f>
              <c:numCache>
                <c:formatCode>0%</c:formatCode>
                <c:ptCount val="4"/>
                <c:pt idx="0">
                  <c:v>7.2999999999999995E-2</c:v>
                </c:pt>
                <c:pt idx="1">
                  <c:v>0.222</c:v>
                </c:pt>
                <c:pt idx="2">
                  <c:v>0.30499999999999999</c:v>
                </c:pt>
                <c:pt idx="3">
                  <c:v>0.4</c:v>
                </c:pt>
              </c:numCache>
            </c:numRef>
          </c:val>
          <c:extLst>
            <c:ext xmlns:c16="http://schemas.microsoft.com/office/drawing/2014/chart" uri="{C3380CC4-5D6E-409C-BE32-E72D297353CC}">
              <c16:uniqueId val="{0000000E-7D8A-4AF0-AE26-9A9D5F9F8697}"/>
            </c:ext>
          </c:extLst>
        </c:ser>
        <c:dLbls>
          <c:showLegendKey val="0"/>
          <c:showVal val="0"/>
          <c:showCatName val="0"/>
          <c:showSerName val="0"/>
          <c:showPercent val="0"/>
          <c:showBubbleSize val="0"/>
        </c:dLbls>
        <c:gapWidth val="161"/>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2.9834325607893335E-2"/>
          <c:y val="0.90736919791574666"/>
          <c:w val="0.40172488254216432"/>
          <c:h val="7.5763039367188825E-2"/>
        </c:manualLayout>
      </c:layout>
      <c:overlay val="0"/>
      <c:txPr>
        <a:bodyPr/>
        <a:lstStyle/>
        <a:p>
          <a:pPr>
            <a:defRPr sz="9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490470135280585E-2"/>
          <c:y val="9.204044503615226E-2"/>
          <c:w val="0.45769326735290644"/>
          <c:h val="0.80342991123616569"/>
        </c:manualLayout>
      </c:layout>
      <c:barChart>
        <c:barDir val="bar"/>
        <c:grouping val="clustered"/>
        <c:varyColors val="0"/>
        <c:ser>
          <c:idx val="0"/>
          <c:order val="0"/>
          <c:tx>
            <c:strRef>
              <c:f>Tabelle1!$B$1</c:f>
              <c:strCache>
                <c:ptCount val="1"/>
                <c:pt idx="0">
                  <c:v>15-29 J. (C) [267]</c:v>
                </c:pt>
              </c:strCache>
            </c:strRef>
          </c:tx>
          <c:spPr>
            <a:solidFill>
              <a:schemeClr val="accent4">
                <a:lumMod val="75000"/>
              </a:schemeClr>
            </a:solidFill>
          </c:spPr>
          <c:invertIfNegative val="0"/>
          <c:dPt>
            <c:idx val="0"/>
            <c:invertIfNegative val="0"/>
            <c:bubble3D val="0"/>
            <c:spPr>
              <a:solidFill>
                <a:schemeClr val="accent4">
                  <a:lumMod val="75000"/>
                </a:schemeClr>
              </a:solidFill>
            </c:spPr>
            <c:extLst>
              <c:ext xmlns:c16="http://schemas.microsoft.com/office/drawing/2014/chart" uri="{C3380CC4-5D6E-409C-BE32-E72D297353CC}">
                <c16:uniqueId val="{00000001-9625-470E-AB92-E576FCBE9BB1}"/>
              </c:ext>
            </c:extLst>
          </c:dPt>
          <c:dPt>
            <c:idx val="1"/>
            <c:invertIfNegative val="0"/>
            <c:bubble3D val="0"/>
            <c:spPr>
              <a:solidFill>
                <a:schemeClr val="accent4">
                  <a:lumMod val="75000"/>
                </a:schemeClr>
              </a:solidFill>
            </c:spPr>
            <c:extLst>
              <c:ext xmlns:c16="http://schemas.microsoft.com/office/drawing/2014/chart" uri="{C3380CC4-5D6E-409C-BE32-E72D297353CC}">
                <c16:uniqueId val="{00000002-9625-470E-AB92-E576FCBE9BB1}"/>
              </c:ext>
            </c:extLst>
          </c:dPt>
          <c:dPt>
            <c:idx val="2"/>
            <c:invertIfNegative val="0"/>
            <c:bubble3D val="0"/>
            <c:spPr>
              <a:solidFill>
                <a:schemeClr val="accent4">
                  <a:lumMod val="75000"/>
                </a:schemeClr>
              </a:solidFill>
            </c:spPr>
            <c:extLst>
              <c:ext xmlns:c16="http://schemas.microsoft.com/office/drawing/2014/chart" uri="{C3380CC4-5D6E-409C-BE32-E72D297353CC}">
                <c16:uniqueId val="{00000003-9625-470E-AB92-E576FCBE9BB1}"/>
              </c:ext>
            </c:extLst>
          </c:dPt>
          <c:dPt>
            <c:idx val="3"/>
            <c:invertIfNegative val="0"/>
            <c:bubble3D val="0"/>
            <c:spPr>
              <a:solidFill>
                <a:schemeClr val="accent4">
                  <a:lumMod val="75000"/>
                </a:schemeClr>
              </a:solidFill>
            </c:spPr>
            <c:extLst>
              <c:ext xmlns:c16="http://schemas.microsoft.com/office/drawing/2014/chart" uri="{C3380CC4-5D6E-409C-BE32-E72D297353CC}">
                <c16:uniqueId val="{00000000-9625-470E-AB92-E576FCBE9BB1}"/>
              </c:ext>
            </c:extLst>
          </c:dPt>
          <c:dPt>
            <c:idx val="24"/>
            <c:invertIfNegative val="0"/>
            <c:bubble3D val="0"/>
            <c:extLst>
              <c:ext xmlns:c16="http://schemas.microsoft.com/office/drawing/2014/chart" uri="{C3380CC4-5D6E-409C-BE32-E72D297353CC}">
                <c16:uniqueId val="{00000001-BAAD-4EDE-B852-3FBFE25BFF49}"/>
              </c:ext>
            </c:extLst>
          </c:dPt>
          <c:dLbls>
            <c:spPr>
              <a:noFill/>
              <a:ln>
                <a:noFill/>
              </a:ln>
              <a:effectLst/>
            </c:spPr>
            <c:txPr>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numCache>
            </c:numRef>
          </c:cat>
          <c:val>
            <c:numRef>
              <c:f>Tabelle1!$B$2:$B$5</c:f>
              <c:numCache>
                <c:formatCode>0%</c:formatCode>
                <c:ptCount val="4"/>
                <c:pt idx="0">
                  <c:v>6.2E-2</c:v>
                </c:pt>
                <c:pt idx="1">
                  <c:v>0.20300000000000001</c:v>
                </c:pt>
                <c:pt idx="2">
                  <c:v>0.30399999999999999</c:v>
                </c:pt>
                <c:pt idx="3">
                  <c:v>0.43099999999999999</c:v>
                </c:pt>
              </c:numCache>
            </c:numRef>
          </c:val>
          <c:extLst>
            <c:ext xmlns:c16="http://schemas.microsoft.com/office/drawing/2014/chart" uri="{C3380CC4-5D6E-409C-BE32-E72D297353CC}">
              <c16:uniqueId val="{00000002-BAAD-4EDE-B852-3FBFE25BFF49}"/>
            </c:ext>
          </c:extLst>
        </c:ser>
        <c:ser>
          <c:idx val="1"/>
          <c:order val="1"/>
          <c:tx>
            <c:strRef>
              <c:f>Tabelle1!$C$1</c:f>
              <c:strCache>
                <c:ptCount val="1"/>
                <c:pt idx="0">
                  <c:v>30-44 J. (D) [391]</c:v>
                </c:pt>
              </c:strCache>
            </c:strRef>
          </c:tx>
          <c:spPr>
            <a:solidFill>
              <a:schemeClr val="accent4"/>
            </a:solidFill>
          </c:spPr>
          <c:invertIfNegative val="0"/>
          <c:dPt>
            <c:idx val="3"/>
            <c:invertIfNegative val="0"/>
            <c:bubble3D val="0"/>
            <c:extLst>
              <c:ext xmlns:c16="http://schemas.microsoft.com/office/drawing/2014/chart" uri="{C3380CC4-5D6E-409C-BE32-E72D297353CC}">
                <c16:uniqueId val="{00000010-7D8A-4AF0-AE26-9A9D5F9F8697}"/>
              </c:ext>
            </c:extLst>
          </c:dPt>
          <c:dLbls>
            <c:spPr>
              <a:noFill/>
              <a:ln>
                <a:noFill/>
              </a:ln>
              <a:effectLst/>
            </c:spPr>
            <c:txPr>
              <a:bodyPr wrap="square" lIns="38100" tIns="19050" rIns="38100" bIns="19050" anchor="ctr">
                <a:spAutoFit/>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5</c:f>
              <c:numCache>
                <c:formatCode>General</c:formatCode>
                <c:ptCount val="4"/>
              </c:numCache>
            </c:numRef>
          </c:cat>
          <c:val>
            <c:numRef>
              <c:f>Tabelle1!$C$2:$C$5</c:f>
              <c:numCache>
                <c:formatCode>0%</c:formatCode>
                <c:ptCount val="4"/>
                <c:pt idx="0">
                  <c:v>4.5999999999999999E-2</c:v>
                </c:pt>
                <c:pt idx="1">
                  <c:v>0.188</c:v>
                </c:pt>
                <c:pt idx="2">
                  <c:v>0.313</c:v>
                </c:pt>
                <c:pt idx="3">
                  <c:v>0.45300000000000001</c:v>
                </c:pt>
              </c:numCache>
            </c:numRef>
          </c:val>
          <c:extLst>
            <c:ext xmlns:c16="http://schemas.microsoft.com/office/drawing/2014/chart" uri="{C3380CC4-5D6E-409C-BE32-E72D297353CC}">
              <c16:uniqueId val="{0000000E-7D8A-4AF0-AE26-9A9D5F9F8697}"/>
            </c:ext>
          </c:extLst>
        </c:ser>
        <c:ser>
          <c:idx val="2"/>
          <c:order val="2"/>
          <c:tx>
            <c:strRef>
              <c:f>Tabelle1!$D$1</c:f>
              <c:strCache>
                <c:ptCount val="1"/>
                <c:pt idx="0">
                  <c:v>45-59 J. (E) [370]</c:v>
                </c:pt>
              </c:strCache>
            </c:strRef>
          </c:tx>
          <c:spPr>
            <a:solidFill>
              <a:schemeClr val="accent4">
                <a:lumMod val="60000"/>
                <a:lumOff val="40000"/>
              </a:schemeClr>
            </a:solidFill>
          </c:spPr>
          <c:invertIfNegative val="0"/>
          <c:dLbls>
            <c:dLbl>
              <c:idx val="2"/>
              <c:tx>
                <c:rich>
                  <a:bodyPr/>
                  <a:lstStyle/>
                  <a:p>
                    <a:fld id="{392661E4-1E25-9A4D-AE99-1DD266F1CBC2}" type="VALUE">
                      <a:rPr lang="en-US" smtClean="0"/>
                      <a:pPr/>
                      <a:t>[WERT]</a:t>
                    </a:fld>
                    <a:r>
                      <a:rPr lang="en-US"/>
                      <a:t> F</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7E6A-6C46-AD62-077F066D7B80}"/>
                </c:ext>
              </c:extLst>
            </c:dLbl>
            <c:spPr>
              <a:noFill/>
              <a:ln>
                <a:noFill/>
              </a:ln>
              <a:effectLst/>
            </c:spPr>
            <c:txPr>
              <a:bodyPr wrap="square" lIns="38100" tIns="19050" rIns="38100" bIns="19050" anchor="ctr">
                <a:spAutoFit/>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5</c:f>
              <c:numCache>
                <c:formatCode>General</c:formatCode>
                <c:ptCount val="4"/>
              </c:numCache>
            </c:numRef>
          </c:cat>
          <c:val>
            <c:numRef>
              <c:f>Tabelle1!$D$2:$D$5</c:f>
              <c:numCache>
                <c:formatCode>0%</c:formatCode>
                <c:ptCount val="4"/>
                <c:pt idx="0">
                  <c:v>8.2000000000000003E-2</c:v>
                </c:pt>
                <c:pt idx="1">
                  <c:v>0.14599999999999999</c:v>
                </c:pt>
                <c:pt idx="2">
                  <c:v>0.35099999999999998</c:v>
                </c:pt>
                <c:pt idx="3">
                  <c:v>0.42</c:v>
                </c:pt>
              </c:numCache>
            </c:numRef>
          </c:val>
          <c:extLst>
            <c:ext xmlns:c16="http://schemas.microsoft.com/office/drawing/2014/chart" uri="{C3380CC4-5D6E-409C-BE32-E72D297353CC}">
              <c16:uniqueId val="{0000000B-A4AA-4B61-ADC3-6229709C4A52}"/>
            </c:ext>
          </c:extLst>
        </c:ser>
        <c:ser>
          <c:idx val="3"/>
          <c:order val="3"/>
          <c:tx>
            <c:strRef>
              <c:f>Tabelle1!$E$1</c:f>
              <c:strCache>
                <c:ptCount val="1"/>
                <c:pt idx="0">
                  <c:v>60+ J. (F) [160]</c:v>
                </c:pt>
              </c:strCache>
            </c:strRef>
          </c:tx>
          <c:spPr>
            <a:solidFill>
              <a:schemeClr val="accent4">
                <a:lumMod val="40000"/>
                <a:lumOff val="60000"/>
              </a:schemeClr>
            </a:solidFill>
          </c:spPr>
          <c:invertIfNegative val="0"/>
          <c:dLbls>
            <c:dLbl>
              <c:idx val="0"/>
              <c:tx>
                <c:rich>
                  <a:bodyPr/>
                  <a:lstStyle/>
                  <a:p>
                    <a:fld id="{8C5F77FB-A8D7-BF4D-B852-594036FF164D}" type="VALUE">
                      <a:rPr lang="en-US" smtClean="0"/>
                      <a:pPr/>
                      <a:t>[WERT]</a:t>
                    </a:fld>
                    <a:r>
                      <a:rPr lang="en-US"/>
                      <a:t> D</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7E6A-6C46-AD62-077F066D7B80}"/>
                </c:ext>
              </c:extLst>
            </c:dLbl>
            <c:spPr>
              <a:noFill/>
              <a:ln>
                <a:noFill/>
              </a:ln>
              <a:effectLst/>
            </c:spPr>
            <c:txPr>
              <a:bodyPr wrap="square" lIns="38100" tIns="19050" rIns="38100" bIns="19050" anchor="ctr">
                <a:spAutoFit/>
              </a:bodyPr>
              <a:lstStyle/>
              <a:p>
                <a:pPr>
                  <a:defRPr sz="9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5</c:f>
              <c:numCache>
                <c:formatCode>General</c:formatCode>
                <c:ptCount val="4"/>
              </c:numCache>
            </c:numRef>
          </c:cat>
          <c:val>
            <c:numRef>
              <c:f>Tabelle1!$E$2:$E$5</c:f>
              <c:numCache>
                <c:formatCode>0%</c:formatCode>
                <c:ptCount val="4"/>
                <c:pt idx="0">
                  <c:v>9.4E-2</c:v>
                </c:pt>
                <c:pt idx="1">
                  <c:v>0.20799999999999999</c:v>
                </c:pt>
                <c:pt idx="2">
                  <c:v>0.253</c:v>
                </c:pt>
                <c:pt idx="3">
                  <c:v>0.44500000000000001</c:v>
                </c:pt>
              </c:numCache>
            </c:numRef>
          </c:val>
          <c:extLst>
            <c:ext xmlns:c16="http://schemas.microsoft.com/office/drawing/2014/chart" uri="{C3380CC4-5D6E-409C-BE32-E72D297353CC}">
              <c16:uniqueId val="{0000000C-A4AA-4B61-ADC3-6229709C4A52}"/>
            </c:ext>
          </c:extLst>
        </c:ser>
        <c:dLbls>
          <c:showLegendKey val="0"/>
          <c:showVal val="0"/>
          <c:showCatName val="0"/>
          <c:showSerName val="0"/>
          <c:showPercent val="0"/>
          <c:showBubbleSize val="0"/>
        </c:dLbls>
        <c:gapWidth val="161"/>
        <c:axId val="53095936"/>
        <c:axId val="137818048"/>
      </c:barChart>
      <c:catAx>
        <c:axId val="53095936"/>
        <c:scaling>
          <c:orientation val="maxMin"/>
        </c:scaling>
        <c:delete val="0"/>
        <c:axPos val="l"/>
        <c:numFmt formatCode="General" sourceLinked="0"/>
        <c:majorTickMark val="none"/>
        <c:minorTickMark val="none"/>
        <c:tickLblPos val="none"/>
        <c:txPr>
          <a:bodyPr/>
          <a:lstStyle/>
          <a:p>
            <a:pPr algn="r">
              <a:defRPr sz="900"/>
            </a:pPr>
            <a:endParaRPr lang="de-DE"/>
          </a:p>
        </c:txPr>
        <c:crossAx val="137818048"/>
        <c:crossesAt val="0"/>
        <c:auto val="1"/>
        <c:lblAlgn val="ctr"/>
        <c:lblOffset val="100"/>
        <c:noMultiLvlLbl val="0"/>
      </c:catAx>
      <c:valAx>
        <c:axId val="137818048"/>
        <c:scaling>
          <c:orientation val="minMax"/>
          <c:max val="1"/>
          <c:min val="0"/>
        </c:scaling>
        <c:delete val="1"/>
        <c:axPos val="b"/>
        <c:numFmt formatCode="0%" sourceLinked="1"/>
        <c:majorTickMark val="none"/>
        <c:minorTickMark val="none"/>
        <c:tickLblPos val="nextTo"/>
        <c:crossAx val="53095936"/>
        <c:crosses val="max"/>
        <c:crossBetween val="between"/>
        <c:majorUnit val="0.2"/>
      </c:valAx>
    </c:plotArea>
    <c:legend>
      <c:legendPos val="b"/>
      <c:layout>
        <c:manualLayout>
          <c:xMode val="edge"/>
          <c:yMode val="edge"/>
          <c:x val="1.1706554384020504E-2"/>
          <c:y val="0.90048285630990466"/>
          <c:w val="0.8374469787519182"/>
          <c:h val="8.5460674759208266E-2"/>
        </c:manualLayout>
      </c:layout>
      <c:overlay val="0"/>
      <c:txPr>
        <a:bodyPr/>
        <a:lstStyle/>
        <a:p>
          <a:pPr>
            <a:defRPr sz="900"/>
          </a:pPr>
          <a:endParaRPr lang="de-DE"/>
        </a:p>
      </c:txPr>
    </c:legend>
    <c:plotVisOnly val="1"/>
    <c:dispBlanksAs val="gap"/>
    <c:showDLblsOverMax val="0"/>
  </c:chart>
  <c:txPr>
    <a:bodyPr/>
    <a:lstStyle/>
    <a:p>
      <a:pPr>
        <a:defRPr sz="1800"/>
      </a:pPr>
      <a:endParaRPr lang="de-DE"/>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91CE38E0-05A2-47A5-BBD1-BC2F41C47FB9}"/>
              </a:ext>
            </a:extLst>
          </p:cNvPr>
          <p:cNvSpPr>
            <a:spLocks noGrp="1"/>
          </p:cNvSpPr>
          <p:nvPr>
            <p:ph type="hdr" sz="quarter"/>
          </p:nvPr>
        </p:nvSpPr>
        <p:spPr>
          <a:xfrm>
            <a:off x="0" y="0"/>
            <a:ext cx="2975988" cy="501511"/>
          </a:xfrm>
          <a:prstGeom prst="rect">
            <a:avLst/>
          </a:prstGeom>
        </p:spPr>
        <p:txBody>
          <a:bodyPr vert="horz" lIns="92492" tIns="46246" rIns="92492" bIns="46246" rtlCol="0"/>
          <a:lstStyle>
            <a:lvl1pPr algn="l">
              <a:defRPr sz="1200"/>
            </a:lvl1pPr>
          </a:lstStyle>
          <a:p>
            <a:endParaRPr lang="de-CH"/>
          </a:p>
        </p:txBody>
      </p:sp>
      <p:sp>
        <p:nvSpPr>
          <p:cNvPr id="3" name="Datumsplatzhalter 2">
            <a:extLst>
              <a:ext uri="{FF2B5EF4-FFF2-40B4-BE49-F238E27FC236}">
                <a16:creationId xmlns:a16="http://schemas.microsoft.com/office/drawing/2014/main" id="{FEA2D2D4-0790-42A9-9E00-41C79A358AB7}"/>
              </a:ext>
            </a:extLst>
          </p:cNvPr>
          <p:cNvSpPr>
            <a:spLocks noGrp="1"/>
          </p:cNvSpPr>
          <p:nvPr>
            <p:ph type="dt" sz="quarter" idx="1"/>
          </p:nvPr>
        </p:nvSpPr>
        <p:spPr>
          <a:xfrm>
            <a:off x="3888347" y="0"/>
            <a:ext cx="2975988" cy="501511"/>
          </a:xfrm>
          <a:prstGeom prst="rect">
            <a:avLst/>
          </a:prstGeom>
        </p:spPr>
        <p:txBody>
          <a:bodyPr vert="horz" lIns="92492" tIns="46246" rIns="92492" bIns="46246" rtlCol="0"/>
          <a:lstStyle>
            <a:lvl1pPr algn="r">
              <a:defRPr sz="1200"/>
            </a:lvl1pPr>
          </a:lstStyle>
          <a:p>
            <a:fld id="{0A90FEF5-5341-44DD-96CF-360352195760}" type="datetimeFigureOut">
              <a:rPr lang="de-CH" smtClean="0"/>
              <a:t>18.07.2023</a:t>
            </a:fld>
            <a:endParaRPr lang="de-CH"/>
          </a:p>
        </p:txBody>
      </p:sp>
      <p:sp>
        <p:nvSpPr>
          <p:cNvPr id="4" name="Fußzeilenplatzhalter 3">
            <a:extLst>
              <a:ext uri="{FF2B5EF4-FFF2-40B4-BE49-F238E27FC236}">
                <a16:creationId xmlns:a16="http://schemas.microsoft.com/office/drawing/2014/main" id="{E4954DAB-6A99-4C7F-AC3F-1494D18EC821}"/>
              </a:ext>
            </a:extLst>
          </p:cNvPr>
          <p:cNvSpPr>
            <a:spLocks noGrp="1"/>
          </p:cNvSpPr>
          <p:nvPr>
            <p:ph type="ftr" sz="quarter" idx="2"/>
          </p:nvPr>
        </p:nvSpPr>
        <p:spPr>
          <a:xfrm>
            <a:off x="0" y="9496564"/>
            <a:ext cx="2975988" cy="501511"/>
          </a:xfrm>
          <a:prstGeom prst="rect">
            <a:avLst/>
          </a:prstGeom>
        </p:spPr>
        <p:txBody>
          <a:bodyPr vert="horz" lIns="92492" tIns="46246" rIns="92492" bIns="46246"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E58678F4-DBD8-47B6-8E1C-06DDCDA546C2}"/>
              </a:ext>
            </a:extLst>
          </p:cNvPr>
          <p:cNvSpPr>
            <a:spLocks noGrp="1"/>
          </p:cNvSpPr>
          <p:nvPr>
            <p:ph type="sldNum" sz="quarter" idx="3"/>
          </p:nvPr>
        </p:nvSpPr>
        <p:spPr>
          <a:xfrm>
            <a:off x="3888347" y="9496564"/>
            <a:ext cx="2975988" cy="501511"/>
          </a:xfrm>
          <a:prstGeom prst="rect">
            <a:avLst/>
          </a:prstGeom>
        </p:spPr>
        <p:txBody>
          <a:bodyPr vert="horz" lIns="92492" tIns="46246" rIns="92492" bIns="46246" rtlCol="0" anchor="b"/>
          <a:lstStyle>
            <a:lvl1pPr algn="r">
              <a:defRPr sz="1200"/>
            </a:lvl1pPr>
          </a:lstStyle>
          <a:p>
            <a:fld id="{F54510D7-3D04-42CE-A891-B5DAAE192608}" type="slidenum">
              <a:rPr lang="de-CH" smtClean="0"/>
              <a:t>‹Nr.›</a:t>
            </a:fld>
            <a:endParaRPr lang="de-CH"/>
          </a:p>
        </p:txBody>
      </p:sp>
    </p:spTree>
    <p:extLst>
      <p:ext uri="{BB962C8B-B14F-4D97-AF65-F5344CB8AC3E}">
        <p14:creationId xmlns:p14="http://schemas.microsoft.com/office/powerpoint/2010/main" val="6919787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75240" cy="499904"/>
          </a:xfrm>
          <a:prstGeom prst="rect">
            <a:avLst/>
          </a:prstGeom>
        </p:spPr>
        <p:txBody>
          <a:bodyPr vert="horz" lIns="92492" tIns="46246" rIns="92492" bIns="46246" rtlCol="0"/>
          <a:lstStyle>
            <a:lvl1pPr algn="l">
              <a:defRPr sz="1200"/>
            </a:lvl1pPr>
          </a:lstStyle>
          <a:p>
            <a:endParaRPr lang="en-GB"/>
          </a:p>
        </p:txBody>
      </p:sp>
      <p:sp>
        <p:nvSpPr>
          <p:cNvPr id="3" name="Datumsplatzhalter 2"/>
          <p:cNvSpPr>
            <a:spLocks noGrp="1"/>
          </p:cNvSpPr>
          <p:nvPr>
            <p:ph type="dt" idx="1"/>
          </p:nvPr>
        </p:nvSpPr>
        <p:spPr>
          <a:xfrm>
            <a:off x="3889110" y="1"/>
            <a:ext cx="2975240" cy="499904"/>
          </a:xfrm>
          <a:prstGeom prst="rect">
            <a:avLst/>
          </a:prstGeom>
        </p:spPr>
        <p:txBody>
          <a:bodyPr vert="horz" lIns="92492" tIns="46246" rIns="92492" bIns="46246" rtlCol="0"/>
          <a:lstStyle>
            <a:lvl1pPr algn="r">
              <a:defRPr sz="1200"/>
            </a:lvl1pPr>
          </a:lstStyle>
          <a:p>
            <a:fld id="{CF3D362C-F8D5-41B5-B407-D55839E44F3E}" type="datetimeFigureOut">
              <a:rPr lang="en-GB" smtClean="0"/>
              <a:t>18/07/2023</a:t>
            </a:fld>
            <a:endParaRPr lang="en-GB"/>
          </a:p>
        </p:txBody>
      </p:sp>
      <p:sp>
        <p:nvSpPr>
          <p:cNvPr id="4" name="Folienbildplatzhalter 3"/>
          <p:cNvSpPr>
            <a:spLocks noGrp="1" noRot="1" noChangeAspect="1"/>
          </p:cNvSpPr>
          <p:nvPr>
            <p:ph type="sldImg" idx="2"/>
          </p:nvPr>
        </p:nvSpPr>
        <p:spPr>
          <a:xfrm>
            <a:off x="101600" y="750888"/>
            <a:ext cx="6662738" cy="3748087"/>
          </a:xfrm>
          <a:prstGeom prst="rect">
            <a:avLst/>
          </a:prstGeom>
          <a:noFill/>
          <a:ln w="12700">
            <a:solidFill>
              <a:prstClr val="black"/>
            </a:solidFill>
          </a:ln>
        </p:spPr>
        <p:txBody>
          <a:bodyPr vert="horz" lIns="92492" tIns="46246" rIns="92492" bIns="46246" rtlCol="0" anchor="ctr"/>
          <a:lstStyle/>
          <a:p>
            <a:endParaRPr lang="en-GB"/>
          </a:p>
        </p:txBody>
      </p:sp>
      <p:sp>
        <p:nvSpPr>
          <p:cNvPr id="5" name="Notizenplatzhalter 4"/>
          <p:cNvSpPr>
            <a:spLocks noGrp="1"/>
          </p:cNvSpPr>
          <p:nvPr>
            <p:ph type="body" sz="quarter" idx="3"/>
          </p:nvPr>
        </p:nvSpPr>
        <p:spPr>
          <a:xfrm>
            <a:off x="686595" y="4749087"/>
            <a:ext cx="5492750" cy="4499134"/>
          </a:xfrm>
          <a:prstGeom prst="rect">
            <a:avLst/>
          </a:prstGeom>
        </p:spPr>
        <p:txBody>
          <a:bodyPr vert="horz" lIns="92492" tIns="46246" rIns="92492" bIns="46246"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9496437"/>
            <a:ext cx="2975240" cy="499904"/>
          </a:xfrm>
          <a:prstGeom prst="rect">
            <a:avLst/>
          </a:prstGeom>
        </p:spPr>
        <p:txBody>
          <a:bodyPr vert="horz" lIns="92492" tIns="46246" rIns="92492" bIns="46246" rtlCol="0" anchor="b"/>
          <a:lstStyle>
            <a:lvl1pPr algn="l">
              <a:defRPr sz="1200"/>
            </a:lvl1pPr>
          </a:lstStyle>
          <a:p>
            <a:endParaRPr lang="en-GB"/>
          </a:p>
        </p:txBody>
      </p:sp>
      <p:sp>
        <p:nvSpPr>
          <p:cNvPr id="7" name="Foliennummernplatzhalter 6"/>
          <p:cNvSpPr>
            <a:spLocks noGrp="1"/>
          </p:cNvSpPr>
          <p:nvPr>
            <p:ph type="sldNum" sz="quarter" idx="5"/>
          </p:nvPr>
        </p:nvSpPr>
        <p:spPr>
          <a:xfrm>
            <a:off x="3889110" y="9496437"/>
            <a:ext cx="2975240" cy="499904"/>
          </a:xfrm>
          <a:prstGeom prst="rect">
            <a:avLst/>
          </a:prstGeom>
        </p:spPr>
        <p:txBody>
          <a:bodyPr vert="horz" lIns="92492" tIns="46246" rIns="92492" bIns="46246" rtlCol="0" anchor="b"/>
          <a:lstStyle>
            <a:lvl1pPr algn="r">
              <a:defRPr sz="1200"/>
            </a:lvl1pPr>
          </a:lstStyle>
          <a:p>
            <a:fld id="{3F21389D-24EF-4272-AA0E-940855B752E4}" type="slidenum">
              <a:rPr lang="en-GB" smtClean="0"/>
              <a:t>‹Nr.›</a:t>
            </a:fld>
            <a:endParaRPr lang="en-GB"/>
          </a:p>
        </p:txBody>
      </p:sp>
    </p:spTree>
    <p:extLst>
      <p:ext uri="{BB962C8B-B14F-4D97-AF65-F5344CB8AC3E}">
        <p14:creationId xmlns:p14="http://schemas.microsoft.com/office/powerpoint/2010/main" val="3676781950"/>
      </p:ext>
    </p:extLst>
  </p:cSld>
  <p:clrMap bg1="lt1" tx1="dk1" bg2="lt2" tx2="dk2" accent1="accent1" accent2="accent2" accent3="accent3" accent4="accent4" accent5="accent5" accent6="accent6" hlink="hlink" folHlink="folHlink"/>
  <p:hf hdr="0" ftr="0" dt="0"/>
  <p:notesStyle>
    <a:lvl1pPr marL="0" algn="l" defTabSz="768004" rtl="0" eaLnBrk="1" latinLnBrk="0" hangingPunct="1">
      <a:defRPr sz="1008" kern="1200">
        <a:solidFill>
          <a:schemeClr val="tx1"/>
        </a:solidFill>
        <a:latin typeface="+mn-lt"/>
        <a:ea typeface="+mn-ea"/>
        <a:cs typeface="+mn-cs"/>
      </a:defRPr>
    </a:lvl1pPr>
    <a:lvl2pPr marL="384002" algn="l" defTabSz="768004" rtl="0" eaLnBrk="1" latinLnBrk="0" hangingPunct="1">
      <a:defRPr sz="1008" kern="1200">
        <a:solidFill>
          <a:schemeClr val="tx1"/>
        </a:solidFill>
        <a:latin typeface="+mn-lt"/>
        <a:ea typeface="+mn-ea"/>
        <a:cs typeface="+mn-cs"/>
      </a:defRPr>
    </a:lvl2pPr>
    <a:lvl3pPr marL="768004" algn="l" defTabSz="768004" rtl="0" eaLnBrk="1" latinLnBrk="0" hangingPunct="1">
      <a:defRPr sz="1008" kern="1200">
        <a:solidFill>
          <a:schemeClr val="tx1"/>
        </a:solidFill>
        <a:latin typeface="+mn-lt"/>
        <a:ea typeface="+mn-ea"/>
        <a:cs typeface="+mn-cs"/>
      </a:defRPr>
    </a:lvl3pPr>
    <a:lvl4pPr marL="1152006" algn="l" defTabSz="768004" rtl="0" eaLnBrk="1" latinLnBrk="0" hangingPunct="1">
      <a:defRPr sz="1008" kern="1200">
        <a:solidFill>
          <a:schemeClr val="tx1"/>
        </a:solidFill>
        <a:latin typeface="+mn-lt"/>
        <a:ea typeface="+mn-ea"/>
        <a:cs typeface="+mn-cs"/>
      </a:defRPr>
    </a:lvl4pPr>
    <a:lvl5pPr marL="1536008" algn="l" defTabSz="768004" rtl="0" eaLnBrk="1" latinLnBrk="0" hangingPunct="1">
      <a:defRPr sz="1008" kern="1200">
        <a:solidFill>
          <a:schemeClr val="tx1"/>
        </a:solidFill>
        <a:latin typeface="+mn-lt"/>
        <a:ea typeface="+mn-ea"/>
        <a:cs typeface="+mn-cs"/>
      </a:defRPr>
    </a:lvl5pPr>
    <a:lvl6pPr marL="1920010" algn="l" defTabSz="768004" rtl="0" eaLnBrk="1" latinLnBrk="0" hangingPunct="1">
      <a:defRPr sz="1008" kern="1200">
        <a:solidFill>
          <a:schemeClr val="tx1"/>
        </a:solidFill>
        <a:latin typeface="+mn-lt"/>
        <a:ea typeface="+mn-ea"/>
        <a:cs typeface="+mn-cs"/>
      </a:defRPr>
    </a:lvl6pPr>
    <a:lvl7pPr marL="2304011" algn="l" defTabSz="768004" rtl="0" eaLnBrk="1" latinLnBrk="0" hangingPunct="1">
      <a:defRPr sz="1008" kern="1200">
        <a:solidFill>
          <a:schemeClr val="tx1"/>
        </a:solidFill>
        <a:latin typeface="+mn-lt"/>
        <a:ea typeface="+mn-ea"/>
        <a:cs typeface="+mn-cs"/>
      </a:defRPr>
    </a:lvl7pPr>
    <a:lvl8pPr marL="2688013" algn="l" defTabSz="768004" rtl="0" eaLnBrk="1" latinLnBrk="0" hangingPunct="1">
      <a:defRPr sz="1008" kern="1200">
        <a:solidFill>
          <a:schemeClr val="tx1"/>
        </a:solidFill>
        <a:latin typeface="+mn-lt"/>
        <a:ea typeface="+mn-ea"/>
        <a:cs typeface="+mn-cs"/>
      </a:defRPr>
    </a:lvl8pPr>
    <a:lvl9pPr marL="3072016" algn="l" defTabSz="768004" rtl="0" eaLnBrk="1" latinLnBrk="0" hangingPunct="1">
      <a:defRPr sz="1008"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_1_schwarz">
    <p:bg>
      <p:bgRef idx="1001">
        <a:schemeClr val="bg1"/>
      </p:bgRef>
    </p:bg>
    <p:spTree>
      <p:nvGrpSpPr>
        <p:cNvPr id="1" name=""/>
        <p:cNvGrpSpPr/>
        <p:nvPr/>
      </p:nvGrpSpPr>
      <p:grpSpPr>
        <a:xfrm>
          <a:off x="0" y="0"/>
          <a:ext cx="0" cy="0"/>
          <a:chOff x="0" y="0"/>
          <a:chExt cx="0" cy="0"/>
        </a:xfrm>
      </p:grpSpPr>
      <p:sp>
        <p:nvSpPr>
          <p:cNvPr id="4" name="Freihandform 3">
            <a:extLst>
              <a:ext uri="{FF2B5EF4-FFF2-40B4-BE49-F238E27FC236}">
                <a16:creationId xmlns:a16="http://schemas.microsoft.com/office/drawing/2014/main" id="{0B17F1F1-5DA1-4544-C525-6DC43CA7120E}"/>
              </a:ext>
            </a:extLst>
          </p:cNvPr>
          <p:cNvSpPr/>
          <p:nvPr userDrawn="1"/>
        </p:nvSpPr>
        <p:spPr>
          <a:xfrm>
            <a:off x="3701992" y="4209653"/>
            <a:ext cx="2920463" cy="615485"/>
          </a:xfrm>
          <a:custGeom>
            <a:avLst/>
            <a:gdLst>
              <a:gd name="connsiteX0" fmla="*/ 2858940 w 2920463"/>
              <a:gd name="connsiteY0" fmla="*/ 71724 h 615485"/>
              <a:gd name="connsiteX1" fmla="*/ 2847568 w 2920463"/>
              <a:gd name="connsiteY1" fmla="*/ 71724 h 615485"/>
              <a:gd name="connsiteX2" fmla="*/ 2847568 w 2920463"/>
              <a:gd name="connsiteY2" fmla="*/ 90384 h 615485"/>
              <a:gd name="connsiteX3" fmla="*/ 2859815 w 2920463"/>
              <a:gd name="connsiteY3" fmla="*/ 90384 h 615485"/>
              <a:gd name="connsiteX4" fmla="*/ 2871770 w 2920463"/>
              <a:gd name="connsiteY4" fmla="*/ 87760 h 615485"/>
              <a:gd name="connsiteX5" fmla="*/ 2874977 w 2920463"/>
              <a:gd name="connsiteY5" fmla="*/ 80762 h 615485"/>
              <a:gd name="connsiteX6" fmla="*/ 2873519 w 2920463"/>
              <a:gd name="connsiteY6" fmla="*/ 75806 h 615485"/>
              <a:gd name="connsiteX7" fmla="*/ 2869145 w 2920463"/>
              <a:gd name="connsiteY7" fmla="*/ 72599 h 615485"/>
              <a:gd name="connsiteX8" fmla="*/ 2858940 w 2920463"/>
              <a:gd name="connsiteY8" fmla="*/ 71724 h 615485"/>
              <a:gd name="connsiteX9" fmla="*/ 2858649 w 2920463"/>
              <a:gd name="connsiteY9" fmla="*/ 63269 h 615485"/>
              <a:gd name="connsiteX10" fmla="*/ 2874394 w 2920463"/>
              <a:gd name="connsiteY10" fmla="*/ 65018 h 615485"/>
              <a:gd name="connsiteX11" fmla="*/ 2882266 w 2920463"/>
              <a:gd name="connsiteY11" fmla="*/ 71141 h 615485"/>
              <a:gd name="connsiteX12" fmla="*/ 2885182 w 2920463"/>
              <a:gd name="connsiteY12" fmla="*/ 80179 h 615485"/>
              <a:gd name="connsiteX13" fmla="*/ 2880225 w 2920463"/>
              <a:gd name="connsiteY13" fmla="*/ 92133 h 615485"/>
              <a:gd name="connsiteX14" fmla="*/ 2867396 w 2920463"/>
              <a:gd name="connsiteY14" fmla="*/ 97673 h 615485"/>
              <a:gd name="connsiteX15" fmla="*/ 2872644 w 2920463"/>
              <a:gd name="connsiteY15" fmla="*/ 100880 h 615485"/>
              <a:gd name="connsiteX16" fmla="*/ 2881975 w 2920463"/>
              <a:gd name="connsiteY16" fmla="*/ 113126 h 615485"/>
              <a:gd name="connsiteX17" fmla="*/ 2889556 w 2920463"/>
              <a:gd name="connsiteY17" fmla="*/ 125371 h 615485"/>
              <a:gd name="connsiteX18" fmla="*/ 2877309 w 2920463"/>
              <a:gd name="connsiteY18" fmla="*/ 125371 h 615485"/>
              <a:gd name="connsiteX19" fmla="*/ 2871770 w 2920463"/>
              <a:gd name="connsiteY19" fmla="*/ 115458 h 615485"/>
              <a:gd name="connsiteX20" fmla="*/ 2861272 w 2920463"/>
              <a:gd name="connsiteY20" fmla="*/ 100880 h 615485"/>
              <a:gd name="connsiteX21" fmla="*/ 2853108 w 2920463"/>
              <a:gd name="connsiteY21" fmla="*/ 98839 h 615485"/>
              <a:gd name="connsiteX22" fmla="*/ 2847277 w 2920463"/>
              <a:gd name="connsiteY22" fmla="*/ 98839 h 615485"/>
              <a:gd name="connsiteX23" fmla="*/ 2847277 w 2920463"/>
              <a:gd name="connsiteY23" fmla="*/ 125080 h 615485"/>
              <a:gd name="connsiteX24" fmla="*/ 2837363 w 2920463"/>
              <a:gd name="connsiteY24" fmla="*/ 125080 h 615485"/>
              <a:gd name="connsiteX25" fmla="*/ 2837363 w 2920463"/>
              <a:gd name="connsiteY25" fmla="*/ 62977 h 615485"/>
              <a:gd name="connsiteX26" fmla="*/ 2858649 w 2920463"/>
              <a:gd name="connsiteY26" fmla="*/ 62977 h 615485"/>
              <a:gd name="connsiteX27" fmla="*/ 2862730 w 2920463"/>
              <a:gd name="connsiteY27" fmla="*/ 45192 h 615485"/>
              <a:gd name="connsiteX28" fmla="*/ 2839113 w 2920463"/>
              <a:gd name="connsiteY28" fmla="*/ 51315 h 615485"/>
              <a:gd name="connsiteX29" fmla="*/ 2821035 w 2920463"/>
              <a:gd name="connsiteY29" fmla="*/ 69100 h 615485"/>
              <a:gd name="connsiteX30" fmla="*/ 2814620 w 2920463"/>
              <a:gd name="connsiteY30" fmla="*/ 93300 h 615485"/>
              <a:gd name="connsiteX31" fmla="*/ 2821035 w 2920463"/>
              <a:gd name="connsiteY31" fmla="*/ 117208 h 615485"/>
              <a:gd name="connsiteX32" fmla="*/ 2838821 w 2920463"/>
              <a:gd name="connsiteY32" fmla="*/ 134993 h 615485"/>
              <a:gd name="connsiteX33" fmla="*/ 2862730 w 2920463"/>
              <a:gd name="connsiteY33" fmla="*/ 141407 h 615485"/>
              <a:gd name="connsiteX34" fmla="*/ 2886640 w 2920463"/>
              <a:gd name="connsiteY34" fmla="*/ 134993 h 615485"/>
              <a:gd name="connsiteX35" fmla="*/ 2904426 w 2920463"/>
              <a:gd name="connsiteY35" fmla="*/ 117208 h 615485"/>
              <a:gd name="connsiteX36" fmla="*/ 2910841 w 2920463"/>
              <a:gd name="connsiteY36" fmla="*/ 93300 h 615485"/>
              <a:gd name="connsiteX37" fmla="*/ 2904426 w 2920463"/>
              <a:gd name="connsiteY37" fmla="*/ 69100 h 615485"/>
              <a:gd name="connsiteX38" fmla="*/ 2886349 w 2920463"/>
              <a:gd name="connsiteY38" fmla="*/ 51315 h 615485"/>
              <a:gd name="connsiteX39" fmla="*/ 2862730 w 2920463"/>
              <a:gd name="connsiteY39" fmla="*/ 45192 h 615485"/>
              <a:gd name="connsiteX40" fmla="*/ 2862730 w 2920463"/>
              <a:gd name="connsiteY40" fmla="*/ 35571 h 615485"/>
              <a:gd name="connsiteX41" fmla="*/ 2891014 w 2920463"/>
              <a:gd name="connsiteY41" fmla="*/ 43151 h 615485"/>
              <a:gd name="connsiteX42" fmla="*/ 2912591 w 2920463"/>
              <a:gd name="connsiteY42" fmla="*/ 64435 h 615485"/>
              <a:gd name="connsiteX43" fmla="*/ 2920463 w 2920463"/>
              <a:gd name="connsiteY43" fmla="*/ 93300 h 615485"/>
              <a:gd name="connsiteX44" fmla="*/ 2912882 w 2920463"/>
              <a:gd name="connsiteY44" fmla="*/ 121873 h 615485"/>
              <a:gd name="connsiteX45" fmla="*/ 2891597 w 2920463"/>
              <a:gd name="connsiteY45" fmla="*/ 143156 h 615485"/>
              <a:gd name="connsiteX46" fmla="*/ 2862730 w 2920463"/>
              <a:gd name="connsiteY46" fmla="*/ 150737 h 615485"/>
              <a:gd name="connsiteX47" fmla="*/ 2833864 w 2920463"/>
              <a:gd name="connsiteY47" fmla="*/ 143156 h 615485"/>
              <a:gd name="connsiteX48" fmla="*/ 2812579 w 2920463"/>
              <a:gd name="connsiteY48" fmla="*/ 121873 h 615485"/>
              <a:gd name="connsiteX49" fmla="*/ 2804998 w 2920463"/>
              <a:gd name="connsiteY49" fmla="*/ 93300 h 615485"/>
              <a:gd name="connsiteX50" fmla="*/ 2812870 w 2920463"/>
              <a:gd name="connsiteY50" fmla="*/ 64435 h 615485"/>
              <a:gd name="connsiteX51" fmla="*/ 2834447 w 2920463"/>
              <a:gd name="connsiteY51" fmla="*/ 43151 h 615485"/>
              <a:gd name="connsiteX52" fmla="*/ 2862730 w 2920463"/>
              <a:gd name="connsiteY52" fmla="*/ 35571 h 615485"/>
              <a:gd name="connsiteX53" fmla="*/ 2182475 w 2920463"/>
              <a:gd name="connsiteY53" fmla="*/ 257448 h 615485"/>
              <a:gd name="connsiteX54" fmla="*/ 2107247 w 2920463"/>
              <a:gd name="connsiteY54" fmla="*/ 291561 h 615485"/>
              <a:gd name="connsiteX55" fmla="*/ 2076631 w 2920463"/>
              <a:gd name="connsiteY55" fmla="*/ 389817 h 615485"/>
              <a:gd name="connsiteX56" fmla="*/ 2107247 w 2920463"/>
              <a:gd name="connsiteY56" fmla="*/ 488073 h 615485"/>
              <a:gd name="connsiteX57" fmla="*/ 2182475 w 2920463"/>
              <a:gd name="connsiteY57" fmla="*/ 522186 h 615485"/>
              <a:gd name="connsiteX58" fmla="*/ 2257411 w 2920463"/>
              <a:gd name="connsiteY58" fmla="*/ 488073 h 615485"/>
              <a:gd name="connsiteX59" fmla="*/ 2287735 w 2920463"/>
              <a:gd name="connsiteY59" fmla="*/ 388943 h 615485"/>
              <a:gd name="connsiteX60" fmla="*/ 2257411 w 2920463"/>
              <a:gd name="connsiteY60" fmla="*/ 291561 h 615485"/>
              <a:gd name="connsiteX61" fmla="*/ 2182475 w 2920463"/>
              <a:gd name="connsiteY61" fmla="*/ 257448 h 615485"/>
              <a:gd name="connsiteX62" fmla="*/ 667426 w 2920463"/>
              <a:gd name="connsiteY62" fmla="*/ 257448 h 615485"/>
              <a:gd name="connsiteX63" fmla="*/ 592199 w 2920463"/>
              <a:gd name="connsiteY63" fmla="*/ 291561 h 615485"/>
              <a:gd name="connsiteX64" fmla="*/ 561583 w 2920463"/>
              <a:gd name="connsiteY64" fmla="*/ 389817 h 615485"/>
              <a:gd name="connsiteX65" fmla="*/ 592199 w 2920463"/>
              <a:gd name="connsiteY65" fmla="*/ 488073 h 615485"/>
              <a:gd name="connsiteX66" fmla="*/ 667426 w 2920463"/>
              <a:gd name="connsiteY66" fmla="*/ 522186 h 615485"/>
              <a:gd name="connsiteX67" fmla="*/ 742362 w 2920463"/>
              <a:gd name="connsiteY67" fmla="*/ 488073 h 615485"/>
              <a:gd name="connsiteX68" fmla="*/ 772686 w 2920463"/>
              <a:gd name="connsiteY68" fmla="*/ 388943 h 615485"/>
              <a:gd name="connsiteX69" fmla="*/ 742362 w 2920463"/>
              <a:gd name="connsiteY69" fmla="*/ 291561 h 615485"/>
              <a:gd name="connsiteX70" fmla="*/ 667426 w 2920463"/>
              <a:gd name="connsiteY70" fmla="*/ 257448 h 615485"/>
              <a:gd name="connsiteX71" fmla="*/ 2509336 w 2920463"/>
              <a:gd name="connsiteY71" fmla="*/ 174062 h 615485"/>
              <a:gd name="connsiteX72" fmla="*/ 2590687 w 2920463"/>
              <a:gd name="connsiteY72" fmla="*/ 393899 h 615485"/>
              <a:gd name="connsiteX73" fmla="*/ 2614305 w 2920463"/>
              <a:gd name="connsiteY73" fmla="*/ 467373 h 615485"/>
              <a:gd name="connsiteX74" fmla="*/ 2625968 w 2920463"/>
              <a:gd name="connsiteY74" fmla="*/ 430344 h 615485"/>
              <a:gd name="connsiteX75" fmla="*/ 2638214 w 2920463"/>
              <a:gd name="connsiteY75" fmla="*/ 393899 h 615485"/>
              <a:gd name="connsiteX76" fmla="*/ 2720440 w 2920463"/>
              <a:gd name="connsiteY76" fmla="*/ 174062 h 615485"/>
              <a:gd name="connsiteX77" fmla="*/ 2837946 w 2920463"/>
              <a:gd name="connsiteY77" fmla="*/ 174062 h 615485"/>
              <a:gd name="connsiteX78" fmla="*/ 2666497 w 2920463"/>
              <a:gd name="connsiteY78" fmla="*/ 604989 h 615485"/>
              <a:gd name="connsiteX79" fmla="*/ 2563278 w 2920463"/>
              <a:gd name="connsiteY79" fmla="*/ 604989 h 615485"/>
              <a:gd name="connsiteX80" fmla="*/ 2389205 w 2920463"/>
              <a:gd name="connsiteY80" fmla="*/ 174062 h 615485"/>
              <a:gd name="connsiteX81" fmla="*/ 2509336 w 2920463"/>
              <a:gd name="connsiteY81" fmla="*/ 174062 h 615485"/>
              <a:gd name="connsiteX82" fmla="*/ 140833 w 2920463"/>
              <a:gd name="connsiteY82" fmla="*/ 10205 h 615485"/>
              <a:gd name="connsiteX83" fmla="*/ 281083 w 2920463"/>
              <a:gd name="connsiteY83" fmla="*/ 245495 h 615485"/>
              <a:gd name="connsiteX84" fmla="*/ 418417 w 2920463"/>
              <a:gd name="connsiteY84" fmla="*/ 10205 h 615485"/>
              <a:gd name="connsiteX85" fmla="*/ 557209 w 2920463"/>
              <a:gd name="connsiteY85" fmla="*/ 10205 h 615485"/>
              <a:gd name="connsiteX86" fmla="*/ 338233 w 2920463"/>
              <a:gd name="connsiteY86" fmla="*/ 355413 h 615485"/>
              <a:gd name="connsiteX87" fmla="*/ 338233 w 2920463"/>
              <a:gd name="connsiteY87" fmla="*/ 604989 h 615485"/>
              <a:gd name="connsiteX88" fmla="*/ 218393 w 2920463"/>
              <a:gd name="connsiteY88" fmla="*/ 604989 h 615485"/>
              <a:gd name="connsiteX89" fmla="*/ 218393 w 2920463"/>
              <a:gd name="connsiteY89" fmla="*/ 354538 h 615485"/>
              <a:gd name="connsiteX90" fmla="*/ 0 w 2920463"/>
              <a:gd name="connsiteY90" fmla="*/ 9913 h 615485"/>
              <a:gd name="connsiteX91" fmla="*/ 140833 w 2920463"/>
              <a:gd name="connsiteY91" fmla="*/ 9913 h 615485"/>
              <a:gd name="connsiteX92" fmla="*/ 2181892 w 2920463"/>
              <a:gd name="connsiteY92" fmla="*/ 164441 h 615485"/>
              <a:gd name="connsiteX93" fmla="*/ 2342552 w 2920463"/>
              <a:gd name="connsiteY93" fmla="*/ 228001 h 615485"/>
              <a:gd name="connsiteX94" fmla="*/ 2405242 w 2920463"/>
              <a:gd name="connsiteY94" fmla="*/ 388651 h 615485"/>
              <a:gd name="connsiteX95" fmla="*/ 2341969 w 2920463"/>
              <a:gd name="connsiteY95" fmla="*/ 550759 h 615485"/>
              <a:gd name="connsiteX96" fmla="*/ 2182766 w 2920463"/>
              <a:gd name="connsiteY96" fmla="*/ 615194 h 615485"/>
              <a:gd name="connsiteX97" fmla="*/ 2069633 w 2920463"/>
              <a:gd name="connsiteY97" fmla="*/ 588370 h 615485"/>
              <a:gd name="connsiteX98" fmla="*/ 1987699 w 2920463"/>
              <a:gd name="connsiteY98" fmla="*/ 509941 h 615485"/>
              <a:gd name="connsiteX99" fmla="*/ 1959708 w 2920463"/>
              <a:gd name="connsiteY99" fmla="*/ 383986 h 615485"/>
              <a:gd name="connsiteX100" fmla="*/ 1987699 w 2920463"/>
              <a:gd name="connsiteY100" fmla="*/ 274068 h 615485"/>
              <a:gd name="connsiteX101" fmla="*/ 2067301 w 2920463"/>
              <a:gd name="connsiteY101" fmla="*/ 193014 h 615485"/>
              <a:gd name="connsiteX102" fmla="*/ 2181892 w 2920463"/>
              <a:gd name="connsiteY102" fmla="*/ 164441 h 615485"/>
              <a:gd name="connsiteX103" fmla="*/ 667135 w 2920463"/>
              <a:gd name="connsiteY103" fmla="*/ 164441 h 615485"/>
              <a:gd name="connsiteX104" fmla="*/ 827795 w 2920463"/>
              <a:gd name="connsiteY104" fmla="*/ 228001 h 615485"/>
              <a:gd name="connsiteX105" fmla="*/ 890485 w 2920463"/>
              <a:gd name="connsiteY105" fmla="*/ 388651 h 615485"/>
              <a:gd name="connsiteX106" fmla="*/ 827212 w 2920463"/>
              <a:gd name="connsiteY106" fmla="*/ 550759 h 615485"/>
              <a:gd name="connsiteX107" fmla="*/ 668009 w 2920463"/>
              <a:gd name="connsiteY107" fmla="*/ 615194 h 615485"/>
              <a:gd name="connsiteX108" fmla="*/ 554876 w 2920463"/>
              <a:gd name="connsiteY108" fmla="*/ 588370 h 615485"/>
              <a:gd name="connsiteX109" fmla="*/ 472942 w 2920463"/>
              <a:gd name="connsiteY109" fmla="*/ 509941 h 615485"/>
              <a:gd name="connsiteX110" fmla="*/ 444951 w 2920463"/>
              <a:gd name="connsiteY110" fmla="*/ 383986 h 615485"/>
              <a:gd name="connsiteX111" fmla="*/ 472942 w 2920463"/>
              <a:gd name="connsiteY111" fmla="*/ 274068 h 615485"/>
              <a:gd name="connsiteX112" fmla="*/ 552544 w 2920463"/>
              <a:gd name="connsiteY112" fmla="*/ 193014 h 615485"/>
              <a:gd name="connsiteX113" fmla="*/ 667135 w 2920463"/>
              <a:gd name="connsiteY113" fmla="*/ 164441 h 615485"/>
              <a:gd name="connsiteX114" fmla="*/ 1041523 w 2920463"/>
              <a:gd name="connsiteY114" fmla="*/ 174062 h 615485"/>
              <a:gd name="connsiteX115" fmla="*/ 1041523 w 2920463"/>
              <a:gd name="connsiteY115" fmla="*/ 372032 h 615485"/>
              <a:gd name="connsiteX116" fmla="*/ 1047938 w 2920463"/>
              <a:gd name="connsiteY116" fmla="*/ 483408 h 615485"/>
              <a:gd name="connsiteX117" fmla="*/ 1070973 w 2920463"/>
              <a:gd name="connsiteY117" fmla="*/ 515772 h 615485"/>
              <a:gd name="connsiteX118" fmla="*/ 1113252 w 2920463"/>
              <a:gd name="connsiteY118" fmla="*/ 527726 h 615485"/>
              <a:gd name="connsiteX119" fmla="*/ 1165736 w 2920463"/>
              <a:gd name="connsiteY119" fmla="*/ 511690 h 615485"/>
              <a:gd name="connsiteX120" fmla="*/ 1197518 w 2920463"/>
              <a:gd name="connsiteY120" fmla="*/ 472038 h 615485"/>
              <a:gd name="connsiteX121" fmla="*/ 1205974 w 2920463"/>
              <a:gd name="connsiteY121" fmla="*/ 355705 h 615485"/>
              <a:gd name="connsiteX122" fmla="*/ 1205974 w 2920463"/>
              <a:gd name="connsiteY122" fmla="*/ 173770 h 615485"/>
              <a:gd name="connsiteX123" fmla="*/ 1320273 w 2920463"/>
              <a:gd name="connsiteY123" fmla="*/ 173770 h 615485"/>
              <a:gd name="connsiteX124" fmla="*/ 1320273 w 2920463"/>
              <a:gd name="connsiteY124" fmla="*/ 604698 h 615485"/>
              <a:gd name="connsiteX125" fmla="*/ 1214138 w 2920463"/>
              <a:gd name="connsiteY125" fmla="*/ 604698 h 615485"/>
              <a:gd name="connsiteX126" fmla="*/ 1214138 w 2920463"/>
              <a:gd name="connsiteY126" fmla="*/ 540263 h 615485"/>
              <a:gd name="connsiteX127" fmla="*/ 1152032 w 2920463"/>
              <a:gd name="connsiteY127" fmla="*/ 594493 h 615485"/>
              <a:gd name="connsiteX128" fmla="*/ 1070973 w 2920463"/>
              <a:gd name="connsiteY128" fmla="*/ 614319 h 615485"/>
              <a:gd name="connsiteX129" fmla="*/ 992829 w 2920463"/>
              <a:gd name="connsiteY129" fmla="*/ 595368 h 615485"/>
              <a:gd name="connsiteX130" fmla="*/ 942969 w 2920463"/>
              <a:gd name="connsiteY130" fmla="*/ 541721 h 615485"/>
              <a:gd name="connsiteX131" fmla="*/ 927515 w 2920463"/>
              <a:gd name="connsiteY131" fmla="*/ 446380 h 615485"/>
              <a:gd name="connsiteX132" fmla="*/ 927515 w 2920463"/>
              <a:gd name="connsiteY132" fmla="*/ 173770 h 615485"/>
              <a:gd name="connsiteX133" fmla="*/ 1041523 w 2920463"/>
              <a:gd name="connsiteY133" fmla="*/ 173770 h 615485"/>
              <a:gd name="connsiteX134" fmla="*/ 1664338 w 2920463"/>
              <a:gd name="connsiteY134" fmla="*/ 0 h 615485"/>
              <a:gd name="connsiteX135" fmla="*/ 1837828 w 2920463"/>
              <a:gd name="connsiteY135" fmla="*/ 46358 h 615485"/>
              <a:gd name="connsiteX136" fmla="*/ 1918012 w 2920463"/>
              <a:gd name="connsiteY136" fmla="*/ 174937 h 615485"/>
              <a:gd name="connsiteX137" fmla="*/ 1798464 w 2920463"/>
              <a:gd name="connsiteY137" fmla="*/ 197387 h 615485"/>
              <a:gd name="connsiteX138" fmla="*/ 1751228 w 2920463"/>
              <a:gd name="connsiteY138" fmla="*/ 128287 h 615485"/>
              <a:gd name="connsiteX139" fmla="*/ 1664338 w 2920463"/>
              <a:gd name="connsiteY139" fmla="*/ 102921 h 615485"/>
              <a:gd name="connsiteX140" fmla="*/ 1538958 w 2920463"/>
              <a:gd name="connsiteY140" fmla="*/ 152778 h 615485"/>
              <a:gd name="connsiteX141" fmla="*/ 1492305 w 2920463"/>
              <a:gd name="connsiteY141" fmla="*/ 300891 h 615485"/>
              <a:gd name="connsiteX142" fmla="*/ 1539541 w 2920463"/>
              <a:gd name="connsiteY142" fmla="*/ 459792 h 615485"/>
              <a:gd name="connsiteX143" fmla="*/ 1663171 w 2920463"/>
              <a:gd name="connsiteY143" fmla="*/ 512856 h 615485"/>
              <a:gd name="connsiteX144" fmla="*/ 1738982 w 2920463"/>
              <a:gd name="connsiteY144" fmla="*/ 497986 h 615485"/>
              <a:gd name="connsiteX145" fmla="*/ 1804296 w 2920463"/>
              <a:gd name="connsiteY145" fmla="*/ 462124 h 615485"/>
              <a:gd name="connsiteX146" fmla="*/ 1804296 w 2920463"/>
              <a:gd name="connsiteY146" fmla="*/ 386610 h 615485"/>
              <a:gd name="connsiteX147" fmla="*/ 1666379 w 2920463"/>
              <a:gd name="connsiteY147" fmla="*/ 386610 h 615485"/>
              <a:gd name="connsiteX148" fmla="*/ 1666379 w 2920463"/>
              <a:gd name="connsiteY148" fmla="*/ 286313 h 615485"/>
              <a:gd name="connsiteX149" fmla="*/ 1925885 w 2920463"/>
              <a:gd name="connsiteY149" fmla="*/ 286313 h 615485"/>
              <a:gd name="connsiteX150" fmla="*/ 1925885 w 2920463"/>
              <a:gd name="connsiteY150" fmla="*/ 523352 h 615485"/>
              <a:gd name="connsiteX151" fmla="*/ 1816251 w 2920463"/>
              <a:gd name="connsiteY151" fmla="*/ 587787 h 615485"/>
              <a:gd name="connsiteX152" fmla="*/ 1671044 w 2920463"/>
              <a:gd name="connsiteY152" fmla="*/ 615486 h 615485"/>
              <a:gd name="connsiteX153" fmla="*/ 1508051 w 2920463"/>
              <a:gd name="connsiteY153" fmla="*/ 576417 h 615485"/>
              <a:gd name="connsiteX154" fmla="*/ 1403665 w 2920463"/>
              <a:gd name="connsiteY154" fmla="*/ 464457 h 615485"/>
              <a:gd name="connsiteX155" fmla="*/ 1368676 w 2920463"/>
              <a:gd name="connsiteY155" fmla="*/ 305848 h 615485"/>
              <a:gd name="connsiteX156" fmla="*/ 1407747 w 2920463"/>
              <a:gd name="connsiteY156" fmla="*/ 140824 h 615485"/>
              <a:gd name="connsiteX157" fmla="*/ 1522047 w 2920463"/>
              <a:gd name="connsiteY157" fmla="*/ 30031 h 615485"/>
              <a:gd name="connsiteX158" fmla="*/ 1664338 w 2920463"/>
              <a:gd name="connsiteY158" fmla="*/ 0 h 61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920463" h="615485">
                <a:moveTo>
                  <a:pt x="2858940" y="71724"/>
                </a:moveTo>
                <a:lnTo>
                  <a:pt x="2847568" y="71724"/>
                </a:lnTo>
                <a:lnTo>
                  <a:pt x="2847568" y="90384"/>
                </a:lnTo>
                <a:lnTo>
                  <a:pt x="2859815" y="90384"/>
                </a:lnTo>
                <a:cubicBezTo>
                  <a:pt x="2865646" y="90384"/>
                  <a:pt x="2869728" y="89509"/>
                  <a:pt x="2871770" y="87760"/>
                </a:cubicBezTo>
                <a:cubicBezTo>
                  <a:pt x="2873811" y="86011"/>
                  <a:pt x="2874977" y="83678"/>
                  <a:pt x="2874977" y="80762"/>
                </a:cubicBezTo>
                <a:cubicBezTo>
                  <a:pt x="2874977" y="79013"/>
                  <a:pt x="2874394" y="77264"/>
                  <a:pt x="2873519" y="75806"/>
                </a:cubicBezTo>
                <a:cubicBezTo>
                  <a:pt x="2872644" y="74348"/>
                  <a:pt x="2871186" y="73182"/>
                  <a:pt x="2869145" y="72599"/>
                </a:cubicBezTo>
                <a:cubicBezTo>
                  <a:pt x="2867104" y="72016"/>
                  <a:pt x="2863605" y="71724"/>
                  <a:pt x="2858940" y="71724"/>
                </a:cubicBezTo>
                <a:close/>
                <a:moveTo>
                  <a:pt x="2858649" y="63269"/>
                </a:moveTo>
                <a:cubicBezTo>
                  <a:pt x="2865938" y="63269"/>
                  <a:pt x="2871186" y="63852"/>
                  <a:pt x="2874394" y="65018"/>
                </a:cubicBezTo>
                <a:cubicBezTo>
                  <a:pt x="2877601" y="66184"/>
                  <a:pt x="2880225" y="68225"/>
                  <a:pt x="2882266" y="71141"/>
                </a:cubicBezTo>
                <a:cubicBezTo>
                  <a:pt x="2884307" y="74057"/>
                  <a:pt x="2885182" y="76972"/>
                  <a:pt x="2885182" y="80179"/>
                </a:cubicBezTo>
                <a:cubicBezTo>
                  <a:pt x="2885182" y="84844"/>
                  <a:pt x="2883433" y="88635"/>
                  <a:pt x="2880225" y="92133"/>
                </a:cubicBezTo>
                <a:cubicBezTo>
                  <a:pt x="2877018" y="95632"/>
                  <a:pt x="2872644" y="97382"/>
                  <a:pt x="2867396" y="97673"/>
                </a:cubicBezTo>
                <a:cubicBezTo>
                  <a:pt x="2869437" y="98548"/>
                  <a:pt x="2871478" y="99714"/>
                  <a:pt x="2872644" y="100880"/>
                </a:cubicBezTo>
                <a:cubicBezTo>
                  <a:pt x="2875268" y="103213"/>
                  <a:pt x="2878184" y="107586"/>
                  <a:pt x="2881975" y="113126"/>
                </a:cubicBezTo>
                <a:lnTo>
                  <a:pt x="2889556" y="125371"/>
                </a:lnTo>
                <a:lnTo>
                  <a:pt x="2877309" y="125371"/>
                </a:lnTo>
                <a:lnTo>
                  <a:pt x="2871770" y="115458"/>
                </a:lnTo>
                <a:cubicBezTo>
                  <a:pt x="2867396" y="107878"/>
                  <a:pt x="2863897" y="102921"/>
                  <a:pt x="2861272" y="100880"/>
                </a:cubicBezTo>
                <a:cubicBezTo>
                  <a:pt x="2859523" y="99422"/>
                  <a:pt x="2856607" y="98839"/>
                  <a:pt x="2853108" y="98839"/>
                </a:cubicBezTo>
                <a:lnTo>
                  <a:pt x="2847277" y="98839"/>
                </a:lnTo>
                <a:lnTo>
                  <a:pt x="2847277" y="125080"/>
                </a:lnTo>
                <a:lnTo>
                  <a:pt x="2837363" y="125080"/>
                </a:lnTo>
                <a:lnTo>
                  <a:pt x="2837363" y="62977"/>
                </a:lnTo>
                <a:lnTo>
                  <a:pt x="2858649" y="62977"/>
                </a:lnTo>
                <a:close/>
                <a:moveTo>
                  <a:pt x="2862730" y="45192"/>
                </a:moveTo>
                <a:cubicBezTo>
                  <a:pt x="2854566" y="45192"/>
                  <a:pt x="2846694" y="47233"/>
                  <a:pt x="2839113" y="51315"/>
                </a:cubicBezTo>
                <a:cubicBezTo>
                  <a:pt x="2831531" y="55397"/>
                  <a:pt x="2825408" y="61519"/>
                  <a:pt x="2821035" y="69100"/>
                </a:cubicBezTo>
                <a:cubicBezTo>
                  <a:pt x="2816661" y="76681"/>
                  <a:pt x="2814620" y="84844"/>
                  <a:pt x="2814620" y="93300"/>
                </a:cubicBezTo>
                <a:cubicBezTo>
                  <a:pt x="2814620" y="101755"/>
                  <a:pt x="2816661" y="109627"/>
                  <a:pt x="2821035" y="117208"/>
                </a:cubicBezTo>
                <a:cubicBezTo>
                  <a:pt x="2825408" y="124788"/>
                  <a:pt x="2831240" y="130911"/>
                  <a:pt x="2838821" y="134993"/>
                </a:cubicBezTo>
                <a:cubicBezTo>
                  <a:pt x="2846402" y="139366"/>
                  <a:pt x="2854566" y="141407"/>
                  <a:pt x="2862730" y="141407"/>
                </a:cubicBezTo>
                <a:cubicBezTo>
                  <a:pt x="2871186" y="141407"/>
                  <a:pt x="2879059" y="139366"/>
                  <a:pt x="2886640" y="134993"/>
                </a:cubicBezTo>
                <a:cubicBezTo>
                  <a:pt x="2894221" y="130619"/>
                  <a:pt x="2900344" y="124788"/>
                  <a:pt x="2904426" y="117208"/>
                </a:cubicBezTo>
                <a:cubicBezTo>
                  <a:pt x="2908800" y="109627"/>
                  <a:pt x="2910841" y="101755"/>
                  <a:pt x="2910841" y="93300"/>
                </a:cubicBezTo>
                <a:cubicBezTo>
                  <a:pt x="2910841" y="84844"/>
                  <a:pt x="2908800" y="76972"/>
                  <a:pt x="2904426" y="69100"/>
                </a:cubicBezTo>
                <a:cubicBezTo>
                  <a:pt x="2900053" y="61228"/>
                  <a:pt x="2894221" y="55397"/>
                  <a:pt x="2886349" y="51315"/>
                </a:cubicBezTo>
                <a:cubicBezTo>
                  <a:pt x="2878767" y="47233"/>
                  <a:pt x="2870895" y="45192"/>
                  <a:pt x="2862730" y="45192"/>
                </a:cubicBezTo>
                <a:close/>
                <a:moveTo>
                  <a:pt x="2862730" y="35571"/>
                </a:moveTo>
                <a:cubicBezTo>
                  <a:pt x="2872353" y="35571"/>
                  <a:pt x="2881975" y="38194"/>
                  <a:pt x="2891014" y="43151"/>
                </a:cubicBezTo>
                <a:cubicBezTo>
                  <a:pt x="2900344" y="48108"/>
                  <a:pt x="2907342" y="55105"/>
                  <a:pt x="2912591" y="64435"/>
                </a:cubicBezTo>
                <a:cubicBezTo>
                  <a:pt x="2917839" y="73765"/>
                  <a:pt x="2920463" y="83386"/>
                  <a:pt x="2920463" y="93300"/>
                </a:cubicBezTo>
                <a:cubicBezTo>
                  <a:pt x="2920463" y="103213"/>
                  <a:pt x="2917839" y="112834"/>
                  <a:pt x="2912882" y="121873"/>
                </a:cubicBezTo>
                <a:cubicBezTo>
                  <a:pt x="2907925" y="130911"/>
                  <a:pt x="2900636" y="138200"/>
                  <a:pt x="2891597" y="143156"/>
                </a:cubicBezTo>
                <a:cubicBezTo>
                  <a:pt x="2882558" y="148113"/>
                  <a:pt x="2872936" y="150737"/>
                  <a:pt x="2862730" y="150737"/>
                </a:cubicBezTo>
                <a:cubicBezTo>
                  <a:pt x="2852817" y="150737"/>
                  <a:pt x="2843195" y="148113"/>
                  <a:pt x="2833864" y="143156"/>
                </a:cubicBezTo>
                <a:cubicBezTo>
                  <a:pt x="2824825" y="138200"/>
                  <a:pt x="2817536" y="130911"/>
                  <a:pt x="2812579" y="121873"/>
                </a:cubicBezTo>
                <a:cubicBezTo>
                  <a:pt x="2807330" y="112834"/>
                  <a:pt x="2804998" y="103213"/>
                  <a:pt x="2804998" y="93300"/>
                </a:cubicBezTo>
                <a:cubicBezTo>
                  <a:pt x="2804998" y="83386"/>
                  <a:pt x="2807622" y="73473"/>
                  <a:pt x="2812870" y="64435"/>
                </a:cubicBezTo>
                <a:cubicBezTo>
                  <a:pt x="2818119" y="55105"/>
                  <a:pt x="2825408" y="48108"/>
                  <a:pt x="2834447" y="43151"/>
                </a:cubicBezTo>
                <a:cubicBezTo>
                  <a:pt x="2843486" y="38194"/>
                  <a:pt x="2853108" y="35571"/>
                  <a:pt x="2862730" y="35571"/>
                </a:cubicBezTo>
                <a:close/>
                <a:moveTo>
                  <a:pt x="2182475" y="257448"/>
                </a:moveTo>
                <a:cubicBezTo>
                  <a:pt x="2152734" y="257448"/>
                  <a:pt x="2127658" y="268819"/>
                  <a:pt x="2107247" y="291561"/>
                </a:cubicBezTo>
                <a:cubicBezTo>
                  <a:pt x="2086837" y="314303"/>
                  <a:pt x="2076631" y="346958"/>
                  <a:pt x="2076631" y="389817"/>
                </a:cubicBezTo>
                <a:cubicBezTo>
                  <a:pt x="2076631" y="432677"/>
                  <a:pt x="2086837" y="465332"/>
                  <a:pt x="2107247" y="488073"/>
                </a:cubicBezTo>
                <a:cubicBezTo>
                  <a:pt x="2127658" y="510815"/>
                  <a:pt x="2152734" y="522186"/>
                  <a:pt x="2182475" y="522186"/>
                </a:cubicBezTo>
                <a:cubicBezTo>
                  <a:pt x="2212216" y="522186"/>
                  <a:pt x="2237292" y="510815"/>
                  <a:pt x="2257411" y="488073"/>
                </a:cubicBezTo>
                <a:cubicBezTo>
                  <a:pt x="2277530" y="465332"/>
                  <a:pt x="2287735" y="432385"/>
                  <a:pt x="2287735" y="388943"/>
                </a:cubicBezTo>
                <a:cubicBezTo>
                  <a:pt x="2287735" y="346666"/>
                  <a:pt x="2277530" y="314303"/>
                  <a:pt x="2257411" y="291561"/>
                </a:cubicBezTo>
                <a:cubicBezTo>
                  <a:pt x="2237292" y="268819"/>
                  <a:pt x="2212216" y="257448"/>
                  <a:pt x="2182475" y="257448"/>
                </a:cubicBezTo>
                <a:close/>
                <a:moveTo>
                  <a:pt x="667426" y="257448"/>
                </a:moveTo>
                <a:cubicBezTo>
                  <a:pt x="637685" y="257448"/>
                  <a:pt x="612609" y="268819"/>
                  <a:pt x="592199" y="291561"/>
                </a:cubicBezTo>
                <a:cubicBezTo>
                  <a:pt x="571788" y="314303"/>
                  <a:pt x="561583" y="346958"/>
                  <a:pt x="561583" y="389817"/>
                </a:cubicBezTo>
                <a:cubicBezTo>
                  <a:pt x="561583" y="432677"/>
                  <a:pt x="571788" y="465332"/>
                  <a:pt x="592199" y="488073"/>
                </a:cubicBezTo>
                <a:cubicBezTo>
                  <a:pt x="612609" y="510815"/>
                  <a:pt x="637685" y="522186"/>
                  <a:pt x="667426" y="522186"/>
                </a:cubicBezTo>
                <a:cubicBezTo>
                  <a:pt x="697167" y="522186"/>
                  <a:pt x="722243" y="510815"/>
                  <a:pt x="742362" y="488073"/>
                </a:cubicBezTo>
                <a:cubicBezTo>
                  <a:pt x="762481" y="465332"/>
                  <a:pt x="772686" y="432385"/>
                  <a:pt x="772686" y="388943"/>
                </a:cubicBezTo>
                <a:cubicBezTo>
                  <a:pt x="772686" y="346666"/>
                  <a:pt x="762481" y="314303"/>
                  <a:pt x="742362" y="291561"/>
                </a:cubicBezTo>
                <a:cubicBezTo>
                  <a:pt x="722243" y="268819"/>
                  <a:pt x="697459" y="257448"/>
                  <a:pt x="667426" y="257448"/>
                </a:cubicBezTo>
                <a:close/>
                <a:moveTo>
                  <a:pt x="2509336" y="174062"/>
                </a:moveTo>
                <a:lnTo>
                  <a:pt x="2590687" y="393899"/>
                </a:lnTo>
                <a:lnTo>
                  <a:pt x="2614305" y="467373"/>
                </a:lnTo>
                <a:cubicBezTo>
                  <a:pt x="2620428" y="448713"/>
                  <a:pt x="2624510" y="436467"/>
                  <a:pt x="2625968" y="430344"/>
                </a:cubicBezTo>
                <a:cubicBezTo>
                  <a:pt x="2629758" y="418099"/>
                  <a:pt x="2633840" y="406145"/>
                  <a:pt x="2638214" y="393899"/>
                </a:cubicBezTo>
                <a:lnTo>
                  <a:pt x="2720440" y="174062"/>
                </a:lnTo>
                <a:lnTo>
                  <a:pt x="2837946" y="174062"/>
                </a:lnTo>
                <a:lnTo>
                  <a:pt x="2666497" y="604989"/>
                </a:lnTo>
                <a:lnTo>
                  <a:pt x="2563278" y="604989"/>
                </a:lnTo>
                <a:lnTo>
                  <a:pt x="2389205" y="174062"/>
                </a:lnTo>
                <a:lnTo>
                  <a:pt x="2509336" y="174062"/>
                </a:lnTo>
                <a:close/>
                <a:moveTo>
                  <a:pt x="140833" y="10205"/>
                </a:moveTo>
                <a:lnTo>
                  <a:pt x="281083" y="245495"/>
                </a:lnTo>
                <a:lnTo>
                  <a:pt x="418417" y="10205"/>
                </a:lnTo>
                <a:lnTo>
                  <a:pt x="557209" y="10205"/>
                </a:lnTo>
                <a:lnTo>
                  <a:pt x="338233" y="355413"/>
                </a:lnTo>
                <a:lnTo>
                  <a:pt x="338233" y="604989"/>
                </a:lnTo>
                <a:lnTo>
                  <a:pt x="218393" y="604989"/>
                </a:lnTo>
                <a:lnTo>
                  <a:pt x="218393" y="354538"/>
                </a:lnTo>
                <a:lnTo>
                  <a:pt x="0" y="9913"/>
                </a:lnTo>
                <a:lnTo>
                  <a:pt x="140833" y="9913"/>
                </a:lnTo>
                <a:close/>
                <a:moveTo>
                  <a:pt x="2181892" y="164441"/>
                </a:moveTo>
                <a:cubicBezTo>
                  <a:pt x="2247206" y="164441"/>
                  <a:pt x="2300856" y="185725"/>
                  <a:pt x="2342552" y="228001"/>
                </a:cubicBezTo>
                <a:cubicBezTo>
                  <a:pt x="2384248" y="270277"/>
                  <a:pt x="2405242" y="323924"/>
                  <a:pt x="2405242" y="388651"/>
                </a:cubicBezTo>
                <a:cubicBezTo>
                  <a:pt x="2405242" y="453961"/>
                  <a:pt x="2384248" y="507900"/>
                  <a:pt x="2341969" y="550759"/>
                </a:cubicBezTo>
                <a:cubicBezTo>
                  <a:pt x="2299690" y="593619"/>
                  <a:pt x="2246623" y="615194"/>
                  <a:pt x="2182766" y="615194"/>
                </a:cubicBezTo>
                <a:cubicBezTo>
                  <a:pt x="2143112" y="615194"/>
                  <a:pt x="2105498" y="606156"/>
                  <a:pt x="2069633" y="588370"/>
                </a:cubicBezTo>
                <a:cubicBezTo>
                  <a:pt x="2033769" y="570585"/>
                  <a:pt x="2006361" y="544345"/>
                  <a:pt x="1987699" y="509941"/>
                </a:cubicBezTo>
                <a:cubicBezTo>
                  <a:pt x="1969038" y="475536"/>
                  <a:pt x="1959708" y="433552"/>
                  <a:pt x="1959708" y="383986"/>
                </a:cubicBezTo>
                <a:cubicBezTo>
                  <a:pt x="1959708" y="346083"/>
                  <a:pt x="1969038" y="309346"/>
                  <a:pt x="1987699" y="274068"/>
                </a:cubicBezTo>
                <a:cubicBezTo>
                  <a:pt x="2006361" y="238789"/>
                  <a:pt x="2032894" y="211673"/>
                  <a:pt x="2067301" y="193014"/>
                </a:cubicBezTo>
                <a:cubicBezTo>
                  <a:pt x="2101416" y="173770"/>
                  <a:pt x="2139613" y="164441"/>
                  <a:pt x="2181892" y="164441"/>
                </a:cubicBezTo>
                <a:close/>
                <a:moveTo>
                  <a:pt x="667135" y="164441"/>
                </a:moveTo>
                <a:cubicBezTo>
                  <a:pt x="732449" y="164441"/>
                  <a:pt x="786099" y="185725"/>
                  <a:pt x="827795" y="228001"/>
                </a:cubicBezTo>
                <a:cubicBezTo>
                  <a:pt x="869491" y="270277"/>
                  <a:pt x="890485" y="323924"/>
                  <a:pt x="890485" y="388651"/>
                </a:cubicBezTo>
                <a:cubicBezTo>
                  <a:pt x="890485" y="453961"/>
                  <a:pt x="869491" y="507900"/>
                  <a:pt x="827212" y="550759"/>
                </a:cubicBezTo>
                <a:cubicBezTo>
                  <a:pt x="784933" y="593619"/>
                  <a:pt x="732157" y="615194"/>
                  <a:pt x="668009" y="615194"/>
                </a:cubicBezTo>
                <a:cubicBezTo>
                  <a:pt x="628354" y="615194"/>
                  <a:pt x="590741" y="606156"/>
                  <a:pt x="554876" y="588370"/>
                </a:cubicBezTo>
                <a:cubicBezTo>
                  <a:pt x="519012" y="570585"/>
                  <a:pt x="491604" y="544345"/>
                  <a:pt x="472942" y="509941"/>
                </a:cubicBezTo>
                <a:cubicBezTo>
                  <a:pt x="454281" y="475536"/>
                  <a:pt x="444951" y="433552"/>
                  <a:pt x="444951" y="383986"/>
                </a:cubicBezTo>
                <a:cubicBezTo>
                  <a:pt x="444951" y="346083"/>
                  <a:pt x="454281" y="309346"/>
                  <a:pt x="472942" y="274068"/>
                </a:cubicBezTo>
                <a:cubicBezTo>
                  <a:pt x="491604" y="238789"/>
                  <a:pt x="518137" y="211673"/>
                  <a:pt x="552544" y="193014"/>
                </a:cubicBezTo>
                <a:cubicBezTo>
                  <a:pt x="586659" y="173770"/>
                  <a:pt x="624856" y="164441"/>
                  <a:pt x="667135" y="164441"/>
                </a:cubicBezTo>
                <a:close/>
                <a:moveTo>
                  <a:pt x="1041523" y="174062"/>
                </a:moveTo>
                <a:lnTo>
                  <a:pt x="1041523" y="372032"/>
                </a:lnTo>
                <a:cubicBezTo>
                  <a:pt x="1041523" y="432677"/>
                  <a:pt x="1043564" y="469705"/>
                  <a:pt x="1047938" y="483408"/>
                </a:cubicBezTo>
                <a:cubicBezTo>
                  <a:pt x="1052020" y="497112"/>
                  <a:pt x="1059893" y="507900"/>
                  <a:pt x="1070973" y="515772"/>
                </a:cubicBezTo>
                <a:cubicBezTo>
                  <a:pt x="1082053" y="523644"/>
                  <a:pt x="1096048" y="527726"/>
                  <a:pt x="1113252" y="527726"/>
                </a:cubicBezTo>
                <a:cubicBezTo>
                  <a:pt x="1132788" y="527726"/>
                  <a:pt x="1150282" y="522478"/>
                  <a:pt x="1165736" y="511690"/>
                </a:cubicBezTo>
                <a:cubicBezTo>
                  <a:pt x="1181190" y="500902"/>
                  <a:pt x="1191687" y="487782"/>
                  <a:pt x="1197518" y="472038"/>
                </a:cubicBezTo>
                <a:cubicBezTo>
                  <a:pt x="1203350" y="456293"/>
                  <a:pt x="1205974" y="417516"/>
                  <a:pt x="1205974" y="355705"/>
                </a:cubicBezTo>
                <a:lnTo>
                  <a:pt x="1205974" y="173770"/>
                </a:lnTo>
                <a:lnTo>
                  <a:pt x="1320273" y="173770"/>
                </a:lnTo>
                <a:lnTo>
                  <a:pt x="1320273" y="604698"/>
                </a:lnTo>
                <a:lnTo>
                  <a:pt x="1214138" y="604698"/>
                </a:lnTo>
                <a:lnTo>
                  <a:pt x="1214138" y="540263"/>
                </a:lnTo>
                <a:cubicBezTo>
                  <a:pt x="1198393" y="563296"/>
                  <a:pt x="1177691" y="581373"/>
                  <a:pt x="1152032" y="594493"/>
                </a:cubicBezTo>
                <a:cubicBezTo>
                  <a:pt x="1126373" y="607614"/>
                  <a:pt x="1099256" y="614319"/>
                  <a:pt x="1070973" y="614319"/>
                </a:cubicBezTo>
                <a:cubicBezTo>
                  <a:pt x="1042106" y="614319"/>
                  <a:pt x="1015864" y="607905"/>
                  <a:pt x="992829" y="595368"/>
                </a:cubicBezTo>
                <a:cubicBezTo>
                  <a:pt x="969794" y="582539"/>
                  <a:pt x="953174" y="564754"/>
                  <a:pt x="942969" y="541721"/>
                </a:cubicBezTo>
                <a:cubicBezTo>
                  <a:pt x="932764" y="518687"/>
                  <a:pt x="927515" y="486907"/>
                  <a:pt x="927515" y="446380"/>
                </a:cubicBezTo>
                <a:lnTo>
                  <a:pt x="927515" y="173770"/>
                </a:lnTo>
                <a:lnTo>
                  <a:pt x="1041523" y="173770"/>
                </a:lnTo>
                <a:close/>
                <a:moveTo>
                  <a:pt x="1664338" y="0"/>
                </a:moveTo>
                <a:cubicBezTo>
                  <a:pt x="1738399" y="0"/>
                  <a:pt x="1796132" y="15453"/>
                  <a:pt x="1837828" y="46358"/>
                </a:cubicBezTo>
                <a:cubicBezTo>
                  <a:pt x="1879523" y="77264"/>
                  <a:pt x="1906057" y="120123"/>
                  <a:pt x="1918012" y="174937"/>
                </a:cubicBezTo>
                <a:lnTo>
                  <a:pt x="1798464" y="197387"/>
                </a:lnTo>
                <a:cubicBezTo>
                  <a:pt x="1790008" y="168231"/>
                  <a:pt x="1774263" y="145197"/>
                  <a:pt x="1751228" y="128287"/>
                </a:cubicBezTo>
                <a:cubicBezTo>
                  <a:pt x="1728193" y="111376"/>
                  <a:pt x="1699035" y="102921"/>
                  <a:pt x="1664338" y="102921"/>
                </a:cubicBezTo>
                <a:cubicBezTo>
                  <a:pt x="1611853" y="102921"/>
                  <a:pt x="1569866" y="119540"/>
                  <a:pt x="1538958" y="152778"/>
                </a:cubicBezTo>
                <a:cubicBezTo>
                  <a:pt x="1508051" y="186016"/>
                  <a:pt x="1492305" y="235290"/>
                  <a:pt x="1492305" y="300891"/>
                </a:cubicBezTo>
                <a:cubicBezTo>
                  <a:pt x="1492305" y="371449"/>
                  <a:pt x="1508051" y="424513"/>
                  <a:pt x="1539541" y="459792"/>
                </a:cubicBezTo>
                <a:cubicBezTo>
                  <a:pt x="1571032" y="495071"/>
                  <a:pt x="1612145" y="512856"/>
                  <a:pt x="1663171" y="512856"/>
                </a:cubicBezTo>
                <a:cubicBezTo>
                  <a:pt x="1688247" y="512856"/>
                  <a:pt x="1713614" y="507900"/>
                  <a:pt x="1738982" y="497986"/>
                </a:cubicBezTo>
                <a:cubicBezTo>
                  <a:pt x="1764349" y="488073"/>
                  <a:pt x="1785926" y="476119"/>
                  <a:pt x="1804296" y="462124"/>
                </a:cubicBezTo>
                <a:lnTo>
                  <a:pt x="1804296" y="386610"/>
                </a:lnTo>
                <a:lnTo>
                  <a:pt x="1666379" y="386610"/>
                </a:lnTo>
                <a:lnTo>
                  <a:pt x="1666379" y="286313"/>
                </a:lnTo>
                <a:lnTo>
                  <a:pt x="1925885" y="286313"/>
                </a:lnTo>
                <a:lnTo>
                  <a:pt x="1925885" y="523352"/>
                </a:lnTo>
                <a:cubicBezTo>
                  <a:pt x="1900809" y="547844"/>
                  <a:pt x="1864070" y="569127"/>
                  <a:pt x="1816251" y="587787"/>
                </a:cubicBezTo>
                <a:cubicBezTo>
                  <a:pt x="1768432" y="606447"/>
                  <a:pt x="1720029" y="615486"/>
                  <a:pt x="1671044" y="615486"/>
                </a:cubicBezTo>
                <a:cubicBezTo>
                  <a:pt x="1608646" y="615486"/>
                  <a:pt x="1554412" y="602365"/>
                  <a:pt x="1508051" y="576417"/>
                </a:cubicBezTo>
                <a:cubicBezTo>
                  <a:pt x="1461690" y="550176"/>
                  <a:pt x="1426992" y="513148"/>
                  <a:pt x="1403665" y="464457"/>
                </a:cubicBezTo>
                <a:cubicBezTo>
                  <a:pt x="1380339" y="415766"/>
                  <a:pt x="1368676" y="362994"/>
                  <a:pt x="1368676" y="305848"/>
                </a:cubicBezTo>
                <a:cubicBezTo>
                  <a:pt x="1368676" y="244037"/>
                  <a:pt x="1381797" y="188932"/>
                  <a:pt x="1407747" y="140824"/>
                </a:cubicBezTo>
                <a:cubicBezTo>
                  <a:pt x="1433698" y="92716"/>
                  <a:pt x="1471895" y="55688"/>
                  <a:pt x="1522047" y="30031"/>
                </a:cubicBezTo>
                <a:cubicBezTo>
                  <a:pt x="1559952" y="9913"/>
                  <a:pt x="1607480" y="0"/>
                  <a:pt x="1664338" y="0"/>
                </a:cubicBezTo>
                <a:close/>
              </a:path>
            </a:pathLst>
          </a:custGeom>
          <a:solidFill>
            <a:srgbClr val="FF412C"/>
          </a:solidFill>
          <a:ln w="2914" cap="flat">
            <a:noFill/>
            <a:prstDash val="solid"/>
            <a:miter/>
          </a:ln>
        </p:spPr>
        <p:txBody>
          <a:bodyPr rtlCol="0" anchor="ctr"/>
          <a:lstStyle/>
          <a:p>
            <a:endParaRPr lang="de-DE"/>
          </a:p>
        </p:txBody>
      </p:sp>
      <p:sp>
        <p:nvSpPr>
          <p:cNvPr id="5" name="Bildplatzhalter 6">
            <a:extLst>
              <a:ext uri="{FF2B5EF4-FFF2-40B4-BE49-F238E27FC236}">
                <a16:creationId xmlns:a16="http://schemas.microsoft.com/office/drawing/2014/main" id="{E0C33779-805D-AEBC-8B0B-710C168F7678}"/>
              </a:ext>
            </a:extLst>
          </p:cNvPr>
          <p:cNvSpPr>
            <a:spLocks noGrp="1"/>
          </p:cNvSpPr>
          <p:nvPr>
            <p:ph type="pic" sz="quarter" idx="10"/>
          </p:nvPr>
        </p:nvSpPr>
        <p:spPr>
          <a:xfrm>
            <a:off x="-1" y="0"/>
            <a:ext cx="10344472" cy="6858000"/>
          </a:xfrm>
          <a:custGeom>
            <a:avLst/>
            <a:gdLst>
              <a:gd name="connsiteX0" fmla="*/ 9222182 w 10344472"/>
              <a:gd name="connsiteY0" fmla="*/ 4610259 h 6858000"/>
              <a:gd name="connsiteX1" fmla="*/ 9071727 w 10344472"/>
              <a:gd name="connsiteY1" fmla="*/ 4695394 h 6858000"/>
              <a:gd name="connsiteX2" fmla="*/ 9153369 w 10344472"/>
              <a:gd name="connsiteY2" fmla="*/ 4767993 h 6858000"/>
              <a:gd name="connsiteX3" fmla="*/ 9281664 w 10344472"/>
              <a:gd name="connsiteY3" fmla="*/ 4663906 h 6858000"/>
              <a:gd name="connsiteX4" fmla="*/ 9281664 w 10344472"/>
              <a:gd name="connsiteY4" fmla="*/ 4610259 h 6858000"/>
              <a:gd name="connsiteX5" fmla="*/ 3325272 w 10344472"/>
              <a:gd name="connsiteY5" fmla="*/ 4610259 h 6858000"/>
              <a:gd name="connsiteX6" fmla="*/ 3384755 w 10344472"/>
              <a:gd name="connsiteY6" fmla="*/ 4610259 h 6858000"/>
              <a:gd name="connsiteX7" fmla="*/ 3384755 w 10344472"/>
              <a:gd name="connsiteY7" fmla="*/ 4663906 h 6858000"/>
              <a:gd name="connsiteX8" fmla="*/ 3256460 w 10344472"/>
              <a:gd name="connsiteY8" fmla="*/ 4767993 h 6858000"/>
              <a:gd name="connsiteX9" fmla="*/ 3174817 w 10344472"/>
              <a:gd name="connsiteY9" fmla="*/ 4695394 h 6858000"/>
              <a:gd name="connsiteX10" fmla="*/ 3325272 w 10344472"/>
              <a:gd name="connsiteY10" fmla="*/ 4610259 h 6858000"/>
              <a:gd name="connsiteX11" fmla="*/ 4369419 w 10344472"/>
              <a:gd name="connsiteY11" fmla="*/ 4467101 h 6858000"/>
              <a:gd name="connsiteX12" fmla="*/ 4444355 w 10344472"/>
              <a:gd name="connsiteY12" fmla="*/ 4501214 h 6858000"/>
              <a:gd name="connsiteX13" fmla="*/ 4474679 w 10344472"/>
              <a:gd name="connsiteY13" fmla="*/ 4598596 h 6858000"/>
              <a:gd name="connsiteX14" fmla="*/ 4444355 w 10344472"/>
              <a:gd name="connsiteY14" fmla="*/ 4697726 h 6858000"/>
              <a:gd name="connsiteX15" fmla="*/ 4369419 w 10344472"/>
              <a:gd name="connsiteY15" fmla="*/ 4731839 h 6858000"/>
              <a:gd name="connsiteX16" fmla="*/ 4294192 w 10344472"/>
              <a:gd name="connsiteY16" fmla="*/ 4697726 h 6858000"/>
              <a:gd name="connsiteX17" fmla="*/ 4263576 w 10344472"/>
              <a:gd name="connsiteY17" fmla="*/ 4599470 h 6858000"/>
              <a:gd name="connsiteX18" fmla="*/ 4294192 w 10344472"/>
              <a:gd name="connsiteY18" fmla="*/ 4501214 h 6858000"/>
              <a:gd name="connsiteX19" fmla="*/ 4369419 w 10344472"/>
              <a:gd name="connsiteY19" fmla="*/ 4467101 h 6858000"/>
              <a:gd name="connsiteX20" fmla="*/ 8728245 w 10344472"/>
              <a:gd name="connsiteY20" fmla="*/ 4432406 h 6858000"/>
              <a:gd name="connsiteX21" fmla="*/ 8587121 w 10344472"/>
              <a:gd name="connsiteY21" fmla="*/ 4595972 h 6858000"/>
              <a:gd name="connsiteX22" fmla="*/ 8587121 w 10344472"/>
              <a:gd name="connsiteY22" fmla="*/ 4602678 h 6858000"/>
              <a:gd name="connsiteX23" fmla="*/ 8729120 w 10344472"/>
              <a:gd name="connsiteY23" fmla="*/ 4765369 h 6858000"/>
              <a:gd name="connsiteX24" fmla="*/ 8861206 w 10344472"/>
              <a:gd name="connsiteY24" fmla="*/ 4602678 h 6858000"/>
              <a:gd name="connsiteX25" fmla="*/ 8861206 w 10344472"/>
              <a:gd name="connsiteY25" fmla="*/ 4595972 h 6858000"/>
              <a:gd name="connsiteX26" fmla="*/ 8728245 w 10344472"/>
              <a:gd name="connsiteY26" fmla="*/ 4432406 h 6858000"/>
              <a:gd name="connsiteX27" fmla="*/ 7450543 w 10344472"/>
              <a:gd name="connsiteY27" fmla="*/ 4432406 h 6858000"/>
              <a:gd name="connsiteX28" fmla="*/ 7309419 w 10344472"/>
              <a:gd name="connsiteY28" fmla="*/ 4595972 h 6858000"/>
              <a:gd name="connsiteX29" fmla="*/ 7309419 w 10344472"/>
              <a:gd name="connsiteY29" fmla="*/ 4602678 h 6858000"/>
              <a:gd name="connsiteX30" fmla="*/ 7450543 w 10344472"/>
              <a:gd name="connsiteY30" fmla="*/ 4765369 h 6858000"/>
              <a:gd name="connsiteX31" fmla="*/ 7591668 w 10344472"/>
              <a:gd name="connsiteY31" fmla="*/ 4602678 h 6858000"/>
              <a:gd name="connsiteX32" fmla="*/ 7591668 w 10344472"/>
              <a:gd name="connsiteY32" fmla="*/ 4596847 h 6858000"/>
              <a:gd name="connsiteX33" fmla="*/ 7450543 w 10344472"/>
              <a:gd name="connsiteY33" fmla="*/ 4432406 h 6858000"/>
              <a:gd name="connsiteX34" fmla="*/ 4629508 w 10344472"/>
              <a:gd name="connsiteY34" fmla="*/ 4383423 h 6858000"/>
              <a:gd name="connsiteX35" fmla="*/ 4629508 w 10344472"/>
              <a:gd name="connsiteY35" fmla="*/ 4656033 h 6858000"/>
              <a:gd name="connsiteX36" fmla="*/ 4644962 w 10344472"/>
              <a:gd name="connsiteY36" fmla="*/ 4751374 h 6858000"/>
              <a:gd name="connsiteX37" fmla="*/ 4694822 w 10344472"/>
              <a:gd name="connsiteY37" fmla="*/ 4805021 h 6858000"/>
              <a:gd name="connsiteX38" fmla="*/ 4772966 w 10344472"/>
              <a:gd name="connsiteY38" fmla="*/ 4823972 h 6858000"/>
              <a:gd name="connsiteX39" fmla="*/ 4854025 w 10344472"/>
              <a:gd name="connsiteY39" fmla="*/ 4804146 h 6858000"/>
              <a:gd name="connsiteX40" fmla="*/ 4916131 w 10344472"/>
              <a:gd name="connsiteY40" fmla="*/ 4749916 h 6858000"/>
              <a:gd name="connsiteX41" fmla="*/ 4916131 w 10344472"/>
              <a:gd name="connsiteY41" fmla="*/ 4814351 h 6858000"/>
              <a:gd name="connsiteX42" fmla="*/ 5022266 w 10344472"/>
              <a:gd name="connsiteY42" fmla="*/ 4814351 h 6858000"/>
              <a:gd name="connsiteX43" fmla="*/ 5022266 w 10344472"/>
              <a:gd name="connsiteY43" fmla="*/ 4383423 h 6858000"/>
              <a:gd name="connsiteX44" fmla="*/ 4907967 w 10344472"/>
              <a:gd name="connsiteY44" fmla="*/ 4383423 h 6858000"/>
              <a:gd name="connsiteX45" fmla="*/ 4907967 w 10344472"/>
              <a:gd name="connsiteY45" fmla="*/ 4565358 h 6858000"/>
              <a:gd name="connsiteX46" fmla="*/ 4899511 w 10344472"/>
              <a:gd name="connsiteY46" fmla="*/ 4681691 h 6858000"/>
              <a:gd name="connsiteX47" fmla="*/ 4867729 w 10344472"/>
              <a:gd name="connsiteY47" fmla="*/ 4721343 h 6858000"/>
              <a:gd name="connsiteX48" fmla="*/ 4815245 w 10344472"/>
              <a:gd name="connsiteY48" fmla="*/ 4737379 h 6858000"/>
              <a:gd name="connsiteX49" fmla="*/ 4772966 w 10344472"/>
              <a:gd name="connsiteY49" fmla="*/ 4725425 h 6858000"/>
              <a:gd name="connsiteX50" fmla="*/ 4749931 w 10344472"/>
              <a:gd name="connsiteY50" fmla="*/ 4693061 h 6858000"/>
              <a:gd name="connsiteX51" fmla="*/ 4743516 w 10344472"/>
              <a:gd name="connsiteY51" fmla="*/ 4581685 h 6858000"/>
              <a:gd name="connsiteX52" fmla="*/ 4743516 w 10344472"/>
              <a:gd name="connsiteY52" fmla="*/ 4383715 h 6858000"/>
              <a:gd name="connsiteX53" fmla="*/ 4743516 w 10344472"/>
              <a:gd name="connsiteY53" fmla="*/ 4383423 h 6858000"/>
              <a:gd name="connsiteX54" fmla="*/ 9917600 w 10344472"/>
              <a:gd name="connsiteY54" fmla="*/ 4382841 h 6858000"/>
              <a:gd name="connsiteX55" fmla="*/ 9991078 w 10344472"/>
              <a:gd name="connsiteY55" fmla="*/ 4382841 h 6858000"/>
              <a:gd name="connsiteX56" fmla="*/ 10123164 w 10344472"/>
              <a:gd name="connsiteY56" fmla="*/ 4692479 h 6858000"/>
              <a:gd name="connsiteX57" fmla="*/ 10243003 w 10344472"/>
              <a:gd name="connsiteY57" fmla="*/ 4382841 h 6858000"/>
              <a:gd name="connsiteX58" fmla="*/ 10313274 w 10344472"/>
              <a:gd name="connsiteY58" fmla="*/ 4382841 h 6858000"/>
              <a:gd name="connsiteX59" fmla="*/ 10074469 w 10344472"/>
              <a:gd name="connsiteY59" fmla="*/ 4965089 h 6858000"/>
              <a:gd name="connsiteX60" fmla="*/ 10005074 w 10344472"/>
              <a:gd name="connsiteY60" fmla="*/ 4965089 h 6858000"/>
              <a:gd name="connsiteX61" fmla="*/ 10087007 w 10344472"/>
              <a:gd name="connsiteY61" fmla="*/ 4770326 h 6858000"/>
              <a:gd name="connsiteX62" fmla="*/ 7966639 w 10344472"/>
              <a:gd name="connsiteY62" fmla="*/ 4375843 h 6858000"/>
              <a:gd name="connsiteX63" fmla="*/ 8092894 w 10344472"/>
              <a:gd name="connsiteY63" fmla="*/ 4456897 h 6858000"/>
              <a:gd name="connsiteX64" fmla="*/ 8240724 w 10344472"/>
              <a:gd name="connsiteY64" fmla="*/ 4375843 h 6858000"/>
              <a:gd name="connsiteX65" fmla="*/ 8386223 w 10344472"/>
              <a:gd name="connsiteY65" fmla="*/ 4547573 h 6858000"/>
              <a:gd name="connsiteX66" fmla="*/ 8386223 w 10344472"/>
              <a:gd name="connsiteY66" fmla="*/ 4815226 h 6858000"/>
              <a:gd name="connsiteX67" fmla="*/ 8317702 w 10344472"/>
              <a:gd name="connsiteY67" fmla="*/ 4815226 h 6858000"/>
              <a:gd name="connsiteX68" fmla="*/ 8317702 w 10344472"/>
              <a:gd name="connsiteY68" fmla="*/ 4542616 h 6858000"/>
              <a:gd name="connsiteX69" fmla="*/ 8226145 w 10344472"/>
              <a:gd name="connsiteY69" fmla="*/ 4435322 h 6858000"/>
              <a:gd name="connsiteX70" fmla="*/ 8112138 w 10344472"/>
              <a:gd name="connsiteY70" fmla="*/ 4551071 h 6858000"/>
              <a:gd name="connsiteX71" fmla="*/ 8112138 w 10344472"/>
              <a:gd name="connsiteY71" fmla="*/ 4815226 h 6858000"/>
              <a:gd name="connsiteX72" fmla="*/ 8043617 w 10344472"/>
              <a:gd name="connsiteY72" fmla="*/ 4815226 h 6858000"/>
              <a:gd name="connsiteX73" fmla="*/ 8043617 w 10344472"/>
              <a:gd name="connsiteY73" fmla="*/ 4542616 h 6858000"/>
              <a:gd name="connsiteX74" fmla="*/ 7952060 w 10344472"/>
              <a:gd name="connsiteY74" fmla="*/ 4435322 h 6858000"/>
              <a:gd name="connsiteX75" fmla="*/ 7838053 w 10344472"/>
              <a:gd name="connsiteY75" fmla="*/ 4551071 h 6858000"/>
              <a:gd name="connsiteX76" fmla="*/ 7838053 w 10344472"/>
              <a:gd name="connsiteY76" fmla="*/ 4815226 h 6858000"/>
              <a:gd name="connsiteX77" fmla="*/ 7769532 w 10344472"/>
              <a:gd name="connsiteY77" fmla="*/ 4815226 h 6858000"/>
              <a:gd name="connsiteX78" fmla="*/ 7769532 w 10344472"/>
              <a:gd name="connsiteY78" fmla="*/ 4383132 h 6858000"/>
              <a:gd name="connsiteX79" fmla="*/ 7837761 w 10344472"/>
              <a:gd name="connsiteY79" fmla="*/ 4383132 h 6858000"/>
              <a:gd name="connsiteX80" fmla="*/ 7837761 w 10344472"/>
              <a:gd name="connsiteY80" fmla="*/ 4449316 h 6858000"/>
              <a:gd name="connsiteX81" fmla="*/ 7966639 w 10344472"/>
              <a:gd name="connsiteY81" fmla="*/ 4375843 h 6858000"/>
              <a:gd name="connsiteX82" fmla="*/ 9692209 w 10344472"/>
              <a:gd name="connsiteY82" fmla="*/ 4375552 h 6858000"/>
              <a:gd name="connsiteX83" fmla="*/ 9844121 w 10344472"/>
              <a:gd name="connsiteY83" fmla="*/ 4549906 h 6858000"/>
              <a:gd name="connsiteX84" fmla="*/ 9844121 w 10344472"/>
              <a:gd name="connsiteY84" fmla="*/ 4814935 h 6858000"/>
              <a:gd name="connsiteX85" fmla="*/ 9775600 w 10344472"/>
              <a:gd name="connsiteY85" fmla="*/ 4814935 h 6858000"/>
              <a:gd name="connsiteX86" fmla="*/ 9775600 w 10344472"/>
              <a:gd name="connsiteY86" fmla="*/ 4544949 h 6858000"/>
              <a:gd name="connsiteX87" fmla="*/ 9674131 w 10344472"/>
              <a:gd name="connsiteY87" fmla="*/ 4435030 h 6858000"/>
              <a:gd name="connsiteX88" fmla="*/ 9553416 w 10344472"/>
              <a:gd name="connsiteY88" fmla="*/ 4553113 h 6858000"/>
              <a:gd name="connsiteX89" fmla="*/ 9553416 w 10344472"/>
              <a:gd name="connsiteY89" fmla="*/ 4814935 h 6858000"/>
              <a:gd name="connsiteX90" fmla="*/ 9484895 w 10344472"/>
              <a:gd name="connsiteY90" fmla="*/ 4814935 h 6858000"/>
              <a:gd name="connsiteX91" fmla="*/ 9484895 w 10344472"/>
              <a:gd name="connsiteY91" fmla="*/ 4383133 h 6858000"/>
              <a:gd name="connsiteX92" fmla="*/ 9553416 w 10344472"/>
              <a:gd name="connsiteY92" fmla="*/ 4383133 h 6858000"/>
              <a:gd name="connsiteX93" fmla="*/ 9553416 w 10344472"/>
              <a:gd name="connsiteY93" fmla="*/ 4451649 h 6858000"/>
              <a:gd name="connsiteX94" fmla="*/ 9692209 w 10344472"/>
              <a:gd name="connsiteY94" fmla="*/ 4375552 h 6858000"/>
              <a:gd name="connsiteX95" fmla="*/ 9192440 w 10344472"/>
              <a:gd name="connsiteY95" fmla="*/ 4375552 h 6858000"/>
              <a:gd name="connsiteX96" fmla="*/ 9350185 w 10344472"/>
              <a:gd name="connsiteY96" fmla="*/ 4530079 h 6858000"/>
              <a:gd name="connsiteX97" fmla="*/ 9350185 w 10344472"/>
              <a:gd name="connsiteY97" fmla="*/ 4814935 h 6858000"/>
              <a:gd name="connsiteX98" fmla="*/ 9281664 w 10344472"/>
              <a:gd name="connsiteY98" fmla="*/ 4814935 h 6858000"/>
              <a:gd name="connsiteX99" fmla="*/ 9281664 w 10344472"/>
              <a:gd name="connsiteY99" fmla="*/ 4760413 h 6858000"/>
              <a:gd name="connsiteX100" fmla="*/ 9146954 w 10344472"/>
              <a:gd name="connsiteY100" fmla="*/ 4822224 h 6858000"/>
              <a:gd name="connsiteX101" fmla="*/ 9003497 w 10344472"/>
              <a:gd name="connsiteY101" fmla="*/ 4695394 h 6858000"/>
              <a:gd name="connsiteX102" fmla="*/ 9219849 w 10344472"/>
              <a:gd name="connsiteY102" fmla="*/ 4561568 h 6858000"/>
              <a:gd name="connsiteX103" fmla="*/ 9281664 w 10344472"/>
              <a:gd name="connsiteY103" fmla="*/ 4561568 h 6858000"/>
              <a:gd name="connsiteX104" fmla="*/ 9281664 w 10344472"/>
              <a:gd name="connsiteY104" fmla="*/ 4530079 h 6858000"/>
              <a:gd name="connsiteX105" fmla="*/ 9189234 w 10344472"/>
              <a:gd name="connsiteY105" fmla="*/ 4432698 h 6858000"/>
              <a:gd name="connsiteX106" fmla="*/ 9090096 w 10344472"/>
              <a:gd name="connsiteY106" fmla="*/ 4510253 h 6858000"/>
              <a:gd name="connsiteX107" fmla="*/ 9021575 w 10344472"/>
              <a:gd name="connsiteY107" fmla="*/ 4510253 h 6858000"/>
              <a:gd name="connsiteX108" fmla="*/ 9192440 w 10344472"/>
              <a:gd name="connsiteY108" fmla="*/ 4375552 h 6858000"/>
              <a:gd name="connsiteX109" fmla="*/ 8735535 w 10344472"/>
              <a:gd name="connsiteY109" fmla="*/ 4375552 h 6858000"/>
              <a:gd name="connsiteX110" fmla="*/ 8932060 w 10344472"/>
              <a:gd name="connsiteY110" fmla="*/ 4592765 h 6858000"/>
              <a:gd name="connsiteX111" fmla="*/ 8932060 w 10344472"/>
              <a:gd name="connsiteY111" fmla="*/ 4599471 h 6858000"/>
              <a:gd name="connsiteX112" fmla="*/ 8735535 w 10344472"/>
              <a:gd name="connsiteY112" fmla="*/ 4822515 h 6858000"/>
              <a:gd name="connsiteX113" fmla="*/ 8589453 w 10344472"/>
              <a:gd name="connsiteY113" fmla="*/ 4744085 h 6858000"/>
              <a:gd name="connsiteX114" fmla="*/ 8589453 w 10344472"/>
              <a:gd name="connsiteY114" fmla="*/ 4965380 h 6858000"/>
              <a:gd name="connsiteX115" fmla="*/ 8520932 w 10344472"/>
              <a:gd name="connsiteY115" fmla="*/ 4965380 h 6858000"/>
              <a:gd name="connsiteX116" fmla="*/ 8520932 w 10344472"/>
              <a:gd name="connsiteY116" fmla="*/ 4383133 h 6858000"/>
              <a:gd name="connsiteX117" fmla="*/ 8589453 w 10344472"/>
              <a:gd name="connsiteY117" fmla="*/ 4383133 h 6858000"/>
              <a:gd name="connsiteX118" fmla="*/ 8589453 w 10344472"/>
              <a:gd name="connsiteY118" fmla="*/ 4455731 h 6858000"/>
              <a:gd name="connsiteX119" fmla="*/ 8735535 w 10344472"/>
              <a:gd name="connsiteY119" fmla="*/ 4375552 h 6858000"/>
              <a:gd name="connsiteX120" fmla="*/ 7450543 w 10344472"/>
              <a:gd name="connsiteY120" fmla="*/ 4375552 h 6858000"/>
              <a:gd name="connsiteX121" fmla="*/ 7662813 w 10344472"/>
              <a:gd name="connsiteY121" fmla="*/ 4595389 h 6858000"/>
              <a:gd name="connsiteX122" fmla="*/ 7662813 w 10344472"/>
              <a:gd name="connsiteY122" fmla="*/ 4602095 h 6858000"/>
              <a:gd name="connsiteX123" fmla="*/ 7449668 w 10344472"/>
              <a:gd name="connsiteY123" fmla="*/ 4822515 h 6858000"/>
              <a:gd name="connsiteX124" fmla="*/ 7238273 w 10344472"/>
              <a:gd name="connsiteY124" fmla="*/ 4602678 h 6858000"/>
              <a:gd name="connsiteX125" fmla="*/ 7238273 w 10344472"/>
              <a:gd name="connsiteY125" fmla="*/ 4595972 h 6858000"/>
              <a:gd name="connsiteX126" fmla="*/ 7450543 w 10344472"/>
              <a:gd name="connsiteY126" fmla="*/ 4375552 h 6858000"/>
              <a:gd name="connsiteX127" fmla="*/ 6977308 w 10344472"/>
              <a:gd name="connsiteY127" fmla="*/ 4375552 h 6858000"/>
              <a:gd name="connsiteX128" fmla="*/ 7164794 w 10344472"/>
              <a:gd name="connsiteY128" fmla="*/ 4526581 h 6858000"/>
              <a:gd name="connsiteX129" fmla="*/ 7097148 w 10344472"/>
              <a:gd name="connsiteY129" fmla="*/ 4526581 h 6858000"/>
              <a:gd name="connsiteX130" fmla="*/ 6977308 w 10344472"/>
              <a:gd name="connsiteY130" fmla="*/ 4432406 h 6858000"/>
              <a:gd name="connsiteX131" fmla="*/ 6838517 w 10344472"/>
              <a:gd name="connsiteY131" fmla="*/ 4596847 h 6858000"/>
              <a:gd name="connsiteX132" fmla="*/ 6838517 w 10344472"/>
              <a:gd name="connsiteY132" fmla="*/ 4603553 h 6858000"/>
              <a:gd name="connsiteX133" fmla="*/ 6979641 w 10344472"/>
              <a:gd name="connsiteY133" fmla="*/ 4765369 h 6858000"/>
              <a:gd name="connsiteX134" fmla="*/ 7103563 w 10344472"/>
              <a:gd name="connsiteY134" fmla="*/ 4659532 h 6858000"/>
              <a:gd name="connsiteX135" fmla="*/ 7167127 w 10344472"/>
              <a:gd name="connsiteY135" fmla="*/ 4659532 h 6858000"/>
              <a:gd name="connsiteX136" fmla="*/ 6978766 w 10344472"/>
              <a:gd name="connsiteY136" fmla="*/ 4822224 h 6858000"/>
              <a:gd name="connsiteX137" fmla="*/ 6767371 w 10344472"/>
              <a:gd name="connsiteY137" fmla="*/ 4603553 h 6858000"/>
              <a:gd name="connsiteX138" fmla="*/ 6767371 w 10344472"/>
              <a:gd name="connsiteY138" fmla="*/ 4596847 h 6858000"/>
              <a:gd name="connsiteX139" fmla="*/ 6977308 w 10344472"/>
              <a:gd name="connsiteY139" fmla="*/ 4375552 h 6858000"/>
              <a:gd name="connsiteX140" fmla="*/ 3295240 w 10344472"/>
              <a:gd name="connsiteY140" fmla="*/ 4375552 h 6858000"/>
              <a:gd name="connsiteX141" fmla="*/ 3124374 w 10344472"/>
              <a:gd name="connsiteY141" fmla="*/ 4510253 h 6858000"/>
              <a:gd name="connsiteX142" fmla="*/ 3192895 w 10344472"/>
              <a:gd name="connsiteY142" fmla="*/ 4510253 h 6858000"/>
              <a:gd name="connsiteX143" fmla="*/ 3292032 w 10344472"/>
              <a:gd name="connsiteY143" fmla="*/ 4432698 h 6858000"/>
              <a:gd name="connsiteX144" fmla="*/ 3384463 w 10344472"/>
              <a:gd name="connsiteY144" fmla="*/ 4530079 h 6858000"/>
              <a:gd name="connsiteX145" fmla="*/ 3384463 w 10344472"/>
              <a:gd name="connsiteY145" fmla="*/ 4561568 h 6858000"/>
              <a:gd name="connsiteX146" fmla="*/ 3322648 w 10344472"/>
              <a:gd name="connsiteY146" fmla="*/ 4561568 h 6858000"/>
              <a:gd name="connsiteX147" fmla="*/ 3106296 w 10344472"/>
              <a:gd name="connsiteY147" fmla="*/ 4695394 h 6858000"/>
              <a:gd name="connsiteX148" fmla="*/ 3249753 w 10344472"/>
              <a:gd name="connsiteY148" fmla="*/ 4822224 h 6858000"/>
              <a:gd name="connsiteX149" fmla="*/ 3384463 w 10344472"/>
              <a:gd name="connsiteY149" fmla="*/ 4760413 h 6858000"/>
              <a:gd name="connsiteX150" fmla="*/ 3384463 w 10344472"/>
              <a:gd name="connsiteY150" fmla="*/ 4814935 h 6858000"/>
              <a:gd name="connsiteX151" fmla="*/ 3452984 w 10344472"/>
              <a:gd name="connsiteY151" fmla="*/ 4814935 h 6858000"/>
              <a:gd name="connsiteX152" fmla="*/ 3452984 w 10344472"/>
              <a:gd name="connsiteY152" fmla="*/ 4530079 h 6858000"/>
              <a:gd name="connsiteX153" fmla="*/ 3295240 w 10344472"/>
              <a:gd name="connsiteY153" fmla="*/ 4375552 h 6858000"/>
              <a:gd name="connsiteX154" fmla="*/ 4369128 w 10344472"/>
              <a:gd name="connsiteY154" fmla="*/ 4374094 h 6858000"/>
              <a:gd name="connsiteX155" fmla="*/ 4254537 w 10344472"/>
              <a:gd name="connsiteY155" fmla="*/ 4402667 h 6858000"/>
              <a:gd name="connsiteX156" fmla="*/ 4174935 w 10344472"/>
              <a:gd name="connsiteY156" fmla="*/ 4483721 h 6858000"/>
              <a:gd name="connsiteX157" fmla="*/ 4146944 w 10344472"/>
              <a:gd name="connsiteY157" fmla="*/ 4593639 h 6858000"/>
              <a:gd name="connsiteX158" fmla="*/ 4174935 w 10344472"/>
              <a:gd name="connsiteY158" fmla="*/ 4719594 h 6858000"/>
              <a:gd name="connsiteX159" fmla="*/ 4256869 w 10344472"/>
              <a:gd name="connsiteY159" fmla="*/ 4798023 h 6858000"/>
              <a:gd name="connsiteX160" fmla="*/ 4370002 w 10344472"/>
              <a:gd name="connsiteY160" fmla="*/ 4824847 h 6858000"/>
              <a:gd name="connsiteX161" fmla="*/ 4529205 w 10344472"/>
              <a:gd name="connsiteY161" fmla="*/ 4760412 h 6858000"/>
              <a:gd name="connsiteX162" fmla="*/ 4592478 w 10344472"/>
              <a:gd name="connsiteY162" fmla="*/ 4598304 h 6858000"/>
              <a:gd name="connsiteX163" fmla="*/ 4529788 w 10344472"/>
              <a:gd name="connsiteY163" fmla="*/ 4437654 h 6858000"/>
              <a:gd name="connsiteX164" fmla="*/ 4369128 w 10344472"/>
              <a:gd name="connsiteY164" fmla="*/ 4374094 h 6858000"/>
              <a:gd name="connsiteX165" fmla="*/ 5366331 w 10344472"/>
              <a:gd name="connsiteY165" fmla="*/ 4312574 h 6858000"/>
              <a:gd name="connsiteX166" fmla="*/ 5453221 w 10344472"/>
              <a:gd name="connsiteY166" fmla="*/ 4337940 h 6858000"/>
              <a:gd name="connsiteX167" fmla="*/ 5455785 w 10344472"/>
              <a:gd name="connsiteY167" fmla="*/ 4340581 h 6858000"/>
              <a:gd name="connsiteX168" fmla="*/ 5410884 w 10344472"/>
              <a:gd name="connsiteY168" fmla="*/ 4495966 h 6858000"/>
              <a:gd name="connsiteX169" fmla="*/ 5368372 w 10344472"/>
              <a:gd name="connsiteY169" fmla="*/ 4495966 h 6858000"/>
              <a:gd name="connsiteX170" fmla="*/ 5368372 w 10344472"/>
              <a:gd name="connsiteY170" fmla="*/ 4596263 h 6858000"/>
              <a:gd name="connsiteX171" fmla="*/ 5381902 w 10344472"/>
              <a:gd name="connsiteY171" fmla="*/ 4596263 h 6858000"/>
              <a:gd name="connsiteX172" fmla="*/ 5346461 w 10344472"/>
              <a:gd name="connsiteY172" fmla="*/ 4718911 h 6858000"/>
              <a:gd name="connsiteX173" fmla="*/ 5296024 w 10344472"/>
              <a:gd name="connsiteY173" fmla="*/ 4709207 h 6858000"/>
              <a:gd name="connsiteX174" fmla="*/ 5241534 w 10344472"/>
              <a:gd name="connsiteY174" fmla="*/ 4669445 h 6858000"/>
              <a:gd name="connsiteX175" fmla="*/ 5194298 w 10344472"/>
              <a:gd name="connsiteY175" fmla="*/ 4510544 h 6858000"/>
              <a:gd name="connsiteX176" fmla="*/ 5240951 w 10344472"/>
              <a:gd name="connsiteY176" fmla="*/ 4362431 h 6858000"/>
              <a:gd name="connsiteX177" fmla="*/ 5366331 w 10344472"/>
              <a:gd name="connsiteY177" fmla="*/ 4312574 h 6858000"/>
              <a:gd name="connsiteX178" fmla="*/ 3701993 w 10344472"/>
              <a:gd name="connsiteY178" fmla="*/ 4219566 h 6858000"/>
              <a:gd name="connsiteX179" fmla="*/ 3920386 w 10344472"/>
              <a:gd name="connsiteY179" fmla="*/ 4564191 h 6858000"/>
              <a:gd name="connsiteX180" fmla="*/ 3920386 w 10344472"/>
              <a:gd name="connsiteY180" fmla="*/ 4814642 h 6858000"/>
              <a:gd name="connsiteX181" fmla="*/ 4040226 w 10344472"/>
              <a:gd name="connsiteY181" fmla="*/ 4814642 h 6858000"/>
              <a:gd name="connsiteX182" fmla="*/ 4040226 w 10344472"/>
              <a:gd name="connsiteY182" fmla="*/ 4565066 h 6858000"/>
              <a:gd name="connsiteX183" fmla="*/ 4259202 w 10344472"/>
              <a:gd name="connsiteY183" fmla="*/ 4219858 h 6858000"/>
              <a:gd name="connsiteX184" fmla="*/ 4120410 w 10344472"/>
              <a:gd name="connsiteY184" fmla="*/ 4219858 h 6858000"/>
              <a:gd name="connsiteX185" fmla="*/ 3983076 w 10344472"/>
              <a:gd name="connsiteY185" fmla="*/ 4455148 h 6858000"/>
              <a:gd name="connsiteX186" fmla="*/ 3842826 w 10344472"/>
              <a:gd name="connsiteY186" fmla="*/ 4219858 h 6858000"/>
              <a:gd name="connsiteX187" fmla="*/ 3842826 w 10344472"/>
              <a:gd name="connsiteY187" fmla="*/ 4219566 h 6858000"/>
              <a:gd name="connsiteX188" fmla="*/ 3112711 w 10344472"/>
              <a:gd name="connsiteY188" fmla="*/ 2062597 h 6858000"/>
              <a:gd name="connsiteX189" fmla="*/ 3112711 w 10344472"/>
              <a:gd name="connsiteY189" fmla="*/ 3855407 h 6858000"/>
              <a:gd name="connsiteX190" fmla="*/ 4592478 w 10344472"/>
              <a:gd name="connsiteY190" fmla="*/ 3855407 h 6858000"/>
              <a:gd name="connsiteX191" fmla="*/ 4592478 w 10344472"/>
              <a:gd name="connsiteY191" fmla="*/ 3361794 h 6858000"/>
              <a:gd name="connsiteX192" fmla="*/ 3710741 w 10344472"/>
              <a:gd name="connsiteY192" fmla="*/ 3361794 h 6858000"/>
              <a:gd name="connsiteX193" fmla="*/ 3710741 w 10344472"/>
              <a:gd name="connsiteY193" fmla="*/ 2062597 h 6858000"/>
              <a:gd name="connsiteX194" fmla="*/ 3112711 w 10344472"/>
              <a:gd name="connsiteY194" fmla="*/ 2062597 h 6858000"/>
              <a:gd name="connsiteX195" fmla="*/ 9524550 w 10344472"/>
              <a:gd name="connsiteY195" fmla="*/ 2061139 h 6858000"/>
              <a:gd name="connsiteX196" fmla="*/ 10233964 w 10344472"/>
              <a:gd name="connsiteY196" fmla="*/ 2062014 h 6858000"/>
              <a:gd name="connsiteX197" fmla="*/ 10261664 w 10344472"/>
              <a:gd name="connsiteY197" fmla="*/ 2062014 h 6858000"/>
              <a:gd name="connsiteX198" fmla="*/ 9436493 w 10344472"/>
              <a:gd name="connsiteY198" fmla="*/ 2879843 h 6858000"/>
              <a:gd name="connsiteX199" fmla="*/ 10344472 w 10344472"/>
              <a:gd name="connsiteY199" fmla="*/ 3856281 h 6858000"/>
              <a:gd name="connsiteX200" fmla="*/ 10330185 w 10344472"/>
              <a:gd name="connsiteY200" fmla="*/ 3856281 h 6858000"/>
              <a:gd name="connsiteX201" fmla="*/ 9609108 w 10344472"/>
              <a:gd name="connsiteY201" fmla="*/ 3856573 h 6858000"/>
              <a:gd name="connsiteX202" fmla="*/ 9587239 w 10344472"/>
              <a:gd name="connsiteY202" fmla="*/ 3846660 h 6858000"/>
              <a:gd name="connsiteX203" fmla="*/ 9072309 w 10344472"/>
              <a:gd name="connsiteY203" fmla="*/ 3253041 h 6858000"/>
              <a:gd name="connsiteX204" fmla="*/ 8965591 w 10344472"/>
              <a:gd name="connsiteY204" fmla="*/ 3130294 h 6858000"/>
              <a:gd name="connsiteX205" fmla="*/ 8952470 w 10344472"/>
              <a:gd name="connsiteY205" fmla="*/ 3115424 h 6858000"/>
              <a:gd name="connsiteX206" fmla="*/ 8952470 w 10344472"/>
              <a:gd name="connsiteY206" fmla="*/ 3855407 h 6858000"/>
              <a:gd name="connsiteX207" fmla="*/ 8352982 w 10344472"/>
              <a:gd name="connsiteY207" fmla="*/ 3855407 h 6858000"/>
              <a:gd name="connsiteX208" fmla="*/ 8352982 w 10344472"/>
              <a:gd name="connsiteY208" fmla="*/ 2062888 h 6858000"/>
              <a:gd name="connsiteX209" fmla="*/ 8951595 w 10344472"/>
              <a:gd name="connsiteY209" fmla="*/ 2062888 h 6858000"/>
              <a:gd name="connsiteX210" fmla="*/ 8951595 w 10344472"/>
              <a:gd name="connsiteY210" fmla="*/ 2618604 h 6858000"/>
              <a:gd name="connsiteX211" fmla="*/ 8990667 w 10344472"/>
              <a:gd name="connsiteY211" fmla="*/ 2579243 h 6858000"/>
              <a:gd name="connsiteX212" fmla="*/ 9449030 w 10344472"/>
              <a:gd name="connsiteY212" fmla="*/ 2093211 h 6858000"/>
              <a:gd name="connsiteX213" fmla="*/ 9524550 w 10344472"/>
              <a:gd name="connsiteY213" fmla="*/ 2061139 h 6858000"/>
              <a:gd name="connsiteX214" fmla="*/ 5280607 w 10344472"/>
              <a:gd name="connsiteY214" fmla="*/ 2061139 h 6858000"/>
              <a:gd name="connsiteX215" fmla="*/ 5264570 w 10344472"/>
              <a:gd name="connsiteY215" fmla="*/ 2074842 h 6858000"/>
              <a:gd name="connsiteX216" fmla="*/ 5094870 w 10344472"/>
              <a:gd name="connsiteY216" fmla="*/ 2664671 h 6858000"/>
              <a:gd name="connsiteX217" fmla="*/ 4793085 w 10344472"/>
              <a:gd name="connsiteY217" fmla="*/ 3709043 h 6858000"/>
              <a:gd name="connsiteX218" fmla="*/ 4750806 w 10344472"/>
              <a:gd name="connsiteY218" fmla="*/ 3855698 h 6858000"/>
              <a:gd name="connsiteX219" fmla="*/ 5353501 w 10344472"/>
              <a:gd name="connsiteY219" fmla="*/ 3855698 h 6858000"/>
              <a:gd name="connsiteX220" fmla="*/ 5871347 w 10344472"/>
              <a:gd name="connsiteY220" fmla="*/ 2062305 h 6858000"/>
              <a:gd name="connsiteX221" fmla="*/ 5859392 w 10344472"/>
              <a:gd name="connsiteY221" fmla="*/ 2061431 h 6858000"/>
              <a:gd name="connsiteX222" fmla="*/ 5280607 w 10344472"/>
              <a:gd name="connsiteY222" fmla="*/ 2061139 h 6858000"/>
              <a:gd name="connsiteX223" fmla="*/ 0 w 10344472"/>
              <a:gd name="connsiteY223" fmla="*/ 0 h 6858000"/>
              <a:gd name="connsiteX224" fmla="*/ 6707236 w 10344472"/>
              <a:gd name="connsiteY224" fmla="*/ 0 h 6858000"/>
              <a:gd name="connsiteX225" fmla="*/ 6114289 w 10344472"/>
              <a:gd name="connsiteY225" fmla="*/ 2060916 h 6858000"/>
              <a:gd name="connsiteX226" fmla="*/ 6560000 w 10344472"/>
              <a:gd name="connsiteY226" fmla="*/ 2061141 h 6858000"/>
              <a:gd name="connsiteX227" fmla="*/ 6564947 w 10344472"/>
              <a:gd name="connsiteY227" fmla="*/ 2061503 h 6858000"/>
              <a:gd name="connsiteX228" fmla="*/ 6705555 w 10344472"/>
              <a:gd name="connsiteY228" fmla="*/ 2061431 h 6858000"/>
              <a:gd name="connsiteX229" fmla="*/ 6726841 w 10344472"/>
              <a:gd name="connsiteY229" fmla="*/ 2073677 h 6858000"/>
              <a:gd name="connsiteX230" fmla="*/ 7211738 w 10344472"/>
              <a:gd name="connsiteY230" fmla="*/ 2996759 h 6858000"/>
              <a:gd name="connsiteX231" fmla="*/ 7282883 w 10344472"/>
              <a:gd name="connsiteY231" fmla="*/ 3131461 h 6858000"/>
              <a:gd name="connsiteX232" fmla="*/ 7292797 w 10344472"/>
              <a:gd name="connsiteY232" fmla="*/ 3150121 h 6858000"/>
              <a:gd name="connsiteX233" fmla="*/ 7304460 w 10344472"/>
              <a:gd name="connsiteY233" fmla="*/ 3108136 h 6858000"/>
              <a:gd name="connsiteX234" fmla="*/ 7479700 w 10344472"/>
              <a:gd name="connsiteY234" fmla="*/ 2453581 h 6858000"/>
              <a:gd name="connsiteX235" fmla="*/ 7580003 w 10344472"/>
              <a:gd name="connsiteY235" fmla="*/ 2077467 h 6858000"/>
              <a:gd name="connsiteX236" fmla="*/ 7601288 w 10344472"/>
              <a:gd name="connsiteY236" fmla="*/ 2060848 h 6858000"/>
              <a:gd name="connsiteX237" fmla="*/ 8180074 w 10344472"/>
              <a:gd name="connsiteY237" fmla="*/ 2061140 h 6858000"/>
              <a:gd name="connsiteX238" fmla="*/ 8198153 w 10344472"/>
              <a:gd name="connsiteY238" fmla="*/ 2061140 h 6858000"/>
              <a:gd name="connsiteX239" fmla="*/ 7679140 w 10344472"/>
              <a:gd name="connsiteY239" fmla="*/ 3855699 h 6858000"/>
              <a:gd name="connsiteX240" fmla="*/ 7661354 w 10344472"/>
              <a:gd name="connsiteY240" fmla="*/ 3855699 h 6858000"/>
              <a:gd name="connsiteX241" fmla="*/ 7081110 w 10344472"/>
              <a:gd name="connsiteY241" fmla="*/ 3855990 h 6858000"/>
              <a:gd name="connsiteX242" fmla="*/ 7055743 w 10344472"/>
              <a:gd name="connsiteY242" fmla="*/ 3840829 h 6858000"/>
              <a:gd name="connsiteX243" fmla="*/ 6762997 w 10344472"/>
              <a:gd name="connsiteY243" fmla="*/ 3290070 h 6858000"/>
              <a:gd name="connsiteX244" fmla="*/ 6497367 w 10344472"/>
              <a:gd name="connsiteY244" fmla="*/ 2790626 h 6858000"/>
              <a:gd name="connsiteX245" fmla="*/ 6488620 w 10344472"/>
              <a:gd name="connsiteY245" fmla="*/ 2776339 h 6858000"/>
              <a:gd name="connsiteX246" fmla="*/ 6200539 w 10344472"/>
              <a:gd name="connsiteY246" fmla="*/ 3855116 h 6858000"/>
              <a:gd name="connsiteX247" fmla="*/ 6054232 w 10344472"/>
              <a:gd name="connsiteY247" fmla="*/ 3855116 h 6858000"/>
              <a:gd name="connsiteX248" fmla="*/ 6052519 w 10344472"/>
              <a:gd name="connsiteY248" fmla="*/ 3861048 h 6858000"/>
              <a:gd name="connsiteX249" fmla="*/ 5594353 w 10344472"/>
              <a:gd name="connsiteY249" fmla="*/ 3861048 h 6858000"/>
              <a:gd name="connsiteX250" fmla="*/ 5487296 w 10344472"/>
              <a:gd name="connsiteY250" fmla="*/ 4231534 h 6858000"/>
              <a:gd name="connsiteX251" fmla="*/ 5465213 w 10344472"/>
              <a:gd name="connsiteY251" fmla="*/ 4221243 h 6858000"/>
              <a:gd name="connsiteX252" fmla="*/ 5366331 w 10344472"/>
              <a:gd name="connsiteY252" fmla="*/ 4209653 h 6858000"/>
              <a:gd name="connsiteX253" fmla="*/ 5224040 w 10344472"/>
              <a:gd name="connsiteY253" fmla="*/ 4239684 h 6858000"/>
              <a:gd name="connsiteX254" fmla="*/ 5109740 w 10344472"/>
              <a:gd name="connsiteY254" fmla="*/ 4350477 h 6858000"/>
              <a:gd name="connsiteX255" fmla="*/ 5070669 w 10344472"/>
              <a:gd name="connsiteY255" fmla="*/ 4515501 h 6858000"/>
              <a:gd name="connsiteX256" fmla="*/ 5105658 w 10344472"/>
              <a:gd name="connsiteY256" fmla="*/ 4674110 h 6858000"/>
              <a:gd name="connsiteX257" fmla="*/ 5210044 w 10344472"/>
              <a:gd name="connsiteY257" fmla="*/ 4786070 h 6858000"/>
              <a:gd name="connsiteX258" fmla="*/ 5285527 w 10344472"/>
              <a:gd name="connsiteY258" fmla="*/ 4815335 h 6858000"/>
              <a:gd name="connsiteX259" fmla="*/ 5317561 w 10344472"/>
              <a:gd name="connsiteY259" fmla="*/ 4818924 h 6858000"/>
              <a:gd name="connsiteX260" fmla="*/ 4728343 w 10344472"/>
              <a:gd name="connsiteY260" fmla="*/ 6858000 h 6858000"/>
              <a:gd name="connsiteX261" fmla="*/ 0 w 10344472"/>
              <a:gd name="connsiteY261" fmla="*/ 6858000 h 6858000"/>
              <a:gd name="connsiteX0" fmla="*/ 9222182 w 10344472"/>
              <a:gd name="connsiteY0" fmla="*/ 4610259 h 6858000"/>
              <a:gd name="connsiteX1" fmla="*/ 9071727 w 10344472"/>
              <a:gd name="connsiteY1" fmla="*/ 4695394 h 6858000"/>
              <a:gd name="connsiteX2" fmla="*/ 9153369 w 10344472"/>
              <a:gd name="connsiteY2" fmla="*/ 4767993 h 6858000"/>
              <a:gd name="connsiteX3" fmla="*/ 9281664 w 10344472"/>
              <a:gd name="connsiteY3" fmla="*/ 4663906 h 6858000"/>
              <a:gd name="connsiteX4" fmla="*/ 9281664 w 10344472"/>
              <a:gd name="connsiteY4" fmla="*/ 4610259 h 6858000"/>
              <a:gd name="connsiteX5" fmla="*/ 9222182 w 10344472"/>
              <a:gd name="connsiteY5" fmla="*/ 4610259 h 6858000"/>
              <a:gd name="connsiteX6" fmla="*/ 3325272 w 10344472"/>
              <a:gd name="connsiteY6" fmla="*/ 4610259 h 6858000"/>
              <a:gd name="connsiteX7" fmla="*/ 3384755 w 10344472"/>
              <a:gd name="connsiteY7" fmla="*/ 4610259 h 6858000"/>
              <a:gd name="connsiteX8" fmla="*/ 3384755 w 10344472"/>
              <a:gd name="connsiteY8" fmla="*/ 4663906 h 6858000"/>
              <a:gd name="connsiteX9" fmla="*/ 3256460 w 10344472"/>
              <a:gd name="connsiteY9" fmla="*/ 4767993 h 6858000"/>
              <a:gd name="connsiteX10" fmla="*/ 3174817 w 10344472"/>
              <a:gd name="connsiteY10" fmla="*/ 4695394 h 6858000"/>
              <a:gd name="connsiteX11" fmla="*/ 3325272 w 10344472"/>
              <a:gd name="connsiteY11" fmla="*/ 4610259 h 6858000"/>
              <a:gd name="connsiteX12" fmla="*/ 4369419 w 10344472"/>
              <a:gd name="connsiteY12" fmla="*/ 4467101 h 6858000"/>
              <a:gd name="connsiteX13" fmla="*/ 4444355 w 10344472"/>
              <a:gd name="connsiteY13" fmla="*/ 4501214 h 6858000"/>
              <a:gd name="connsiteX14" fmla="*/ 4474679 w 10344472"/>
              <a:gd name="connsiteY14" fmla="*/ 4598596 h 6858000"/>
              <a:gd name="connsiteX15" fmla="*/ 4444355 w 10344472"/>
              <a:gd name="connsiteY15" fmla="*/ 4697726 h 6858000"/>
              <a:gd name="connsiteX16" fmla="*/ 4369419 w 10344472"/>
              <a:gd name="connsiteY16" fmla="*/ 4731839 h 6858000"/>
              <a:gd name="connsiteX17" fmla="*/ 4294192 w 10344472"/>
              <a:gd name="connsiteY17" fmla="*/ 4697726 h 6858000"/>
              <a:gd name="connsiteX18" fmla="*/ 4263576 w 10344472"/>
              <a:gd name="connsiteY18" fmla="*/ 4599470 h 6858000"/>
              <a:gd name="connsiteX19" fmla="*/ 4294192 w 10344472"/>
              <a:gd name="connsiteY19" fmla="*/ 4501214 h 6858000"/>
              <a:gd name="connsiteX20" fmla="*/ 4369419 w 10344472"/>
              <a:gd name="connsiteY20" fmla="*/ 4467101 h 6858000"/>
              <a:gd name="connsiteX21" fmla="*/ 8728245 w 10344472"/>
              <a:gd name="connsiteY21" fmla="*/ 4432406 h 6858000"/>
              <a:gd name="connsiteX22" fmla="*/ 8587121 w 10344472"/>
              <a:gd name="connsiteY22" fmla="*/ 4595972 h 6858000"/>
              <a:gd name="connsiteX23" fmla="*/ 8587121 w 10344472"/>
              <a:gd name="connsiteY23" fmla="*/ 4602678 h 6858000"/>
              <a:gd name="connsiteX24" fmla="*/ 8729120 w 10344472"/>
              <a:gd name="connsiteY24" fmla="*/ 4765369 h 6858000"/>
              <a:gd name="connsiteX25" fmla="*/ 8861206 w 10344472"/>
              <a:gd name="connsiteY25" fmla="*/ 4602678 h 6858000"/>
              <a:gd name="connsiteX26" fmla="*/ 8861206 w 10344472"/>
              <a:gd name="connsiteY26" fmla="*/ 4595972 h 6858000"/>
              <a:gd name="connsiteX27" fmla="*/ 8728245 w 10344472"/>
              <a:gd name="connsiteY27" fmla="*/ 4432406 h 6858000"/>
              <a:gd name="connsiteX28" fmla="*/ 7450543 w 10344472"/>
              <a:gd name="connsiteY28" fmla="*/ 4432406 h 6858000"/>
              <a:gd name="connsiteX29" fmla="*/ 7309419 w 10344472"/>
              <a:gd name="connsiteY29" fmla="*/ 4595972 h 6858000"/>
              <a:gd name="connsiteX30" fmla="*/ 7309419 w 10344472"/>
              <a:gd name="connsiteY30" fmla="*/ 4602678 h 6858000"/>
              <a:gd name="connsiteX31" fmla="*/ 7450543 w 10344472"/>
              <a:gd name="connsiteY31" fmla="*/ 4765369 h 6858000"/>
              <a:gd name="connsiteX32" fmla="*/ 7591668 w 10344472"/>
              <a:gd name="connsiteY32" fmla="*/ 4602678 h 6858000"/>
              <a:gd name="connsiteX33" fmla="*/ 7591668 w 10344472"/>
              <a:gd name="connsiteY33" fmla="*/ 4596847 h 6858000"/>
              <a:gd name="connsiteX34" fmla="*/ 7450543 w 10344472"/>
              <a:gd name="connsiteY34" fmla="*/ 4432406 h 6858000"/>
              <a:gd name="connsiteX35" fmla="*/ 4629508 w 10344472"/>
              <a:gd name="connsiteY35" fmla="*/ 4383423 h 6858000"/>
              <a:gd name="connsiteX36" fmla="*/ 4629508 w 10344472"/>
              <a:gd name="connsiteY36" fmla="*/ 4656033 h 6858000"/>
              <a:gd name="connsiteX37" fmla="*/ 4644962 w 10344472"/>
              <a:gd name="connsiteY37" fmla="*/ 4751374 h 6858000"/>
              <a:gd name="connsiteX38" fmla="*/ 4694822 w 10344472"/>
              <a:gd name="connsiteY38" fmla="*/ 4805021 h 6858000"/>
              <a:gd name="connsiteX39" fmla="*/ 4772966 w 10344472"/>
              <a:gd name="connsiteY39" fmla="*/ 4823972 h 6858000"/>
              <a:gd name="connsiteX40" fmla="*/ 4854025 w 10344472"/>
              <a:gd name="connsiteY40" fmla="*/ 4804146 h 6858000"/>
              <a:gd name="connsiteX41" fmla="*/ 4916131 w 10344472"/>
              <a:gd name="connsiteY41" fmla="*/ 4749916 h 6858000"/>
              <a:gd name="connsiteX42" fmla="*/ 4916131 w 10344472"/>
              <a:gd name="connsiteY42" fmla="*/ 4814351 h 6858000"/>
              <a:gd name="connsiteX43" fmla="*/ 5022266 w 10344472"/>
              <a:gd name="connsiteY43" fmla="*/ 4814351 h 6858000"/>
              <a:gd name="connsiteX44" fmla="*/ 5022266 w 10344472"/>
              <a:gd name="connsiteY44" fmla="*/ 4383423 h 6858000"/>
              <a:gd name="connsiteX45" fmla="*/ 4907967 w 10344472"/>
              <a:gd name="connsiteY45" fmla="*/ 4383423 h 6858000"/>
              <a:gd name="connsiteX46" fmla="*/ 4907967 w 10344472"/>
              <a:gd name="connsiteY46" fmla="*/ 4565358 h 6858000"/>
              <a:gd name="connsiteX47" fmla="*/ 4899511 w 10344472"/>
              <a:gd name="connsiteY47" fmla="*/ 4681691 h 6858000"/>
              <a:gd name="connsiteX48" fmla="*/ 4867729 w 10344472"/>
              <a:gd name="connsiteY48" fmla="*/ 4721343 h 6858000"/>
              <a:gd name="connsiteX49" fmla="*/ 4815245 w 10344472"/>
              <a:gd name="connsiteY49" fmla="*/ 4737379 h 6858000"/>
              <a:gd name="connsiteX50" fmla="*/ 4772966 w 10344472"/>
              <a:gd name="connsiteY50" fmla="*/ 4725425 h 6858000"/>
              <a:gd name="connsiteX51" fmla="*/ 4749931 w 10344472"/>
              <a:gd name="connsiteY51" fmla="*/ 4693061 h 6858000"/>
              <a:gd name="connsiteX52" fmla="*/ 4743516 w 10344472"/>
              <a:gd name="connsiteY52" fmla="*/ 4581685 h 6858000"/>
              <a:gd name="connsiteX53" fmla="*/ 4743516 w 10344472"/>
              <a:gd name="connsiteY53" fmla="*/ 4383715 h 6858000"/>
              <a:gd name="connsiteX54" fmla="*/ 4743516 w 10344472"/>
              <a:gd name="connsiteY54" fmla="*/ 4383423 h 6858000"/>
              <a:gd name="connsiteX55" fmla="*/ 4629508 w 10344472"/>
              <a:gd name="connsiteY55" fmla="*/ 4383423 h 6858000"/>
              <a:gd name="connsiteX56" fmla="*/ 9917600 w 10344472"/>
              <a:gd name="connsiteY56" fmla="*/ 4382841 h 6858000"/>
              <a:gd name="connsiteX57" fmla="*/ 9991078 w 10344472"/>
              <a:gd name="connsiteY57" fmla="*/ 4382841 h 6858000"/>
              <a:gd name="connsiteX58" fmla="*/ 10123164 w 10344472"/>
              <a:gd name="connsiteY58" fmla="*/ 4692479 h 6858000"/>
              <a:gd name="connsiteX59" fmla="*/ 10243003 w 10344472"/>
              <a:gd name="connsiteY59" fmla="*/ 4382841 h 6858000"/>
              <a:gd name="connsiteX60" fmla="*/ 10313274 w 10344472"/>
              <a:gd name="connsiteY60" fmla="*/ 4382841 h 6858000"/>
              <a:gd name="connsiteX61" fmla="*/ 10074469 w 10344472"/>
              <a:gd name="connsiteY61" fmla="*/ 4965089 h 6858000"/>
              <a:gd name="connsiteX62" fmla="*/ 10005074 w 10344472"/>
              <a:gd name="connsiteY62" fmla="*/ 4965089 h 6858000"/>
              <a:gd name="connsiteX63" fmla="*/ 10087007 w 10344472"/>
              <a:gd name="connsiteY63" fmla="*/ 4770326 h 6858000"/>
              <a:gd name="connsiteX64" fmla="*/ 9917600 w 10344472"/>
              <a:gd name="connsiteY64" fmla="*/ 4382841 h 6858000"/>
              <a:gd name="connsiteX65" fmla="*/ 7966639 w 10344472"/>
              <a:gd name="connsiteY65" fmla="*/ 4375843 h 6858000"/>
              <a:gd name="connsiteX66" fmla="*/ 8092894 w 10344472"/>
              <a:gd name="connsiteY66" fmla="*/ 4456897 h 6858000"/>
              <a:gd name="connsiteX67" fmla="*/ 8240724 w 10344472"/>
              <a:gd name="connsiteY67" fmla="*/ 4375843 h 6858000"/>
              <a:gd name="connsiteX68" fmla="*/ 8386223 w 10344472"/>
              <a:gd name="connsiteY68" fmla="*/ 4547573 h 6858000"/>
              <a:gd name="connsiteX69" fmla="*/ 8386223 w 10344472"/>
              <a:gd name="connsiteY69" fmla="*/ 4815226 h 6858000"/>
              <a:gd name="connsiteX70" fmla="*/ 8317702 w 10344472"/>
              <a:gd name="connsiteY70" fmla="*/ 4815226 h 6858000"/>
              <a:gd name="connsiteX71" fmla="*/ 8317702 w 10344472"/>
              <a:gd name="connsiteY71" fmla="*/ 4542616 h 6858000"/>
              <a:gd name="connsiteX72" fmla="*/ 8226145 w 10344472"/>
              <a:gd name="connsiteY72" fmla="*/ 4435322 h 6858000"/>
              <a:gd name="connsiteX73" fmla="*/ 8112138 w 10344472"/>
              <a:gd name="connsiteY73" fmla="*/ 4551071 h 6858000"/>
              <a:gd name="connsiteX74" fmla="*/ 8112138 w 10344472"/>
              <a:gd name="connsiteY74" fmla="*/ 4815226 h 6858000"/>
              <a:gd name="connsiteX75" fmla="*/ 8043617 w 10344472"/>
              <a:gd name="connsiteY75" fmla="*/ 4815226 h 6858000"/>
              <a:gd name="connsiteX76" fmla="*/ 8043617 w 10344472"/>
              <a:gd name="connsiteY76" fmla="*/ 4542616 h 6858000"/>
              <a:gd name="connsiteX77" fmla="*/ 7952060 w 10344472"/>
              <a:gd name="connsiteY77" fmla="*/ 4435322 h 6858000"/>
              <a:gd name="connsiteX78" fmla="*/ 7838053 w 10344472"/>
              <a:gd name="connsiteY78" fmla="*/ 4551071 h 6858000"/>
              <a:gd name="connsiteX79" fmla="*/ 7838053 w 10344472"/>
              <a:gd name="connsiteY79" fmla="*/ 4815226 h 6858000"/>
              <a:gd name="connsiteX80" fmla="*/ 7769532 w 10344472"/>
              <a:gd name="connsiteY80" fmla="*/ 4815226 h 6858000"/>
              <a:gd name="connsiteX81" fmla="*/ 7769532 w 10344472"/>
              <a:gd name="connsiteY81" fmla="*/ 4383132 h 6858000"/>
              <a:gd name="connsiteX82" fmla="*/ 7837761 w 10344472"/>
              <a:gd name="connsiteY82" fmla="*/ 4383132 h 6858000"/>
              <a:gd name="connsiteX83" fmla="*/ 7837761 w 10344472"/>
              <a:gd name="connsiteY83" fmla="*/ 4449316 h 6858000"/>
              <a:gd name="connsiteX84" fmla="*/ 7966639 w 10344472"/>
              <a:gd name="connsiteY84" fmla="*/ 4375843 h 6858000"/>
              <a:gd name="connsiteX85" fmla="*/ 9692209 w 10344472"/>
              <a:gd name="connsiteY85" fmla="*/ 4375552 h 6858000"/>
              <a:gd name="connsiteX86" fmla="*/ 9844121 w 10344472"/>
              <a:gd name="connsiteY86" fmla="*/ 4549906 h 6858000"/>
              <a:gd name="connsiteX87" fmla="*/ 9844121 w 10344472"/>
              <a:gd name="connsiteY87" fmla="*/ 4814935 h 6858000"/>
              <a:gd name="connsiteX88" fmla="*/ 9775600 w 10344472"/>
              <a:gd name="connsiteY88" fmla="*/ 4814935 h 6858000"/>
              <a:gd name="connsiteX89" fmla="*/ 9775600 w 10344472"/>
              <a:gd name="connsiteY89" fmla="*/ 4544949 h 6858000"/>
              <a:gd name="connsiteX90" fmla="*/ 9674131 w 10344472"/>
              <a:gd name="connsiteY90" fmla="*/ 4435030 h 6858000"/>
              <a:gd name="connsiteX91" fmla="*/ 9553416 w 10344472"/>
              <a:gd name="connsiteY91" fmla="*/ 4553113 h 6858000"/>
              <a:gd name="connsiteX92" fmla="*/ 9553416 w 10344472"/>
              <a:gd name="connsiteY92" fmla="*/ 4814935 h 6858000"/>
              <a:gd name="connsiteX93" fmla="*/ 9484895 w 10344472"/>
              <a:gd name="connsiteY93" fmla="*/ 4814935 h 6858000"/>
              <a:gd name="connsiteX94" fmla="*/ 9484895 w 10344472"/>
              <a:gd name="connsiteY94" fmla="*/ 4383133 h 6858000"/>
              <a:gd name="connsiteX95" fmla="*/ 9553416 w 10344472"/>
              <a:gd name="connsiteY95" fmla="*/ 4383133 h 6858000"/>
              <a:gd name="connsiteX96" fmla="*/ 9553416 w 10344472"/>
              <a:gd name="connsiteY96" fmla="*/ 4451649 h 6858000"/>
              <a:gd name="connsiteX97" fmla="*/ 9692209 w 10344472"/>
              <a:gd name="connsiteY97" fmla="*/ 4375552 h 6858000"/>
              <a:gd name="connsiteX98" fmla="*/ 9192440 w 10344472"/>
              <a:gd name="connsiteY98" fmla="*/ 4375552 h 6858000"/>
              <a:gd name="connsiteX99" fmla="*/ 9350185 w 10344472"/>
              <a:gd name="connsiteY99" fmla="*/ 4530079 h 6858000"/>
              <a:gd name="connsiteX100" fmla="*/ 9350185 w 10344472"/>
              <a:gd name="connsiteY100" fmla="*/ 4814935 h 6858000"/>
              <a:gd name="connsiteX101" fmla="*/ 9281664 w 10344472"/>
              <a:gd name="connsiteY101" fmla="*/ 4814935 h 6858000"/>
              <a:gd name="connsiteX102" fmla="*/ 9281664 w 10344472"/>
              <a:gd name="connsiteY102" fmla="*/ 4760413 h 6858000"/>
              <a:gd name="connsiteX103" fmla="*/ 9146954 w 10344472"/>
              <a:gd name="connsiteY103" fmla="*/ 4822224 h 6858000"/>
              <a:gd name="connsiteX104" fmla="*/ 9003497 w 10344472"/>
              <a:gd name="connsiteY104" fmla="*/ 4695394 h 6858000"/>
              <a:gd name="connsiteX105" fmla="*/ 9219849 w 10344472"/>
              <a:gd name="connsiteY105" fmla="*/ 4561568 h 6858000"/>
              <a:gd name="connsiteX106" fmla="*/ 9281664 w 10344472"/>
              <a:gd name="connsiteY106" fmla="*/ 4561568 h 6858000"/>
              <a:gd name="connsiteX107" fmla="*/ 9281664 w 10344472"/>
              <a:gd name="connsiteY107" fmla="*/ 4530079 h 6858000"/>
              <a:gd name="connsiteX108" fmla="*/ 9189234 w 10344472"/>
              <a:gd name="connsiteY108" fmla="*/ 4432698 h 6858000"/>
              <a:gd name="connsiteX109" fmla="*/ 9090096 w 10344472"/>
              <a:gd name="connsiteY109" fmla="*/ 4510253 h 6858000"/>
              <a:gd name="connsiteX110" fmla="*/ 9021575 w 10344472"/>
              <a:gd name="connsiteY110" fmla="*/ 4510253 h 6858000"/>
              <a:gd name="connsiteX111" fmla="*/ 9192440 w 10344472"/>
              <a:gd name="connsiteY111" fmla="*/ 4375552 h 6858000"/>
              <a:gd name="connsiteX112" fmla="*/ 8735535 w 10344472"/>
              <a:gd name="connsiteY112" fmla="*/ 4375552 h 6858000"/>
              <a:gd name="connsiteX113" fmla="*/ 8932060 w 10344472"/>
              <a:gd name="connsiteY113" fmla="*/ 4592765 h 6858000"/>
              <a:gd name="connsiteX114" fmla="*/ 8932060 w 10344472"/>
              <a:gd name="connsiteY114" fmla="*/ 4599471 h 6858000"/>
              <a:gd name="connsiteX115" fmla="*/ 8735535 w 10344472"/>
              <a:gd name="connsiteY115" fmla="*/ 4822515 h 6858000"/>
              <a:gd name="connsiteX116" fmla="*/ 8589453 w 10344472"/>
              <a:gd name="connsiteY116" fmla="*/ 4744085 h 6858000"/>
              <a:gd name="connsiteX117" fmla="*/ 8589453 w 10344472"/>
              <a:gd name="connsiteY117" fmla="*/ 4965380 h 6858000"/>
              <a:gd name="connsiteX118" fmla="*/ 8520932 w 10344472"/>
              <a:gd name="connsiteY118" fmla="*/ 4965380 h 6858000"/>
              <a:gd name="connsiteX119" fmla="*/ 8520932 w 10344472"/>
              <a:gd name="connsiteY119" fmla="*/ 4383133 h 6858000"/>
              <a:gd name="connsiteX120" fmla="*/ 8589453 w 10344472"/>
              <a:gd name="connsiteY120" fmla="*/ 4383133 h 6858000"/>
              <a:gd name="connsiteX121" fmla="*/ 8589453 w 10344472"/>
              <a:gd name="connsiteY121" fmla="*/ 4455731 h 6858000"/>
              <a:gd name="connsiteX122" fmla="*/ 8735535 w 10344472"/>
              <a:gd name="connsiteY122" fmla="*/ 4375552 h 6858000"/>
              <a:gd name="connsiteX123" fmla="*/ 7450543 w 10344472"/>
              <a:gd name="connsiteY123" fmla="*/ 4375552 h 6858000"/>
              <a:gd name="connsiteX124" fmla="*/ 7662813 w 10344472"/>
              <a:gd name="connsiteY124" fmla="*/ 4595389 h 6858000"/>
              <a:gd name="connsiteX125" fmla="*/ 7662813 w 10344472"/>
              <a:gd name="connsiteY125" fmla="*/ 4602095 h 6858000"/>
              <a:gd name="connsiteX126" fmla="*/ 7449668 w 10344472"/>
              <a:gd name="connsiteY126" fmla="*/ 4822515 h 6858000"/>
              <a:gd name="connsiteX127" fmla="*/ 7238273 w 10344472"/>
              <a:gd name="connsiteY127" fmla="*/ 4602678 h 6858000"/>
              <a:gd name="connsiteX128" fmla="*/ 7238273 w 10344472"/>
              <a:gd name="connsiteY128" fmla="*/ 4595972 h 6858000"/>
              <a:gd name="connsiteX129" fmla="*/ 7450543 w 10344472"/>
              <a:gd name="connsiteY129" fmla="*/ 4375552 h 6858000"/>
              <a:gd name="connsiteX130" fmla="*/ 6977308 w 10344472"/>
              <a:gd name="connsiteY130" fmla="*/ 4375552 h 6858000"/>
              <a:gd name="connsiteX131" fmla="*/ 7164794 w 10344472"/>
              <a:gd name="connsiteY131" fmla="*/ 4526581 h 6858000"/>
              <a:gd name="connsiteX132" fmla="*/ 7097148 w 10344472"/>
              <a:gd name="connsiteY132" fmla="*/ 4526581 h 6858000"/>
              <a:gd name="connsiteX133" fmla="*/ 6977308 w 10344472"/>
              <a:gd name="connsiteY133" fmla="*/ 4432406 h 6858000"/>
              <a:gd name="connsiteX134" fmla="*/ 6838517 w 10344472"/>
              <a:gd name="connsiteY134" fmla="*/ 4596847 h 6858000"/>
              <a:gd name="connsiteX135" fmla="*/ 6838517 w 10344472"/>
              <a:gd name="connsiteY135" fmla="*/ 4603553 h 6858000"/>
              <a:gd name="connsiteX136" fmla="*/ 6979641 w 10344472"/>
              <a:gd name="connsiteY136" fmla="*/ 4765369 h 6858000"/>
              <a:gd name="connsiteX137" fmla="*/ 7103563 w 10344472"/>
              <a:gd name="connsiteY137" fmla="*/ 4659532 h 6858000"/>
              <a:gd name="connsiteX138" fmla="*/ 7167127 w 10344472"/>
              <a:gd name="connsiteY138" fmla="*/ 4659532 h 6858000"/>
              <a:gd name="connsiteX139" fmla="*/ 6978766 w 10344472"/>
              <a:gd name="connsiteY139" fmla="*/ 4822224 h 6858000"/>
              <a:gd name="connsiteX140" fmla="*/ 6767371 w 10344472"/>
              <a:gd name="connsiteY140" fmla="*/ 4603553 h 6858000"/>
              <a:gd name="connsiteX141" fmla="*/ 6767371 w 10344472"/>
              <a:gd name="connsiteY141" fmla="*/ 4596847 h 6858000"/>
              <a:gd name="connsiteX142" fmla="*/ 6977308 w 10344472"/>
              <a:gd name="connsiteY142" fmla="*/ 4375552 h 6858000"/>
              <a:gd name="connsiteX143" fmla="*/ 3295240 w 10344472"/>
              <a:gd name="connsiteY143" fmla="*/ 4375552 h 6858000"/>
              <a:gd name="connsiteX144" fmla="*/ 3124374 w 10344472"/>
              <a:gd name="connsiteY144" fmla="*/ 4510253 h 6858000"/>
              <a:gd name="connsiteX145" fmla="*/ 3192895 w 10344472"/>
              <a:gd name="connsiteY145" fmla="*/ 4510253 h 6858000"/>
              <a:gd name="connsiteX146" fmla="*/ 3292032 w 10344472"/>
              <a:gd name="connsiteY146" fmla="*/ 4432698 h 6858000"/>
              <a:gd name="connsiteX147" fmla="*/ 3384463 w 10344472"/>
              <a:gd name="connsiteY147" fmla="*/ 4530079 h 6858000"/>
              <a:gd name="connsiteX148" fmla="*/ 3384463 w 10344472"/>
              <a:gd name="connsiteY148" fmla="*/ 4561568 h 6858000"/>
              <a:gd name="connsiteX149" fmla="*/ 3322648 w 10344472"/>
              <a:gd name="connsiteY149" fmla="*/ 4561568 h 6858000"/>
              <a:gd name="connsiteX150" fmla="*/ 3106296 w 10344472"/>
              <a:gd name="connsiteY150" fmla="*/ 4695394 h 6858000"/>
              <a:gd name="connsiteX151" fmla="*/ 3249753 w 10344472"/>
              <a:gd name="connsiteY151" fmla="*/ 4822224 h 6858000"/>
              <a:gd name="connsiteX152" fmla="*/ 3384463 w 10344472"/>
              <a:gd name="connsiteY152" fmla="*/ 4760413 h 6858000"/>
              <a:gd name="connsiteX153" fmla="*/ 3384463 w 10344472"/>
              <a:gd name="connsiteY153" fmla="*/ 4814935 h 6858000"/>
              <a:gd name="connsiteX154" fmla="*/ 3452984 w 10344472"/>
              <a:gd name="connsiteY154" fmla="*/ 4814935 h 6858000"/>
              <a:gd name="connsiteX155" fmla="*/ 3452984 w 10344472"/>
              <a:gd name="connsiteY155" fmla="*/ 4530079 h 6858000"/>
              <a:gd name="connsiteX156" fmla="*/ 3295240 w 10344472"/>
              <a:gd name="connsiteY156" fmla="*/ 4375552 h 6858000"/>
              <a:gd name="connsiteX157" fmla="*/ 4369128 w 10344472"/>
              <a:gd name="connsiteY157" fmla="*/ 4374094 h 6858000"/>
              <a:gd name="connsiteX158" fmla="*/ 4254537 w 10344472"/>
              <a:gd name="connsiteY158" fmla="*/ 4402667 h 6858000"/>
              <a:gd name="connsiteX159" fmla="*/ 4174935 w 10344472"/>
              <a:gd name="connsiteY159" fmla="*/ 4483721 h 6858000"/>
              <a:gd name="connsiteX160" fmla="*/ 4146944 w 10344472"/>
              <a:gd name="connsiteY160" fmla="*/ 4593639 h 6858000"/>
              <a:gd name="connsiteX161" fmla="*/ 4174935 w 10344472"/>
              <a:gd name="connsiteY161" fmla="*/ 4719594 h 6858000"/>
              <a:gd name="connsiteX162" fmla="*/ 4256869 w 10344472"/>
              <a:gd name="connsiteY162" fmla="*/ 4798023 h 6858000"/>
              <a:gd name="connsiteX163" fmla="*/ 4370002 w 10344472"/>
              <a:gd name="connsiteY163" fmla="*/ 4824847 h 6858000"/>
              <a:gd name="connsiteX164" fmla="*/ 4529205 w 10344472"/>
              <a:gd name="connsiteY164" fmla="*/ 4760412 h 6858000"/>
              <a:gd name="connsiteX165" fmla="*/ 4592478 w 10344472"/>
              <a:gd name="connsiteY165" fmla="*/ 4598304 h 6858000"/>
              <a:gd name="connsiteX166" fmla="*/ 4529788 w 10344472"/>
              <a:gd name="connsiteY166" fmla="*/ 4437654 h 6858000"/>
              <a:gd name="connsiteX167" fmla="*/ 4369128 w 10344472"/>
              <a:gd name="connsiteY167" fmla="*/ 4374094 h 6858000"/>
              <a:gd name="connsiteX168" fmla="*/ 5366331 w 10344472"/>
              <a:gd name="connsiteY168" fmla="*/ 4312574 h 6858000"/>
              <a:gd name="connsiteX169" fmla="*/ 5453221 w 10344472"/>
              <a:gd name="connsiteY169" fmla="*/ 4337940 h 6858000"/>
              <a:gd name="connsiteX170" fmla="*/ 5455785 w 10344472"/>
              <a:gd name="connsiteY170" fmla="*/ 4340581 h 6858000"/>
              <a:gd name="connsiteX171" fmla="*/ 5410884 w 10344472"/>
              <a:gd name="connsiteY171" fmla="*/ 4495966 h 6858000"/>
              <a:gd name="connsiteX172" fmla="*/ 5368372 w 10344472"/>
              <a:gd name="connsiteY172" fmla="*/ 4495966 h 6858000"/>
              <a:gd name="connsiteX173" fmla="*/ 5368372 w 10344472"/>
              <a:gd name="connsiteY173" fmla="*/ 4596263 h 6858000"/>
              <a:gd name="connsiteX174" fmla="*/ 5381902 w 10344472"/>
              <a:gd name="connsiteY174" fmla="*/ 4596263 h 6858000"/>
              <a:gd name="connsiteX175" fmla="*/ 5346461 w 10344472"/>
              <a:gd name="connsiteY175" fmla="*/ 4718911 h 6858000"/>
              <a:gd name="connsiteX176" fmla="*/ 5296024 w 10344472"/>
              <a:gd name="connsiteY176" fmla="*/ 4709207 h 6858000"/>
              <a:gd name="connsiteX177" fmla="*/ 5241534 w 10344472"/>
              <a:gd name="connsiteY177" fmla="*/ 4669445 h 6858000"/>
              <a:gd name="connsiteX178" fmla="*/ 5194298 w 10344472"/>
              <a:gd name="connsiteY178" fmla="*/ 4510544 h 6858000"/>
              <a:gd name="connsiteX179" fmla="*/ 5240951 w 10344472"/>
              <a:gd name="connsiteY179" fmla="*/ 4362431 h 6858000"/>
              <a:gd name="connsiteX180" fmla="*/ 5366331 w 10344472"/>
              <a:gd name="connsiteY180" fmla="*/ 4312574 h 6858000"/>
              <a:gd name="connsiteX181" fmla="*/ 3701993 w 10344472"/>
              <a:gd name="connsiteY181" fmla="*/ 4219566 h 6858000"/>
              <a:gd name="connsiteX182" fmla="*/ 3920386 w 10344472"/>
              <a:gd name="connsiteY182" fmla="*/ 4564191 h 6858000"/>
              <a:gd name="connsiteX183" fmla="*/ 3920386 w 10344472"/>
              <a:gd name="connsiteY183" fmla="*/ 4814642 h 6858000"/>
              <a:gd name="connsiteX184" fmla="*/ 4040226 w 10344472"/>
              <a:gd name="connsiteY184" fmla="*/ 4814642 h 6858000"/>
              <a:gd name="connsiteX185" fmla="*/ 4040226 w 10344472"/>
              <a:gd name="connsiteY185" fmla="*/ 4565066 h 6858000"/>
              <a:gd name="connsiteX186" fmla="*/ 4259202 w 10344472"/>
              <a:gd name="connsiteY186" fmla="*/ 4219858 h 6858000"/>
              <a:gd name="connsiteX187" fmla="*/ 4120410 w 10344472"/>
              <a:gd name="connsiteY187" fmla="*/ 4219858 h 6858000"/>
              <a:gd name="connsiteX188" fmla="*/ 3983076 w 10344472"/>
              <a:gd name="connsiteY188" fmla="*/ 4455148 h 6858000"/>
              <a:gd name="connsiteX189" fmla="*/ 3842826 w 10344472"/>
              <a:gd name="connsiteY189" fmla="*/ 4219858 h 6858000"/>
              <a:gd name="connsiteX190" fmla="*/ 3842826 w 10344472"/>
              <a:gd name="connsiteY190" fmla="*/ 4219566 h 6858000"/>
              <a:gd name="connsiteX191" fmla="*/ 3701993 w 10344472"/>
              <a:gd name="connsiteY191" fmla="*/ 4219566 h 6858000"/>
              <a:gd name="connsiteX192" fmla="*/ 3112711 w 10344472"/>
              <a:gd name="connsiteY192" fmla="*/ 2062597 h 6858000"/>
              <a:gd name="connsiteX193" fmla="*/ 3112711 w 10344472"/>
              <a:gd name="connsiteY193" fmla="*/ 3855407 h 6858000"/>
              <a:gd name="connsiteX194" fmla="*/ 4592478 w 10344472"/>
              <a:gd name="connsiteY194" fmla="*/ 3855407 h 6858000"/>
              <a:gd name="connsiteX195" fmla="*/ 4592478 w 10344472"/>
              <a:gd name="connsiteY195" fmla="*/ 3361794 h 6858000"/>
              <a:gd name="connsiteX196" fmla="*/ 3710741 w 10344472"/>
              <a:gd name="connsiteY196" fmla="*/ 3361794 h 6858000"/>
              <a:gd name="connsiteX197" fmla="*/ 3710741 w 10344472"/>
              <a:gd name="connsiteY197" fmla="*/ 2062597 h 6858000"/>
              <a:gd name="connsiteX198" fmla="*/ 3112711 w 10344472"/>
              <a:gd name="connsiteY198" fmla="*/ 2062597 h 6858000"/>
              <a:gd name="connsiteX199" fmla="*/ 9524550 w 10344472"/>
              <a:gd name="connsiteY199" fmla="*/ 2061139 h 6858000"/>
              <a:gd name="connsiteX200" fmla="*/ 10233964 w 10344472"/>
              <a:gd name="connsiteY200" fmla="*/ 2062014 h 6858000"/>
              <a:gd name="connsiteX201" fmla="*/ 10261664 w 10344472"/>
              <a:gd name="connsiteY201" fmla="*/ 2062014 h 6858000"/>
              <a:gd name="connsiteX202" fmla="*/ 9436493 w 10344472"/>
              <a:gd name="connsiteY202" fmla="*/ 2879843 h 6858000"/>
              <a:gd name="connsiteX203" fmla="*/ 10344472 w 10344472"/>
              <a:gd name="connsiteY203" fmla="*/ 3856281 h 6858000"/>
              <a:gd name="connsiteX204" fmla="*/ 10330185 w 10344472"/>
              <a:gd name="connsiteY204" fmla="*/ 3856281 h 6858000"/>
              <a:gd name="connsiteX205" fmla="*/ 9609108 w 10344472"/>
              <a:gd name="connsiteY205" fmla="*/ 3856573 h 6858000"/>
              <a:gd name="connsiteX206" fmla="*/ 9587239 w 10344472"/>
              <a:gd name="connsiteY206" fmla="*/ 3846660 h 6858000"/>
              <a:gd name="connsiteX207" fmla="*/ 9072309 w 10344472"/>
              <a:gd name="connsiteY207" fmla="*/ 3253041 h 6858000"/>
              <a:gd name="connsiteX208" fmla="*/ 8965591 w 10344472"/>
              <a:gd name="connsiteY208" fmla="*/ 3130294 h 6858000"/>
              <a:gd name="connsiteX209" fmla="*/ 8952470 w 10344472"/>
              <a:gd name="connsiteY209" fmla="*/ 3115424 h 6858000"/>
              <a:gd name="connsiteX210" fmla="*/ 8952470 w 10344472"/>
              <a:gd name="connsiteY210" fmla="*/ 3855407 h 6858000"/>
              <a:gd name="connsiteX211" fmla="*/ 8352982 w 10344472"/>
              <a:gd name="connsiteY211" fmla="*/ 3855407 h 6858000"/>
              <a:gd name="connsiteX212" fmla="*/ 8352982 w 10344472"/>
              <a:gd name="connsiteY212" fmla="*/ 2062888 h 6858000"/>
              <a:gd name="connsiteX213" fmla="*/ 8951595 w 10344472"/>
              <a:gd name="connsiteY213" fmla="*/ 2062888 h 6858000"/>
              <a:gd name="connsiteX214" fmla="*/ 8951595 w 10344472"/>
              <a:gd name="connsiteY214" fmla="*/ 2618604 h 6858000"/>
              <a:gd name="connsiteX215" fmla="*/ 8990667 w 10344472"/>
              <a:gd name="connsiteY215" fmla="*/ 2579243 h 6858000"/>
              <a:gd name="connsiteX216" fmla="*/ 9449030 w 10344472"/>
              <a:gd name="connsiteY216" fmla="*/ 2093211 h 6858000"/>
              <a:gd name="connsiteX217" fmla="*/ 9524550 w 10344472"/>
              <a:gd name="connsiteY217" fmla="*/ 2061139 h 6858000"/>
              <a:gd name="connsiteX218" fmla="*/ 5280607 w 10344472"/>
              <a:gd name="connsiteY218" fmla="*/ 2061139 h 6858000"/>
              <a:gd name="connsiteX219" fmla="*/ 5264570 w 10344472"/>
              <a:gd name="connsiteY219" fmla="*/ 2074842 h 6858000"/>
              <a:gd name="connsiteX220" fmla="*/ 5094870 w 10344472"/>
              <a:gd name="connsiteY220" fmla="*/ 2664671 h 6858000"/>
              <a:gd name="connsiteX221" fmla="*/ 4793085 w 10344472"/>
              <a:gd name="connsiteY221" fmla="*/ 3709043 h 6858000"/>
              <a:gd name="connsiteX222" fmla="*/ 4750806 w 10344472"/>
              <a:gd name="connsiteY222" fmla="*/ 3855698 h 6858000"/>
              <a:gd name="connsiteX223" fmla="*/ 5353501 w 10344472"/>
              <a:gd name="connsiteY223" fmla="*/ 3855698 h 6858000"/>
              <a:gd name="connsiteX224" fmla="*/ 5871347 w 10344472"/>
              <a:gd name="connsiteY224" fmla="*/ 2062305 h 6858000"/>
              <a:gd name="connsiteX225" fmla="*/ 5859392 w 10344472"/>
              <a:gd name="connsiteY225" fmla="*/ 2061431 h 6858000"/>
              <a:gd name="connsiteX226" fmla="*/ 5280607 w 10344472"/>
              <a:gd name="connsiteY226" fmla="*/ 2061139 h 6858000"/>
              <a:gd name="connsiteX227" fmla="*/ 0 w 10344472"/>
              <a:gd name="connsiteY227" fmla="*/ 0 h 6858000"/>
              <a:gd name="connsiteX228" fmla="*/ 6707236 w 10344472"/>
              <a:gd name="connsiteY228" fmla="*/ 0 h 6858000"/>
              <a:gd name="connsiteX229" fmla="*/ 6114289 w 10344472"/>
              <a:gd name="connsiteY229" fmla="*/ 2060916 h 6858000"/>
              <a:gd name="connsiteX230" fmla="*/ 6560000 w 10344472"/>
              <a:gd name="connsiteY230" fmla="*/ 2061141 h 6858000"/>
              <a:gd name="connsiteX231" fmla="*/ 6564947 w 10344472"/>
              <a:gd name="connsiteY231" fmla="*/ 2061503 h 6858000"/>
              <a:gd name="connsiteX232" fmla="*/ 6705555 w 10344472"/>
              <a:gd name="connsiteY232" fmla="*/ 2061431 h 6858000"/>
              <a:gd name="connsiteX233" fmla="*/ 6726841 w 10344472"/>
              <a:gd name="connsiteY233" fmla="*/ 2073677 h 6858000"/>
              <a:gd name="connsiteX234" fmla="*/ 7211738 w 10344472"/>
              <a:gd name="connsiteY234" fmla="*/ 2996759 h 6858000"/>
              <a:gd name="connsiteX235" fmla="*/ 7282883 w 10344472"/>
              <a:gd name="connsiteY235" fmla="*/ 3131461 h 6858000"/>
              <a:gd name="connsiteX236" fmla="*/ 7292797 w 10344472"/>
              <a:gd name="connsiteY236" fmla="*/ 3150121 h 6858000"/>
              <a:gd name="connsiteX237" fmla="*/ 7304460 w 10344472"/>
              <a:gd name="connsiteY237" fmla="*/ 3108136 h 6858000"/>
              <a:gd name="connsiteX238" fmla="*/ 7479700 w 10344472"/>
              <a:gd name="connsiteY238" fmla="*/ 2453581 h 6858000"/>
              <a:gd name="connsiteX239" fmla="*/ 7580003 w 10344472"/>
              <a:gd name="connsiteY239" fmla="*/ 2077467 h 6858000"/>
              <a:gd name="connsiteX240" fmla="*/ 7601288 w 10344472"/>
              <a:gd name="connsiteY240" fmla="*/ 2060848 h 6858000"/>
              <a:gd name="connsiteX241" fmla="*/ 8180074 w 10344472"/>
              <a:gd name="connsiteY241" fmla="*/ 2061140 h 6858000"/>
              <a:gd name="connsiteX242" fmla="*/ 8198153 w 10344472"/>
              <a:gd name="connsiteY242" fmla="*/ 2061140 h 6858000"/>
              <a:gd name="connsiteX243" fmla="*/ 7679140 w 10344472"/>
              <a:gd name="connsiteY243" fmla="*/ 3855699 h 6858000"/>
              <a:gd name="connsiteX244" fmla="*/ 7661354 w 10344472"/>
              <a:gd name="connsiteY244" fmla="*/ 3855699 h 6858000"/>
              <a:gd name="connsiteX245" fmla="*/ 7081110 w 10344472"/>
              <a:gd name="connsiteY245" fmla="*/ 3855990 h 6858000"/>
              <a:gd name="connsiteX246" fmla="*/ 7055743 w 10344472"/>
              <a:gd name="connsiteY246" fmla="*/ 3840829 h 6858000"/>
              <a:gd name="connsiteX247" fmla="*/ 6762997 w 10344472"/>
              <a:gd name="connsiteY247" fmla="*/ 3290070 h 6858000"/>
              <a:gd name="connsiteX248" fmla="*/ 6497367 w 10344472"/>
              <a:gd name="connsiteY248" fmla="*/ 2790626 h 6858000"/>
              <a:gd name="connsiteX249" fmla="*/ 6488620 w 10344472"/>
              <a:gd name="connsiteY249" fmla="*/ 2776339 h 6858000"/>
              <a:gd name="connsiteX250" fmla="*/ 6200539 w 10344472"/>
              <a:gd name="connsiteY250" fmla="*/ 3855116 h 6858000"/>
              <a:gd name="connsiteX251" fmla="*/ 6054232 w 10344472"/>
              <a:gd name="connsiteY251" fmla="*/ 3855116 h 6858000"/>
              <a:gd name="connsiteX252" fmla="*/ 5594353 w 10344472"/>
              <a:gd name="connsiteY252" fmla="*/ 3861048 h 6858000"/>
              <a:gd name="connsiteX253" fmla="*/ 5487296 w 10344472"/>
              <a:gd name="connsiteY253" fmla="*/ 4231534 h 6858000"/>
              <a:gd name="connsiteX254" fmla="*/ 5465213 w 10344472"/>
              <a:gd name="connsiteY254" fmla="*/ 4221243 h 6858000"/>
              <a:gd name="connsiteX255" fmla="*/ 5366331 w 10344472"/>
              <a:gd name="connsiteY255" fmla="*/ 4209653 h 6858000"/>
              <a:gd name="connsiteX256" fmla="*/ 5224040 w 10344472"/>
              <a:gd name="connsiteY256" fmla="*/ 4239684 h 6858000"/>
              <a:gd name="connsiteX257" fmla="*/ 5109740 w 10344472"/>
              <a:gd name="connsiteY257" fmla="*/ 4350477 h 6858000"/>
              <a:gd name="connsiteX258" fmla="*/ 5070669 w 10344472"/>
              <a:gd name="connsiteY258" fmla="*/ 4515501 h 6858000"/>
              <a:gd name="connsiteX259" fmla="*/ 5105658 w 10344472"/>
              <a:gd name="connsiteY259" fmla="*/ 4674110 h 6858000"/>
              <a:gd name="connsiteX260" fmla="*/ 5210044 w 10344472"/>
              <a:gd name="connsiteY260" fmla="*/ 4786070 h 6858000"/>
              <a:gd name="connsiteX261" fmla="*/ 5285527 w 10344472"/>
              <a:gd name="connsiteY261" fmla="*/ 4815335 h 6858000"/>
              <a:gd name="connsiteX262" fmla="*/ 5317561 w 10344472"/>
              <a:gd name="connsiteY262" fmla="*/ 4818924 h 6858000"/>
              <a:gd name="connsiteX263" fmla="*/ 4728343 w 10344472"/>
              <a:gd name="connsiteY263" fmla="*/ 6858000 h 6858000"/>
              <a:gd name="connsiteX264" fmla="*/ 0 w 10344472"/>
              <a:gd name="connsiteY264" fmla="*/ 6858000 h 6858000"/>
              <a:gd name="connsiteX265" fmla="*/ 0 w 10344472"/>
              <a:gd name="connsiteY265" fmla="*/ 0 h 6858000"/>
              <a:gd name="connsiteX0" fmla="*/ 9222182 w 10344472"/>
              <a:gd name="connsiteY0" fmla="*/ 4610259 h 6858000"/>
              <a:gd name="connsiteX1" fmla="*/ 9071727 w 10344472"/>
              <a:gd name="connsiteY1" fmla="*/ 4695394 h 6858000"/>
              <a:gd name="connsiteX2" fmla="*/ 9153369 w 10344472"/>
              <a:gd name="connsiteY2" fmla="*/ 4767993 h 6858000"/>
              <a:gd name="connsiteX3" fmla="*/ 9281664 w 10344472"/>
              <a:gd name="connsiteY3" fmla="*/ 4663906 h 6858000"/>
              <a:gd name="connsiteX4" fmla="*/ 9281664 w 10344472"/>
              <a:gd name="connsiteY4" fmla="*/ 4610259 h 6858000"/>
              <a:gd name="connsiteX5" fmla="*/ 9222182 w 10344472"/>
              <a:gd name="connsiteY5" fmla="*/ 4610259 h 6858000"/>
              <a:gd name="connsiteX6" fmla="*/ 3325272 w 10344472"/>
              <a:gd name="connsiteY6" fmla="*/ 4610259 h 6858000"/>
              <a:gd name="connsiteX7" fmla="*/ 3384755 w 10344472"/>
              <a:gd name="connsiteY7" fmla="*/ 4610259 h 6858000"/>
              <a:gd name="connsiteX8" fmla="*/ 3384755 w 10344472"/>
              <a:gd name="connsiteY8" fmla="*/ 4663906 h 6858000"/>
              <a:gd name="connsiteX9" fmla="*/ 3256460 w 10344472"/>
              <a:gd name="connsiteY9" fmla="*/ 4767993 h 6858000"/>
              <a:gd name="connsiteX10" fmla="*/ 3174817 w 10344472"/>
              <a:gd name="connsiteY10" fmla="*/ 4695394 h 6858000"/>
              <a:gd name="connsiteX11" fmla="*/ 3325272 w 10344472"/>
              <a:gd name="connsiteY11" fmla="*/ 4610259 h 6858000"/>
              <a:gd name="connsiteX12" fmla="*/ 4369419 w 10344472"/>
              <a:gd name="connsiteY12" fmla="*/ 4467101 h 6858000"/>
              <a:gd name="connsiteX13" fmla="*/ 4444355 w 10344472"/>
              <a:gd name="connsiteY13" fmla="*/ 4501214 h 6858000"/>
              <a:gd name="connsiteX14" fmla="*/ 4474679 w 10344472"/>
              <a:gd name="connsiteY14" fmla="*/ 4598596 h 6858000"/>
              <a:gd name="connsiteX15" fmla="*/ 4444355 w 10344472"/>
              <a:gd name="connsiteY15" fmla="*/ 4697726 h 6858000"/>
              <a:gd name="connsiteX16" fmla="*/ 4369419 w 10344472"/>
              <a:gd name="connsiteY16" fmla="*/ 4731839 h 6858000"/>
              <a:gd name="connsiteX17" fmla="*/ 4294192 w 10344472"/>
              <a:gd name="connsiteY17" fmla="*/ 4697726 h 6858000"/>
              <a:gd name="connsiteX18" fmla="*/ 4263576 w 10344472"/>
              <a:gd name="connsiteY18" fmla="*/ 4599470 h 6858000"/>
              <a:gd name="connsiteX19" fmla="*/ 4294192 w 10344472"/>
              <a:gd name="connsiteY19" fmla="*/ 4501214 h 6858000"/>
              <a:gd name="connsiteX20" fmla="*/ 4369419 w 10344472"/>
              <a:gd name="connsiteY20" fmla="*/ 4467101 h 6858000"/>
              <a:gd name="connsiteX21" fmla="*/ 8728245 w 10344472"/>
              <a:gd name="connsiteY21" fmla="*/ 4432406 h 6858000"/>
              <a:gd name="connsiteX22" fmla="*/ 8587121 w 10344472"/>
              <a:gd name="connsiteY22" fmla="*/ 4595972 h 6858000"/>
              <a:gd name="connsiteX23" fmla="*/ 8587121 w 10344472"/>
              <a:gd name="connsiteY23" fmla="*/ 4602678 h 6858000"/>
              <a:gd name="connsiteX24" fmla="*/ 8729120 w 10344472"/>
              <a:gd name="connsiteY24" fmla="*/ 4765369 h 6858000"/>
              <a:gd name="connsiteX25" fmla="*/ 8861206 w 10344472"/>
              <a:gd name="connsiteY25" fmla="*/ 4602678 h 6858000"/>
              <a:gd name="connsiteX26" fmla="*/ 8861206 w 10344472"/>
              <a:gd name="connsiteY26" fmla="*/ 4595972 h 6858000"/>
              <a:gd name="connsiteX27" fmla="*/ 8728245 w 10344472"/>
              <a:gd name="connsiteY27" fmla="*/ 4432406 h 6858000"/>
              <a:gd name="connsiteX28" fmla="*/ 7450543 w 10344472"/>
              <a:gd name="connsiteY28" fmla="*/ 4432406 h 6858000"/>
              <a:gd name="connsiteX29" fmla="*/ 7309419 w 10344472"/>
              <a:gd name="connsiteY29" fmla="*/ 4595972 h 6858000"/>
              <a:gd name="connsiteX30" fmla="*/ 7309419 w 10344472"/>
              <a:gd name="connsiteY30" fmla="*/ 4602678 h 6858000"/>
              <a:gd name="connsiteX31" fmla="*/ 7450543 w 10344472"/>
              <a:gd name="connsiteY31" fmla="*/ 4765369 h 6858000"/>
              <a:gd name="connsiteX32" fmla="*/ 7591668 w 10344472"/>
              <a:gd name="connsiteY32" fmla="*/ 4602678 h 6858000"/>
              <a:gd name="connsiteX33" fmla="*/ 7591668 w 10344472"/>
              <a:gd name="connsiteY33" fmla="*/ 4596847 h 6858000"/>
              <a:gd name="connsiteX34" fmla="*/ 7450543 w 10344472"/>
              <a:gd name="connsiteY34" fmla="*/ 4432406 h 6858000"/>
              <a:gd name="connsiteX35" fmla="*/ 4629508 w 10344472"/>
              <a:gd name="connsiteY35" fmla="*/ 4383423 h 6858000"/>
              <a:gd name="connsiteX36" fmla="*/ 4629508 w 10344472"/>
              <a:gd name="connsiteY36" fmla="*/ 4656033 h 6858000"/>
              <a:gd name="connsiteX37" fmla="*/ 4644962 w 10344472"/>
              <a:gd name="connsiteY37" fmla="*/ 4751374 h 6858000"/>
              <a:gd name="connsiteX38" fmla="*/ 4694822 w 10344472"/>
              <a:gd name="connsiteY38" fmla="*/ 4805021 h 6858000"/>
              <a:gd name="connsiteX39" fmla="*/ 4772966 w 10344472"/>
              <a:gd name="connsiteY39" fmla="*/ 4823972 h 6858000"/>
              <a:gd name="connsiteX40" fmla="*/ 4854025 w 10344472"/>
              <a:gd name="connsiteY40" fmla="*/ 4804146 h 6858000"/>
              <a:gd name="connsiteX41" fmla="*/ 4916131 w 10344472"/>
              <a:gd name="connsiteY41" fmla="*/ 4749916 h 6858000"/>
              <a:gd name="connsiteX42" fmla="*/ 4916131 w 10344472"/>
              <a:gd name="connsiteY42" fmla="*/ 4814351 h 6858000"/>
              <a:gd name="connsiteX43" fmla="*/ 5022266 w 10344472"/>
              <a:gd name="connsiteY43" fmla="*/ 4814351 h 6858000"/>
              <a:gd name="connsiteX44" fmla="*/ 5022266 w 10344472"/>
              <a:gd name="connsiteY44" fmla="*/ 4383423 h 6858000"/>
              <a:gd name="connsiteX45" fmla="*/ 4907967 w 10344472"/>
              <a:gd name="connsiteY45" fmla="*/ 4383423 h 6858000"/>
              <a:gd name="connsiteX46" fmla="*/ 4907967 w 10344472"/>
              <a:gd name="connsiteY46" fmla="*/ 4565358 h 6858000"/>
              <a:gd name="connsiteX47" fmla="*/ 4899511 w 10344472"/>
              <a:gd name="connsiteY47" fmla="*/ 4681691 h 6858000"/>
              <a:gd name="connsiteX48" fmla="*/ 4867729 w 10344472"/>
              <a:gd name="connsiteY48" fmla="*/ 4721343 h 6858000"/>
              <a:gd name="connsiteX49" fmla="*/ 4815245 w 10344472"/>
              <a:gd name="connsiteY49" fmla="*/ 4737379 h 6858000"/>
              <a:gd name="connsiteX50" fmla="*/ 4772966 w 10344472"/>
              <a:gd name="connsiteY50" fmla="*/ 4725425 h 6858000"/>
              <a:gd name="connsiteX51" fmla="*/ 4749931 w 10344472"/>
              <a:gd name="connsiteY51" fmla="*/ 4693061 h 6858000"/>
              <a:gd name="connsiteX52" fmla="*/ 4743516 w 10344472"/>
              <a:gd name="connsiteY52" fmla="*/ 4581685 h 6858000"/>
              <a:gd name="connsiteX53" fmla="*/ 4743516 w 10344472"/>
              <a:gd name="connsiteY53" fmla="*/ 4383715 h 6858000"/>
              <a:gd name="connsiteX54" fmla="*/ 4743516 w 10344472"/>
              <a:gd name="connsiteY54" fmla="*/ 4383423 h 6858000"/>
              <a:gd name="connsiteX55" fmla="*/ 4629508 w 10344472"/>
              <a:gd name="connsiteY55" fmla="*/ 4383423 h 6858000"/>
              <a:gd name="connsiteX56" fmla="*/ 9917600 w 10344472"/>
              <a:gd name="connsiteY56" fmla="*/ 4382841 h 6858000"/>
              <a:gd name="connsiteX57" fmla="*/ 9991078 w 10344472"/>
              <a:gd name="connsiteY57" fmla="*/ 4382841 h 6858000"/>
              <a:gd name="connsiteX58" fmla="*/ 10123164 w 10344472"/>
              <a:gd name="connsiteY58" fmla="*/ 4692479 h 6858000"/>
              <a:gd name="connsiteX59" fmla="*/ 10243003 w 10344472"/>
              <a:gd name="connsiteY59" fmla="*/ 4382841 h 6858000"/>
              <a:gd name="connsiteX60" fmla="*/ 10313274 w 10344472"/>
              <a:gd name="connsiteY60" fmla="*/ 4382841 h 6858000"/>
              <a:gd name="connsiteX61" fmla="*/ 10074469 w 10344472"/>
              <a:gd name="connsiteY61" fmla="*/ 4965089 h 6858000"/>
              <a:gd name="connsiteX62" fmla="*/ 10005074 w 10344472"/>
              <a:gd name="connsiteY62" fmla="*/ 4965089 h 6858000"/>
              <a:gd name="connsiteX63" fmla="*/ 10087007 w 10344472"/>
              <a:gd name="connsiteY63" fmla="*/ 4770326 h 6858000"/>
              <a:gd name="connsiteX64" fmla="*/ 9917600 w 10344472"/>
              <a:gd name="connsiteY64" fmla="*/ 4382841 h 6858000"/>
              <a:gd name="connsiteX65" fmla="*/ 7966639 w 10344472"/>
              <a:gd name="connsiteY65" fmla="*/ 4375843 h 6858000"/>
              <a:gd name="connsiteX66" fmla="*/ 8092894 w 10344472"/>
              <a:gd name="connsiteY66" fmla="*/ 4456897 h 6858000"/>
              <a:gd name="connsiteX67" fmla="*/ 8240724 w 10344472"/>
              <a:gd name="connsiteY67" fmla="*/ 4375843 h 6858000"/>
              <a:gd name="connsiteX68" fmla="*/ 8386223 w 10344472"/>
              <a:gd name="connsiteY68" fmla="*/ 4547573 h 6858000"/>
              <a:gd name="connsiteX69" fmla="*/ 8386223 w 10344472"/>
              <a:gd name="connsiteY69" fmla="*/ 4815226 h 6858000"/>
              <a:gd name="connsiteX70" fmla="*/ 8317702 w 10344472"/>
              <a:gd name="connsiteY70" fmla="*/ 4815226 h 6858000"/>
              <a:gd name="connsiteX71" fmla="*/ 8317702 w 10344472"/>
              <a:gd name="connsiteY71" fmla="*/ 4542616 h 6858000"/>
              <a:gd name="connsiteX72" fmla="*/ 8226145 w 10344472"/>
              <a:gd name="connsiteY72" fmla="*/ 4435322 h 6858000"/>
              <a:gd name="connsiteX73" fmla="*/ 8112138 w 10344472"/>
              <a:gd name="connsiteY73" fmla="*/ 4551071 h 6858000"/>
              <a:gd name="connsiteX74" fmla="*/ 8112138 w 10344472"/>
              <a:gd name="connsiteY74" fmla="*/ 4815226 h 6858000"/>
              <a:gd name="connsiteX75" fmla="*/ 8043617 w 10344472"/>
              <a:gd name="connsiteY75" fmla="*/ 4815226 h 6858000"/>
              <a:gd name="connsiteX76" fmla="*/ 8043617 w 10344472"/>
              <a:gd name="connsiteY76" fmla="*/ 4542616 h 6858000"/>
              <a:gd name="connsiteX77" fmla="*/ 7952060 w 10344472"/>
              <a:gd name="connsiteY77" fmla="*/ 4435322 h 6858000"/>
              <a:gd name="connsiteX78" fmla="*/ 7838053 w 10344472"/>
              <a:gd name="connsiteY78" fmla="*/ 4551071 h 6858000"/>
              <a:gd name="connsiteX79" fmla="*/ 7838053 w 10344472"/>
              <a:gd name="connsiteY79" fmla="*/ 4815226 h 6858000"/>
              <a:gd name="connsiteX80" fmla="*/ 7769532 w 10344472"/>
              <a:gd name="connsiteY80" fmla="*/ 4815226 h 6858000"/>
              <a:gd name="connsiteX81" fmla="*/ 7769532 w 10344472"/>
              <a:gd name="connsiteY81" fmla="*/ 4383132 h 6858000"/>
              <a:gd name="connsiteX82" fmla="*/ 7837761 w 10344472"/>
              <a:gd name="connsiteY82" fmla="*/ 4383132 h 6858000"/>
              <a:gd name="connsiteX83" fmla="*/ 7837761 w 10344472"/>
              <a:gd name="connsiteY83" fmla="*/ 4449316 h 6858000"/>
              <a:gd name="connsiteX84" fmla="*/ 7966639 w 10344472"/>
              <a:gd name="connsiteY84" fmla="*/ 4375843 h 6858000"/>
              <a:gd name="connsiteX85" fmla="*/ 9692209 w 10344472"/>
              <a:gd name="connsiteY85" fmla="*/ 4375552 h 6858000"/>
              <a:gd name="connsiteX86" fmla="*/ 9844121 w 10344472"/>
              <a:gd name="connsiteY86" fmla="*/ 4549906 h 6858000"/>
              <a:gd name="connsiteX87" fmla="*/ 9844121 w 10344472"/>
              <a:gd name="connsiteY87" fmla="*/ 4814935 h 6858000"/>
              <a:gd name="connsiteX88" fmla="*/ 9775600 w 10344472"/>
              <a:gd name="connsiteY88" fmla="*/ 4814935 h 6858000"/>
              <a:gd name="connsiteX89" fmla="*/ 9775600 w 10344472"/>
              <a:gd name="connsiteY89" fmla="*/ 4544949 h 6858000"/>
              <a:gd name="connsiteX90" fmla="*/ 9674131 w 10344472"/>
              <a:gd name="connsiteY90" fmla="*/ 4435030 h 6858000"/>
              <a:gd name="connsiteX91" fmla="*/ 9553416 w 10344472"/>
              <a:gd name="connsiteY91" fmla="*/ 4553113 h 6858000"/>
              <a:gd name="connsiteX92" fmla="*/ 9553416 w 10344472"/>
              <a:gd name="connsiteY92" fmla="*/ 4814935 h 6858000"/>
              <a:gd name="connsiteX93" fmla="*/ 9484895 w 10344472"/>
              <a:gd name="connsiteY93" fmla="*/ 4814935 h 6858000"/>
              <a:gd name="connsiteX94" fmla="*/ 9484895 w 10344472"/>
              <a:gd name="connsiteY94" fmla="*/ 4383133 h 6858000"/>
              <a:gd name="connsiteX95" fmla="*/ 9553416 w 10344472"/>
              <a:gd name="connsiteY95" fmla="*/ 4383133 h 6858000"/>
              <a:gd name="connsiteX96" fmla="*/ 9553416 w 10344472"/>
              <a:gd name="connsiteY96" fmla="*/ 4451649 h 6858000"/>
              <a:gd name="connsiteX97" fmla="*/ 9692209 w 10344472"/>
              <a:gd name="connsiteY97" fmla="*/ 4375552 h 6858000"/>
              <a:gd name="connsiteX98" fmla="*/ 9192440 w 10344472"/>
              <a:gd name="connsiteY98" fmla="*/ 4375552 h 6858000"/>
              <a:gd name="connsiteX99" fmla="*/ 9350185 w 10344472"/>
              <a:gd name="connsiteY99" fmla="*/ 4530079 h 6858000"/>
              <a:gd name="connsiteX100" fmla="*/ 9350185 w 10344472"/>
              <a:gd name="connsiteY100" fmla="*/ 4814935 h 6858000"/>
              <a:gd name="connsiteX101" fmla="*/ 9281664 w 10344472"/>
              <a:gd name="connsiteY101" fmla="*/ 4814935 h 6858000"/>
              <a:gd name="connsiteX102" fmla="*/ 9281664 w 10344472"/>
              <a:gd name="connsiteY102" fmla="*/ 4760413 h 6858000"/>
              <a:gd name="connsiteX103" fmla="*/ 9146954 w 10344472"/>
              <a:gd name="connsiteY103" fmla="*/ 4822224 h 6858000"/>
              <a:gd name="connsiteX104" fmla="*/ 9003497 w 10344472"/>
              <a:gd name="connsiteY104" fmla="*/ 4695394 h 6858000"/>
              <a:gd name="connsiteX105" fmla="*/ 9219849 w 10344472"/>
              <a:gd name="connsiteY105" fmla="*/ 4561568 h 6858000"/>
              <a:gd name="connsiteX106" fmla="*/ 9281664 w 10344472"/>
              <a:gd name="connsiteY106" fmla="*/ 4561568 h 6858000"/>
              <a:gd name="connsiteX107" fmla="*/ 9281664 w 10344472"/>
              <a:gd name="connsiteY107" fmla="*/ 4530079 h 6858000"/>
              <a:gd name="connsiteX108" fmla="*/ 9189234 w 10344472"/>
              <a:gd name="connsiteY108" fmla="*/ 4432698 h 6858000"/>
              <a:gd name="connsiteX109" fmla="*/ 9090096 w 10344472"/>
              <a:gd name="connsiteY109" fmla="*/ 4510253 h 6858000"/>
              <a:gd name="connsiteX110" fmla="*/ 9021575 w 10344472"/>
              <a:gd name="connsiteY110" fmla="*/ 4510253 h 6858000"/>
              <a:gd name="connsiteX111" fmla="*/ 9192440 w 10344472"/>
              <a:gd name="connsiteY111" fmla="*/ 4375552 h 6858000"/>
              <a:gd name="connsiteX112" fmla="*/ 8735535 w 10344472"/>
              <a:gd name="connsiteY112" fmla="*/ 4375552 h 6858000"/>
              <a:gd name="connsiteX113" fmla="*/ 8932060 w 10344472"/>
              <a:gd name="connsiteY113" fmla="*/ 4592765 h 6858000"/>
              <a:gd name="connsiteX114" fmla="*/ 8932060 w 10344472"/>
              <a:gd name="connsiteY114" fmla="*/ 4599471 h 6858000"/>
              <a:gd name="connsiteX115" fmla="*/ 8735535 w 10344472"/>
              <a:gd name="connsiteY115" fmla="*/ 4822515 h 6858000"/>
              <a:gd name="connsiteX116" fmla="*/ 8589453 w 10344472"/>
              <a:gd name="connsiteY116" fmla="*/ 4744085 h 6858000"/>
              <a:gd name="connsiteX117" fmla="*/ 8589453 w 10344472"/>
              <a:gd name="connsiteY117" fmla="*/ 4965380 h 6858000"/>
              <a:gd name="connsiteX118" fmla="*/ 8520932 w 10344472"/>
              <a:gd name="connsiteY118" fmla="*/ 4965380 h 6858000"/>
              <a:gd name="connsiteX119" fmla="*/ 8520932 w 10344472"/>
              <a:gd name="connsiteY119" fmla="*/ 4383133 h 6858000"/>
              <a:gd name="connsiteX120" fmla="*/ 8589453 w 10344472"/>
              <a:gd name="connsiteY120" fmla="*/ 4383133 h 6858000"/>
              <a:gd name="connsiteX121" fmla="*/ 8589453 w 10344472"/>
              <a:gd name="connsiteY121" fmla="*/ 4455731 h 6858000"/>
              <a:gd name="connsiteX122" fmla="*/ 8735535 w 10344472"/>
              <a:gd name="connsiteY122" fmla="*/ 4375552 h 6858000"/>
              <a:gd name="connsiteX123" fmla="*/ 7450543 w 10344472"/>
              <a:gd name="connsiteY123" fmla="*/ 4375552 h 6858000"/>
              <a:gd name="connsiteX124" fmla="*/ 7662813 w 10344472"/>
              <a:gd name="connsiteY124" fmla="*/ 4595389 h 6858000"/>
              <a:gd name="connsiteX125" fmla="*/ 7662813 w 10344472"/>
              <a:gd name="connsiteY125" fmla="*/ 4602095 h 6858000"/>
              <a:gd name="connsiteX126" fmla="*/ 7449668 w 10344472"/>
              <a:gd name="connsiteY126" fmla="*/ 4822515 h 6858000"/>
              <a:gd name="connsiteX127" fmla="*/ 7238273 w 10344472"/>
              <a:gd name="connsiteY127" fmla="*/ 4602678 h 6858000"/>
              <a:gd name="connsiteX128" fmla="*/ 7238273 w 10344472"/>
              <a:gd name="connsiteY128" fmla="*/ 4595972 h 6858000"/>
              <a:gd name="connsiteX129" fmla="*/ 7450543 w 10344472"/>
              <a:gd name="connsiteY129" fmla="*/ 4375552 h 6858000"/>
              <a:gd name="connsiteX130" fmla="*/ 6977308 w 10344472"/>
              <a:gd name="connsiteY130" fmla="*/ 4375552 h 6858000"/>
              <a:gd name="connsiteX131" fmla="*/ 7164794 w 10344472"/>
              <a:gd name="connsiteY131" fmla="*/ 4526581 h 6858000"/>
              <a:gd name="connsiteX132" fmla="*/ 7097148 w 10344472"/>
              <a:gd name="connsiteY132" fmla="*/ 4526581 h 6858000"/>
              <a:gd name="connsiteX133" fmla="*/ 6977308 w 10344472"/>
              <a:gd name="connsiteY133" fmla="*/ 4432406 h 6858000"/>
              <a:gd name="connsiteX134" fmla="*/ 6838517 w 10344472"/>
              <a:gd name="connsiteY134" fmla="*/ 4596847 h 6858000"/>
              <a:gd name="connsiteX135" fmla="*/ 6838517 w 10344472"/>
              <a:gd name="connsiteY135" fmla="*/ 4603553 h 6858000"/>
              <a:gd name="connsiteX136" fmla="*/ 6979641 w 10344472"/>
              <a:gd name="connsiteY136" fmla="*/ 4765369 h 6858000"/>
              <a:gd name="connsiteX137" fmla="*/ 7103563 w 10344472"/>
              <a:gd name="connsiteY137" fmla="*/ 4659532 h 6858000"/>
              <a:gd name="connsiteX138" fmla="*/ 7167127 w 10344472"/>
              <a:gd name="connsiteY138" fmla="*/ 4659532 h 6858000"/>
              <a:gd name="connsiteX139" fmla="*/ 6978766 w 10344472"/>
              <a:gd name="connsiteY139" fmla="*/ 4822224 h 6858000"/>
              <a:gd name="connsiteX140" fmla="*/ 6767371 w 10344472"/>
              <a:gd name="connsiteY140" fmla="*/ 4603553 h 6858000"/>
              <a:gd name="connsiteX141" fmla="*/ 6767371 w 10344472"/>
              <a:gd name="connsiteY141" fmla="*/ 4596847 h 6858000"/>
              <a:gd name="connsiteX142" fmla="*/ 6977308 w 10344472"/>
              <a:gd name="connsiteY142" fmla="*/ 4375552 h 6858000"/>
              <a:gd name="connsiteX143" fmla="*/ 3295240 w 10344472"/>
              <a:gd name="connsiteY143" fmla="*/ 4375552 h 6858000"/>
              <a:gd name="connsiteX144" fmla="*/ 3124374 w 10344472"/>
              <a:gd name="connsiteY144" fmla="*/ 4510253 h 6858000"/>
              <a:gd name="connsiteX145" fmla="*/ 3192895 w 10344472"/>
              <a:gd name="connsiteY145" fmla="*/ 4510253 h 6858000"/>
              <a:gd name="connsiteX146" fmla="*/ 3292032 w 10344472"/>
              <a:gd name="connsiteY146" fmla="*/ 4432698 h 6858000"/>
              <a:gd name="connsiteX147" fmla="*/ 3384463 w 10344472"/>
              <a:gd name="connsiteY147" fmla="*/ 4530079 h 6858000"/>
              <a:gd name="connsiteX148" fmla="*/ 3384463 w 10344472"/>
              <a:gd name="connsiteY148" fmla="*/ 4561568 h 6858000"/>
              <a:gd name="connsiteX149" fmla="*/ 3322648 w 10344472"/>
              <a:gd name="connsiteY149" fmla="*/ 4561568 h 6858000"/>
              <a:gd name="connsiteX150" fmla="*/ 3106296 w 10344472"/>
              <a:gd name="connsiteY150" fmla="*/ 4695394 h 6858000"/>
              <a:gd name="connsiteX151" fmla="*/ 3249753 w 10344472"/>
              <a:gd name="connsiteY151" fmla="*/ 4822224 h 6858000"/>
              <a:gd name="connsiteX152" fmla="*/ 3384463 w 10344472"/>
              <a:gd name="connsiteY152" fmla="*/ 4760413 h 6858000"/>
              <a:gd name="connsiteX153" fmla="*/ 3384463 w 10344472"/>
              <a:gd name="connsiteY153" fmla="*/ 4814935 h 6858000"/>
              <a:gd name="connsiteX154" fmla="*/ 3452984 w 10344472"/>
              <a:gd name="connsiteY154" fmla="*/ 4814935 h 6858000"/>
              <a:gd name="connsiteX155" fmla="*/ 3452984 w 10344472"/>
              <a:gd name="connsiteY155" fmla="*/ 4530079 h 6858000"/>
              <a:gd name="connsiteX156" fmla="*/ 3295240 w 10344472"/>
              <a:gd name="connsiteY156" fmla="*/ 4375552 h 6858000"/>
              <a:gd name="connsiteX157" fmla="*/ 4369128 w 10344472"/>
              <a:gd name="connsiteY157" fmla="*/ 4374094 h 6858000"/>
              <a:gd name="connsiteX158" fmla="*/ 4254537 w 10344472"/>
              <a:gd name="connsiteY158" fmla="*/ 4402667 h 6858000"/>
              <a:gd name="connsiteX159" fmla="*/ 4174935 w 10344472"/>
              <a:gd name="connsiteY159" fmla="*/ 4483721 h 6858000"/>
              <a:gd name="connsiteX160" fmla="*/ 4146944 w 10344472"/>
              <a:gd name="connsiteY160" fmla="*/ 4593639 h 6858000"/>
              <a:gd name="connsiteX161" fmla="*/ 4174935 w 10344472"/>
              <a:gd name="connsiteY161" fmla="*/ 4719594 h 6858000"/>
              <a:gd name="connsiteX162" fmla="*/ 4256869 w 10344472"/>
              <a:gd name="connsiteY162" fmla="*/ 4798023 h 6858000"/>
              <a:gd name="connsiteX163" fmla="*/ 4370002 w 10344472"/>
              <a:gd name="connsiteY163" fmla="*/ 4824847 h 6858000"/>
              <a:gd name="connsiteX164" fmla="*/ 4529205 w 10344472"/>
              <a:gd name="connsiteY164" fmla="*/ 4760412 h 6858000"/>
              <a:gd name="connsiteX165" fmla="*/ 4592478 w 10344472"/>
              <a:gd name="connsiteY165" fmla="*/ 4598304 h 6858000"/>
              <a:gd name="connsiteX166" fmla="*/ 4529788 w 10344472"/>
              <a:gd name="connsiteY166" fmla="*/ 4437654 h 6858000"/>
              <a:gd name="connsiteX167" fmla="*/ 4369128 w 10344472"/>
              <a:gd name="connsiteY167" fmla="*/ 4374094 h 6858000"/>
              <a:gd name="connsiteX168" fmla="*/ 5366331 w 10344472"/>
              <a:gd name="connsiteY168" fmla="*/ 4312574 h 6858000"/>
              <a:gd name="connsiteX169" fmla="*/ 5453221 w 10344472"/>
              <a:gd name="connsiteY169" fmla="*/ 4337940 h 6858000"/>
              <a:gd name="connsiteX170" fmla="*/ 5455785 w 10344472"/>
              <a:gd name="connsiteY170" fmla="*/ 4340581 h 6858000"/>
              <a:gd name="connsiteX171" fmla="*/ 5410884 w 10344472"/>
              <a:gd name="connsiteY171" fmla="*/ 4495966 h 6858000"/>
              <a:gd name="connsiteX172" fmla="*/ 5368372 w 10344472"/>
              <a:gd name="connsiteY172" fmla="*/ 4495966 h 6858000"/>
              <a:gd name="connsiteX173" fmla="*/ 5368372 w 10344472"/>
              <a:gd name="connsiteY173" fmla="*/ 4596263 h 6858000"/>
              <a:gd name="connsiteX174" fmla="*/ 5381902 w 10344472"/>
              <a:gd name="connsiteY174" fmla="*/ 4596263 h 6858000"/>
              <a:gd name="connsiteX175" fmla="*/ 5346461 w 10344472"/>
              <a:gd name="connsiteY175" fmla="*/ 4718911 h 6858000"/>
              <a:gd name="connsiteX176" fmla="*/ 5296024 w 10344472"/>
              <a:gd name="connsiteY176" fmla="*/ 4709207 h 6858000"/>
              <a:gd name="connsiteX177" fmla="*/ 5241534 w 10344472"/>
              <a:gd name="connsiteY177" fmla="*/ 4669445 h 6858000"/>
              <a:gd name="connsiteX178" fmla="*/ 5194298 w 10344472"/>
              <a:gd name="connsiteY178" fmla="*/ 4510544 h 6858000"/>
              <a:gd name="connsiteX179" fmla="*/ 5240951 w 10344472"/>
              <a:gd name="connsiteY179" fmla="*/ 4362431 h 6858000"/>
              <a:gd name="connsiteX180" fmla="*/ 5366331 w 10344472"/>
              <a:gd name="connsiteY180" fmla="*/ 4312574 h 6858000"/>
              <a:gd name="connsiteX181" fmla="*/ 3701993 w 10344472"/>
              <a:gd name="connsiteY181" fmla="*/ 4219566 h 6858000"/>
              <a:gd name="connsiteX182" fmla="*/ 3920386 w 10344472"/>
              <a:gd name="connsiteY182" fmla="*/ 4564191 h 6858000"/>
              <a:gd name="connsiteX183" fmla="*/ 3920386 w 10344472"/>
              <a:gd name="connsiteY183" fmla="*/ 4814642 h 6858000"/>
              <a:gd name="connsiteX184" fmla="*/ 4040226 w 10344472"/>
              <a:gd name="connsiteY184" fmla="*/ 4814642 h 6858000"/>
              <a:gd name="connsiteX185" fmla="*/ 4040226 w 10344472"/>
              <a:gd name="connsiteY185" fmla="*/ 4565066 h 6858000"/>
              <a:gd name="connsiteX186" fmla="*/ 4259202 w 10344472"/>
              <a:gd name="connsiteY186" fmla="*/ 4219858 h 6858000"/>
              <a:gd name="connsiteX187" fmla="*/ 4120410 w 10344472"/>
              <a:gd name="connsiteY187" fmla="*/ 4219858 h 6858000"/>
              <a:gd name="connsiteX188" fmla="*/ 3983076 w 10344472"/>
              <a:gd name="connsiteY188" fmla="*/ 4455148 h 6858000"/>
              <a:gd name="connsiteX189" fmla="*/ 3842826 w 10344472"/>
              <a:gd name="connsiteY189" fmla="*/ 4219858 h 6858000"/>
              <a:gd name="connsiteX190" fmla="*/ 3842826 w 10344472"/>
              <a:gd name="connsiteY190" fmla="*/ 4219566 h 6858000"/>
              <a:gd name="connsiteX191" fmla="*/ 3701993 w 10344472"/>
              <a:gd name="connsiteY191" fmla="*/ 4219566 h 6858000"/>
              <a:gd name="connsiteX192" fmla="*/ 3112711 w 10344472"/>
              <a:gd name="connsiteY192" fmla="*/ 2062597 h 6858000"/>
              <a:gd name="connsiteX193" fmla="*/ 3112711 w 10344472"/>
              <a:gd name="connsiteY193" fmla="*/ 3855407 h 6858000"/>
              <a:gd name="connsiteX194" fmla="*/ 4592478 w 10344472"/>
              <a:gd name="connsiteY194" fmla="*/ 3855407 h 6858000"/>
              <a:gd name="connsiteX195" fmla="*/ 4592478 w 10344472"/>
              <a:gd name="connsiteY195" fmla="*/ 3361794 h 6858000"/>
              <a:gd name="connsiteX196" fmla="*/ 3710741 w 10344472"/>
              <a:gd name="connsiteY196" fmla="*/ 3361794 h 6858000"/>
              <a:gd name="connsiteX197" fmla="*/ 3710741 w 10344472"/>
              <a:gd name="connsiteY197" fmla="*/ 2062597 h 6858000"/>
              <a:gd name="connsiteX198" fmla="*/ 3112711 w 10344472"/>
              <a:gd name="connsiteY198" fmla="*/ 2062597 h 6858000"/>
              <a:gd name="connsiteX199" fmla="*/ 9524550 w 10344472"/>
              <a:gd name="connsiteY199" fmla="*/ 2061139 h 6858000"/>
              <a:gd name="connsiteX200" fmla="*/ 10233964 w 10344472"/>
              <a:gd name="connsiteY200" fmla="*/ 2062014 h 6858000"/>
              <a:gd name="connsiteX201" fmla="*/ 10261664 w 10344472"/>
              <a:gd name="connsiteY201" fmla="*/ 2062014 h 6858000"/>
              <a:gd name="connsiteX202" fmla="*/ 9436493 w 10344472"/>
              <a:gd name="connsiteY202" fmla="*/ 2879843 h 6858000"/>
              <a:gd name="connsiteX203" fmla="*/ 10344472 w 10344472"/>
              <a:gd name="connsiteY203" fmla="*/ 3856281 h 6858000"/>
              <a:gd name="connsiteX204" fmla="*/ 10330185 w 10344472"/>
              <a:gd name="connsiteY204" fmla="*/ 3856281 h 6858000"/>
              <a:gd name="connsiteX205" fmla="*/ 9609108 w 10344472"/>
              <a:gd name="connsiteY205" fmla="*/ 3856573 h 6858000"/>
              <a:gd name="connsiteX206" fmla="*/ 9587239 w 10344472"/>
              <a:gd name="connsiteY206" fmla="*/ 3846660 h 6858000"/>
              <a:gd name="connsiteX207" fmla="*/ 9072309 w 10344472"/>
              <a:gd name="connsiteY207" fmla="*/ 3253041 h 6858000"/>
              <a:gd name="connsiteX208" fmla="*/ 8965591 w 10344472"/>
              <a:gd name="connsiteY208" fmla="*/ 3130294 h 6858000"/>
              <a:gd name="connsiteX209" fmla="*/ 8952470 w 10344472"/>
              <a:gd name="connsiteY209" fmla="*/ 3115424 h 6858000"/>
              <a:gd name="connsiteX210" fmla="*/ 8952470 w 10344472"/>
              <a:gd name="connsiteY210" fmla="*/ 3855407 h 6858000"/>
              <a:gd name="connsiteX211" fmla="*/ 8352982 w 10344472"/>
              <a:gd name="connsiteY211" fmla="*/ 3855407 h 6858000"/>
              <a:gd name="connsiteX212" fmla="*/ 8352982 w 10344472"/>
              <a:gd name="connsiteY212" fmla="*/ 2062888 h 6858000"/>
              <a:gd name="connsiteX213" fmla="*/ 8951595 w 10344472"/>
              <a:gd name="connsiteY213" fmla="*/ 2062888 h 6858000"/>
              <a:gd name="connsiteX214" fmla="*/ 8951595 w 10344472"/>
              <a:gd name="connsiteY214" fmla="*/ 2618604 h 6858000"/>
              <a:gd name="connsiteX215" fmla="*/ 8990667 w 10344472"/>
              <a:gd name="connsiteY215" fmla="*/ 2579243 h 6858000"/>
              <a:gd name="connsiteX216" fmla="*/ 9449030 w 10344472"/>
              <a:gd name="connsiteY216" fmla="*/ 2093211 h 6858000"/>
              <a:gd name="connsiteX217" fmla="*/ 9524550 w 10344472"/>
              <a:gd name="connsiteY217" fmla="*/ 2061139 h 6858000"/>
              <a:gd name="connsiteX218" fmla="*/ 5280607 w 10344472"/>
              <a:gd name="connsiteY218" fmla="*/ 2061139 h 6858000"/>
              <a:gd name="connsiteX219" fmla="*/ 5264570 w 10344472"/>
              <a:gd name="connsiteY219" fmla="*/ 2074842 h 6858000"/>
              <a:gd name="connsiteX220" fmla="*/ 5094870 w 10344472"/>
              <a:gd name="connsiteY220" fmla="*/ 2664671 h 6858000"/>
              <a:gd name="connsiteX221" fmla="*/ 4793085 w 10344472"/>
              <a:gd name="connsiteY221" fmla="*/ 3709043 h 6858000"/>
              <a:gd name="connsiteX222" fmla="*/ 4750806 w 10344472"/>
              <a:gd name="connsiteY222" fmla="*/ 3855698 h 6858000"/>
              <a:gd name="connsiteX223" fmla="*/ 5353501 w 10344472"/>
              <a:gd name="connsiteY223" fmla="*/ 3855698 h 6858000"/>
              <a:gd name="connsiteX224" fmla="*/ 5871347 w 10344472"/>
              <a:gd name="connsiteY224" fmla="*/ 2062305 h 6858000"/>
              <a:gd name="connsiteX225" fmla="*/ 5859392 w 10344472"/>
              <a:gd name="connsiteY225" fmla="*/ 2061431 h 6858000"/>
              <a:gd name="connsiteX226" fmla="*/ 5280607 w 10344472"/>
              <a:gd name="connsiteY226" fmla="*/ 2061139 h 6858000"/>
              <a:gd name="connsiteX227" fmla="*/ 0 w 10344472"/>
              <a:gd name="connsiteY227" fmla="*/ 0 h 6858000"/>
              <a:gd name="connsiteX228" fmla="*/ 6707236 w 10344472"/>
              <a:gd name="connsiteY228" fmla="*/ 0 h 6858000"/>
              <a:gd name="connsiteX229" fmla="*/ 6114289 w 10344472"/>
              <a:gd name="connsiteY229" fmla="*/ 2060916 h 6858000"/>
              <a:gd name="connsiteX230" fmla="*/ 6560000 w 10344472"/>
              <a:gd name="connsiteY230" fmla="*/ 2061141 h 6858000"/>
              <a:gd name="connsiteX231" fmla="*/ 6564947 w 10344472"/>
              <a:gd name="connsiteY231" fmla="*/ 2061503 h 6858000"/>
              <a:gd name="connsiteX232" fmla="*/ 6705555 w 10344472"/>
              <a:gd name="connsiteY232" fmla="*/ 2061431 h 6858000"/>
              <a:gd name="connsiteX233" fmla="*/ 6726841 w 10344472"/>
              <a:gd name="connsiteY233" fmla="*/ 2073677 h 6858000"/>
              <a:gd name="connsiteX234" fmla="*/ 7211738 w 10344472"/>
              <a:gd name="connsiteY234" fmla="*/ 2996759 h 6858000"/>
              <a:gd name="connsiteX235" fmla="*/ 7282883 w 10344472"/>
              <a:gd name="connsiteY235" fmla="*/ 3131461 h 6858000"/>
              <a:gd name="connsiteX236" fmla="*/ 7292797 w 10344472"/>
              <a:gd name="connsiteY236" fmla="*/ 3150121 h 6858000"/>
              <a:gd name="connsiteX237" fmla="*/ 7304460 w 10344472"/>
              <a:gd name="connsiteY237" fmla="*/ 3108136 h 6858000"/>
              <a:gd name="connsiteX238" fmla="*/ 7479700 w 10344472"/>
              <a:gd name="connsiteY238" fmla="*/ 2453581 h 6858000"/>
              <a:gd name="connsiteX239" fmla="*/ 7580003 w 10344472"/>
              <a:gd name="connsiteY239" fmla="*/ 2077467 h 6858000"/>
              <a:gd name="connsiteX240" fmla="*/ 7601288 w 10344472"/>
              <a:gd name="connsiteY240" fmla="*/ 2060848 h 6858000"/>
              <a:gd name="connsiteX241" fmla="*/ 8180074 w 10344472"/>
              <a:gd name="connsiteY241" fmla="*/ 2061140 h 6858000"/>
              <a:gd name="connsiteX242" fmla="*/ 8198153 w 10344472"/>
              <a:gd name="connsiteY242" fmla="*/ 2061140 h 6858000"/>
              <a:gd name="connsiteX243" fmla="*/ 7679140 w 10344472"/>
              <a:gd name="connsiteY243" fmla="*/ 3855699 h 6858000"/>
              <a:gd name="connsiteX244" fmla="*/ 7661354 w 10344472"/>
              <a:gd name="connsiteY244" fmla="*/ 3855699 h 6858000"/>
              <a:gd name="connsiteX245" fmla="*/ 7081110 w 10344472"/>
              <a:gd name="connsiteY245" fmla="*/ 3855990 h 6858000"/>
              <a:gd name="connsiteX246" fmla="*/ 7055743 w 10344472"/>
              <a:gd name="connsiteY246" fmla="*/ 3840829 h 6858000"/>
              <a:gd name="connsiteX247" fmla="*/ 6762997 w 10344472"/>
              <a:gd name="connsiteY247" fmla="*/ 3290070 h 6858000"/>
              <a:gd name="connsiteX248" fmla="*/ 6497367 w 10344472"/>
              <a:gd name="connsiteY248" fmla="*/ 2790626 h 6858000"/>
              <a:gd name="connsiteX249" fmla="*/ 6488620 w 10344472"/>
              <a:gd name="connsiteY249" fmla="*/ 2776339 h 6858000"/>
              <a:gd name="connsiteX250" fmla="*/ 6200539 w 10344472"/>
              <a:gd name="connsiteY250" fmla="*/ 3855116 h 6858000"/>
              <a:gd name="connsiteX251" fmla="*/ 5594353 w 10344472"/>
              <a:gd name="connsiteY251" fmla="*/ 3861048 h 6858000"/>
              <a:gd name="connsiteX252" fmla="*/ 5487296 w 10344472"/>
              <a:gd name="connsiteY252" fmla="*/ 4231534 h 6858000"/>
              <a:gd name="connsiteX253" fmla="*/ 5465213 w 10344472"/>
              <a:gd name="connsiteY253" fmla="*/ 4221243 h 6858000"/>
              <a:gd name="connsiteX254" fmla="*/ 5366331 w 10344472"/>
              <a:gd name="connsiteY254" fmla="*/ 4209653 h 6858000"/>
              <a:gd name="connsiteX255" fmla="*/ 5224040 w 10344472"/>
              <a:gd name="connsiteY255" fmla="*/ 4239684 h 6858000"/>
              <a:gd name="connsiteX256" fmla="*/ 5109740 w 10344472"/>
              <a:gd name="connsiteY256" fmla="*/ 4350477 h 6858000"/>
              <a:gd name="connsiteX257" fmla="*/ 5070669 w 10344472"/>
              <a:gd name="connsiteY257" fmla="*/ 4515501 h 6858000"/>
              <a:gd name="connsiteX258" fmla="*/ 5105658 w 10344472"/>
              <a:gd name="connsiteY258" fmla="*/ 4674110 h 6858000"/>
              <a:gd name="connsiteX259" fmla="*/ 5210044 w 10344472"/>
              <a:gd name="connsiteY259" fmla="*/ 4786070 h 6858000"/>
              <a:gd name="connsiteX260" fmla="*/ 5285527 w 10344472"/>
              <a:gd name="connsiteY260" fmla="*/ 4815335 h 6858000"/>
              <a:gd name="connsiteX261" fmla="*/ 5317561 w 10344472"/>
              <a:gd name="connsiteY261" fmla="*/ 4818924 h 6858000"/>
              <a:gd name="connsiteX262" fmla="*/ 4728343 w 10344472"/>
              <a:gd name="connsiteY262" fmla="*/ 6858000 h 6858000"/>
              <a:gd name="connsiteX263" fmla="*/ 0 w 10344472"/>
              <a:gd name="connsiteY263" fmla="*/ 6858000 h 6858000"/>
              <a:gd name="connsiteX264" fmla="*/ 0 w 10344472"/>
              <a:gd name="connsiteY264" fmla="*/ 0 h 6858000"/>
              <a:gd name="connsiteX0" fmla="*/ 9222182 w 10344472"/>
              <a:gd name="connsiteY0" fmla="*/ 4610259 h 6858000"/>
              <a:gd name="connsiteX1" fmla="*/ 9071727 w 10344472"/>
              <a:gd name="connsiteY1" fmla="*/ 4695394 h 6858000"/>
              <a:gd name="connsiteX2" fmla="*/ 9153369 w 10344472"/>
              <a:gd name="connsiteY2" fmla="*/ 4767993 h 6858000"/>
              <a:gd name="connsiteX3" fmla="*/ 9281664 w 10344472"/>
              <a:gd name="connsiteY3" fmla="*/ 4663906 h 6858000"/>
              <a:gd name="connsiteX4" fmla="*/ 9281664 w 10344472"/>
              <a:gd name="connsiteY4" fmla="*/ 4610259 h 6858000"/>
              <a:gd name="connsiteX5" fmla="*/ 9222182 w 10344472"/>
              <a:gd name="connsiteY5" fmla="*/ 4610259 h 6858000"/>
              <a:gd name="connsiteX6" fmla="*/ 3325272 w 10344472"/>
              <a:gd name="connsiteY6" fmla="*/ 4610259 h 6858000"/>
              <a:gd name="connsiteX7" fmla="*/ 3384755 w 10344472"/>
              <a:gd name="connsiteY7" fmla="*/ 4610259 h 6858000"/>
              <a:gd name="connsiteX8" fmla="*/ 3384755 w 10344472"/>
              <a:gd name="connsiteY8" fmla="*/ 4663906 h 6858000"/>
              <a:gd name="connsiteX9" fmla="*/ 3256460 w 10344472"/>
              <a:gd name="connsiteY9" fmla="*/ 4767993 h 6858000"/>
              <a:gd name="connsiteX10" fmla="*/ 3174817 w 10344472"/>
              <a:gd name="connsiteY10" fmla="*/ 4695394 h 6858000"/>
              <a:gd name="connsiteX11" fmla="*/ 3325272 w 10344472"/>
              <a:gd name="connsiteY11" fmla="*/ 4610259 h 6858000"/>
              <a:gd name="connsiteX12" fmla="*/ 4369419 w 10344472"/>
              <a:gd name="connsiteY12" fmla="*/ 4467101 h 6858000"/>
              <a:gd name="connsiteX13" fmla="*/ 4444355 w 10344472"/>
              <a:gd name="connsiteY13" fmla="*/ 4501214 h 6858000"/>
              <a:gd name="connsiteX14" fmla="*/ 4474679 w 10344472"/>
              <a:gd name="connsiteY14" fmla="*/ 4598596 h 6858000"/>
              <a:gd name="connsiteX15" fmla="*/ 4444355 w 10344472"/>
              <a:gd name="connsiteY15" fmla="*/ 4697726 h 6858000"/>
              <a:gd name="connsiteX16" fmla="*/ 4369419 w 10344472"/>
              <a:gd name="connsiteY16" fmla="*/ 4731839 h 6858000"/>
              <a:gd name="connsiteX17" fmla="*/ 4294192 w 10344472"/>
              <a:gd name="connsiteY17" fmla="*/ 4697726 h 6858000"/>
              <a:gd name="connsiteX18" fmla="*/ 4263576 w 10344472"/>
              <a:gd name="connsiteY18" fmla="*/ 4599470 h 6858000"/>
              <a:gd name="connsiteX19" fmla="*/ 4294192 w 10344472"/>
              <a:gd name="connsiteY19" fmla="*/ 4501214 h 6858000"/>
              <a:gd name="connsiteX20" fmla="*/ 4369419 w 10344472"/>
              <a:gd name="connsiteY20" fmla="*/ 4467101 h 6858000"/>
              <a:gd name="connsiteX21" fmla="*/ 8728245 w 10344472"/>
              <a:gd name="connsiteY21" fmla="*/ 4432406 h 6858000"/>
              <a:gd name="connsiteX22" fmla="*/ 8587121 w 10344472"/>
              <a:gd name="connsiteY22" fmla="*/ 4595972 h 6858000"/>
              <a:gd name="connsiteX23" fmla="*/ 8587121 w 10344472"/>
              <a:gd name="connsiteY23" fmla="*/ 4602678 h 6858000"/>
              <a:gd name="connsiteX24" fmla="*/ 8729120 w 10344472"/>
              <a:gd name="connsiteY24" fmla="*/ 4765369 h 6858000"/>
              <a:gd name="connsiteX25" fmla="*/ 8861206 w 10344472"/>
              <a:gd name="connsiteY25" fmla="*/ 4602678 h 6858000"/>
              <a:gd name="connsiteX26" fmla="*/ 8861206 w 10344472"/>
              <a:gd name="connsiteY26" fmla="*/ 4595972 h 6858000"/>
              <a:gd name="connsiteX27" fmla="*/ 8728245 w 10344472"/>
              <a:gd name="connsiteY27" fmla="*/ 4432406 h 6858000"/>
              <a:gd name="connsiteX28" fmla="*/ 7450543 w 10344472"/>
              <a:gd name="connsiteY28" fmla="*/ 4432406 h 6858000"/>
              <a:gd name="connsiteX29" fmla="*/ 7309419 w 10344472"/>
              <a:gd name="connsiteY29" fmla="*/ 4595972 h 6858000"/>
              <a:gd name="connsiteX30" fmla="*/ 7309419 w 10344472"/>
              <a:gd name="connsiteY30" fmla="*/ 4602678 h 6858000"/>
              <a:gd name="connsiteX31" fmla="*/ 7450543 w 10344472"/>
              <a:gd name="connsiteY31" fmla="*/ 4765369 h 6858000"/>
              <a:gd name="connsiteX32" fmla="*/ 7591668 w 10344472"/>
              <a:gd name="connsiteY32" fmla="*/ 4602678 h 6858000"/>
              <a:gd name="connsiteX33" fmla="*/ 7591668 w 10344472"/>
              <a:gd name="connsiteY33" fmla="*/ 4596847 h 6858000"/>
              <a:gd name="connsiteX34" fmla="*/ 7450543 w 10344472"/>
              <a:gd name="connsiteY34" fmla="*/ 4432406 h 6858000"/>
              <a:gd name="connsiteX35" fmla="*/ 4629508 w 10344472"/>
              <a:gd name="connsiteY35" fmla="*/ 4383423 h 6858000"/>
              <a:gd name="connsiteX36" fmla="*/ 4629508 w 10344472"/>
              <a:gd name="connsiteY36" fmla="*/ 4656033 h 6858000"/>
              <a:gd name="connsiteX37" fmla="*/ 4644962 w 10344472"/>
              <a:gd name="connsiteY37" fmla="*/ 4751374 h 6858000"/>
              <a:gd name="connsiteX38" fmla="*/ 4694822 w 10344472"/>
              <a:gd name="connsiteY38" fmla="*/ 4805021 h 6858000"/>
              <a:gd name="connsiteX39" fmla="*/ 4772966 w 10344472"/>
              <a:gd name="connsiteY39" fmla="*/ 4823972 h 6858000"/>
              <a:gd name="connsiteX40" fmla="*/ 4854025 w 10344472"/>
              <a:gd name="connsiteY40" fmla="*/ 4804146 h 6858000"/>
              <a:gd name="connsiteX41" fmla="*/ 4916131 w 10344472"/>
              <a:gd name="connsiteY41" fmla="*/ 4749916 h 6858000"/>
              <a:gd name="connsiteX42" fmla="*/ 4916131 w 10344472"/>
              <a:gd name="connsiteY42" fmla="*/ 4814351 h 6858000"/>
              <a:gd name="connsiteX43" fmla="*/ 5022266 w 10344472"/>
              <a:gd name="connsiteY43" fmla="*/ 4814351 h 6858000"/>
              <a:gd name="connsiteX44" fmla="*/ 5022266 w 10344472"/>
              <a:gd name="connsiteY44" fmla="*/ 4383423 h 6858000"/>
              <a:gd name="connsiteX45" fmla="*/ 4907967 w 10344472"/>
              <a:gd name="connsiteY45" fmla="*/ 4383423 h 6858000"/>
              <a:gd name="connsiteX46" fmla="*/ 4907967 w 10344472"/>
              <a:gd name="connsiteY46" fmla="*/ 4565358 h 6858000"/>
              <a:gd name="connsiteX47" fmla="*/ 4899511 w 10344472"/>
              <a:gd name="connsiteY47" fmla="*/ 4681691 h 6858000"/>
              <a:gd name="connsiteX48" fmla="*/ 4867729 w 10344472"/>
              <a:gd name="connsiteY48" fmla="*/ 4721343 h 6858000"/>
              <a:gd name="connsiteX49" fmla="*/ 4815245 w 10344472"/>
              <a:gd name="connsiteY49" fmla="*/ 4737379 h 6858000"/>
              <a:gd name="connsiteX50" fmla="*/ 4772966 w 10344472"/>
              <a:gd name="connsiteY50" fmla="*/ 4725425 h 6858000"/>
              <a:gd name="connsiteX51" fmla="*/ 4749931 w 10344472"/>
              <a:gd name="connsiteY51" fmla="*/ 4693061 h 6858000"/>
              <a:gd name="connsiteX52" fmla="*/ 4743516 w 10344472"/>
              <a:gd name="connsiteY52" fmla="*/ 4581685 h 6858000"/>
              <a:gd name="connsiteX53" fmla="*/ 4743516 w 10344472"/>
              <a:gd name="connsiteY53" fmla="*/ 4383715 h 6858000"/>
              <a:gd name="connsiteX54" fmla="*/ 4743516 w 10344472"/>
              <a:gd name="connsiteY54" fmla="*/ 4383423 h 6858000"/>
              <a:gd name="connsiteX55" fmla="*/ 4629508 w 10344472"/>
              <a:gd name="connsiteY55" fmla="*/ 4383423 h 6858000"/>
              <a:gd name="connsiteX56" fmla="*/ 9917600 w 10344472"/>
              <a:gd name="connsiteY56" fmla="*/ 4382841 h 6858000"/>
              <a:gd name="connsiteX57" fmla="*/ 9991078 w 10344472"/>
              <a:gd name="connsiteY57" fmla="*/ 4382841 h 6858000"/>
              <a:gd name="connsiteX58" fmla="*/ 10123164 w 10344472"/>
              <a:gd name="connsiteY58" fmla="*/ 4692479 h 6858000"/>
              <a:gd name="connsiteX59" fmla="*/ 10243003 w 10344472"/>
              <a:gd name="connsiteY59" fmla="*/ 4382841 h 6858000"/>
              <a:gd name="connsiteX60" fmla="*/ 10313274 w 10344472"/>
              <a:gd name="connsiteY60" fmla="*/ 4382841 h 6858000"/>
              <a:gd name="connsiteX61" fmla="*/ 10074469 w 10344472"/>
              <a:gd name="connsiteY61" fmla="*/ 4965089 h 6858000"/>
              <a:gd name="connsiteX62" fmla="*/ 10005074 w 10344472"/>
              <a:gd name="connsiteY62" fmla="*/ 4965089 h 6858000"/>
              <a:gd name="connsiteX63" fmla="*/ 10087007 w 10344472"/>
              <a:gd name="connsiteY63" fmla="*/ 4770326 h 6858000"/>
              <a:gd name="connsiteX64" fmla="*/ 9917600 w 10344472"/>
              <a:gd name="connsiteY64" fmla="*/ 4382841 h 6858000"/>
              <a:gd name="connsiteX65" fmla="*/ 7966639 w 10344472"/>
              <a:gd name="connsiteY65" fmla="*/ 4375843 h 6858000"/>
              <a:gd name="connsiteX66" fmla="*/ 8092894 w 10344472"/>
              <a:gd name="connsiteY66" fmla="*/ 4456897 h 6858000"/>
              <a:gd name="connsiteX67" fmla="*/ 8240724 w 10344472"/>
              <a:gd name="connsiteY67" fmla="*/ 4375843 h 6858000"/>
              <a:gd name="connsiteX68" fmla="*/ 8386223 w 10344472"/>
              <a:gd name="connsiteY68" fmla="*/ 4547573 h 6858000"/>
              <a:gd name="connsiteX69" fmla="*/ 8386223 w 10344472"/>
              <a:gd name="connsiteY69" fmla="*/ 4815226 h 6858000"/>
              <a:gd name="connsiteX70" fmla="*/ 8317702 w 10344472"/>
              <a:gd name="connsiteY70" fmla="*/ 4815226 h 6858000"/>
              <a:gd name="connsiteX71" fmla="*/ 8317702 w 10344472"/>
              <a:gd name="connsiteY71" fmla="*/ 4542616 h 6858000"/>
              <a:gd name="connsiteX72" fmla="*/ 8226145 w 10344472"/>
              <a:gd name="connsiteY72" fmla="*/ 4435322 h 6858000"/>
              <a:gd name="connsiteX73" fmla="*/ 8112138 w 10344472"/>
              <a:gd name="connsiteY73" fmla="*/ 4551071 h 6858000"/>
              <a:gd name="connsiteX74" fmla="*/ 8112138 w 10344472"/>
              <a:gd name="connsiteY74" fmla="*/ 4815226 h 6858000"/>
              <a:gd name="connsiteX75" fmla="*/ 8043617 w 10344472"/>
              <a:gd name="connsiteY75" fmla="*/ 4815226 h 6858000"/>
              <a:gd name="connsiteX76" fmla="*/ 8043617 w 10344472"/>
              <a:gd name="connsiteY76" fmla="*/ 4542616 h 6858000"/>
              <a:gd name="connsiteX77" fmla="*/ 7952060 w 10344472"/>
              <a:gd name="connsiteY77" fmla="*/ 4435322 h 6858000"/>
              <a:gd name="connsiteX78" fmla="*/ 7838053 w 10344472"/>
              <a:gd name="connsiteY78" fmla="*/ 4551071 h 6858000"/>
              <a:gd name="connsiteX79" fmla="*/ 7838053 w 10344472"/>
              <a:gd name="connsiteY79" fmla="*/ 4815226 h 6858000"/>
              <a:gd name="connsiteX80" fmla="*/ 7769532 w 10344472"/>
              <a:gd name="connsiteY80" fmla="*/ 4815226 h 6858000"/>
              <a:gd name="connsiteX81" fmla="*/ 7769532 w 10344472"/>
              <a:gd name="connsiteY81" fmla="*/ 4383132 h 6858000"/>
              <a:gd name="connsiteX82" fmla="*/ 7837761 w 10344472"/>
              <a:gd name="connsiteY82" fmla="*/ 4383132 h 6858000"/>
              <a:gd name="connsiteX83" fmla="*/ 7837761 w 10344472"/>
              <a:gd name="connsiteY83" fmla="*/ 4449316 h 6858000"/>
              <a:gd name="connsiteX84" fmla="*/ 7966639 w 10344472"/>
              <a:gd name="connsiteY84" fmla="*/ 4375843 h 6858000"/>
              <a:gd name="connsiteX85" fmla="*/ 9692209 w 10344472"/>
              <a:gd name="connsiteY85" fmla="*/ 4375552 h 6858000"/>
              <a:gd name="connsiteX86" fmla="*/ 9844121 w 10344472"/>
              <a:gd name="connsiteY86" fmla="*/ 4549906 h 6858000"/>
              <a:gd name="connsiteX87" fmla="*/ 9844121 w 10344472"/>
              <a:gd name="connsiteY87" fmla="*/ 4814935 h 6858000"/>
              <a:gd name="connsiteX88" fmla="*/ 9775600 w 10344472"/>
              <a:gd name="connsiteY88" fmla="*/ 4814935 h 6858000"/>
              <a:gd name="connsiteX89" fmla="*/ 9775600 w 10344472"/>
              <a:gd name="connsiteY89" fmla="*/ 4544949 h 6858000"/>
              <a:gd name="connsiteX90" fmla="*/ 9674131 w 10344472"/>
              <a:gd name="connsiteY90" fmla="*/ 4435030 h 6858000"/>
              <a:gd name="connsiteX91" fmla="*/ 9553416 w 10344472"/>
              <a:gd name="connsiteY91" fmla="*/ 4553113 h 6858000"/>
              <a:gd name="connsiteX92" fmla="*/ 9553416 w 10344472"/>
              <a:gd name="connsiteY92" fmla="*/ 4814935 h 6858000"/>
              <a:gd name="connsiteX93" fmla="*/ 9484895 w 10344472"/>
              <a:gd name="connsiteY93" fmla="*/ 4814935 h 6858000"/>
              <a:gd name="connsiteX94" fmla="*/ 9484895 w 10344472"/>
              <a:gd name="connsiteY94" fmla="*/ 4383133 h 6858000"/>
              <a:gd name="connsiteX95" fmla="*/ 9553416 w 10344472"/>
              <a:gd name="connsiteY95" fmla="*/ 4383133 h 6858000"/>
              <a:gd name="connsiteX96" fmla="*/ 9553416 w 10344472"/>
              <a:gd name="connsiteY96" fmla="*/ 4451649 h 6858000"/>
              <a:gd name="connsiteX97" fmla="*/ 9692209 w 10344472"/>
              <a:gd name="connsiteY97" fmla="*/ 4375552 h 6858000"/>
              <a:gd name="connsiteX98" fmla="*/ 9192440 w 10344472"/>
              <a:gd name="connsiteY98" fmla="*/ 4375552 h 6858000"/>
              <a:gd name="connsiteX99" fmla="*/ 9350185 w 10344472"/>
              <a:gd name="connsiteY99" fmla="*/ 4530079 h 6858000"/>
              <a:gd name="connsiteX100" fmla="*/ 9350185 w 10344472"/>
              <a:gd name="connsiteY100" fmla="*/ 4814935 h 6858000"/>
              <a:gd name="connsiteX101" fmla="*/ 9281664 w 10344472"/>
              <a:gd name="connsiteY101" fmla="*/ 4814935 h 6858000"/>
              <a:gd name="connsiteX102" fmla="*/ 9281664 w 10344472"/>
              <a:gd name="connsiteY102" fmla="*/ 4760413 h 6858000"/>
              <a:gd name="connsiteX103" fmla="*/ 9146954 w 10344472"/>
              <a:gd name="connsiteY103" fmla="*/ 4822224 h 6858000"/>
              <a:gd name="connsiteX104" fmla="*/ 9003497 w 10344472"/>
              <a:gd name="connsiteY104" fmla="*/ 4695394 h 6858000"/>
              <a:gd name="connsiteX105" fmla="*/ 9219849 w 10344472"/>
              <a:gd name="connsiteY105" fmla="*/ 4561568 h 6858000"/>
              <a:gd name="connsiteX106" fmla="*/ 9281664 w 10344472"/>
              <a:gd name="connsiteY106" fmla="*/ 4561568 h 6858000"/>
              <a:gd name="connsiteX107" fmla="*/ 9281664 w 10344472"/>
              <a:gd name="connsiteY107" fmla="*/ 4530079 h 6858000"/>
              <a:gd name="connsiteX108" fmla="*/ 9189234 w 10344472"/>
              <a:gd name="connsiteY108" fmla="*/ 4432698 h 6858000"/>
              <a:gd name="connsiteX109" fmla="*/ 9090096 w 10344472"/>
              <a:gd name="connsiteY109" fmla="*/ 4510253 h 6858000"/>
              <a:gd name="connsiteX110" fmla="*/ 9021575 w 10344472"/>
              <a:gd name="connsiteY110" fmla="*/ 4510253 h 6858000"/>
              <a:gd name="connsiteX111" fmla="*/ 9192440 w 10344472"/>
              <a:gd name="connsiteY111" fmla="*/ 4375552 h 6858000"/>
              <a:gd name="connsiteX112" fmla="*/ 8735535 w 10344472"/>
              <a:gd name="connsiteY112" fmla="*/ 4375552 h 6858000"/>
              <a:gd name="connsiteX113" fmla="*/ 8932060 w 10344472"/>
              <a:gd name="connsiteY113" fmla="*/ 4592765 h 6858000"/>
              <a:gd name="connsiteX114" fmla="*/ 8932060 w 10344472"/>
              <a:gd name="connsiteY114" fmla="*/ 4599471 h 6858000"/>
              <a:gd name="connsiteX115" fmla="*/ 8735535 w 10344472"/>
              <a:gd name="connsiteY115" fmla="*/ 4822515 h 6858000"/>
              <a:gd name="connsiteX116" fmla="*/ 8589453 w 10344472"/>
              <a:gd name="connsiteY116" fmla="*/ 4744085 h 6858000"/>
              <a:gd name="connsiteX117" fmla="*/ 8589453 w 10344472"/>
              <a:gd name="connsiteY117" fmla="*/ 4965380 h 6858000"/>
              <a:gd name="connsiteX118" fmla="*/ 8520932 w 10344472"/>
              <a:gd name="connsiteY118" fmla="*/ 4965380 h 6858000"/>
              <a:gd name="connsiteX119" fmla="*/ 8520932 w 10344472"/>
              <a:gd name="connsiteY119" fmla="*/ 4383133 h 6858000"/>
              <a:gd name="connsiteX120" fmla="*/ 8589453 w 10344472"/>
              <a:gd name="connsiteY120" fmla="*/ 4383133 h 6858000"/>
              <a:gd name="connsiteX121" fmla="*/ 8589453 w 10344472"/>
              <a:gd name="connsiteY121" fmla="*/ 4455731 h 6858000"/>
              <a:gd name="connsiteX122" fmla="*/ 8735535 w 10344472"/>
              <a:gd name="connsiteY122" fmla="*/ 4375552 h 6858000"/>
              <a:gd name="connsiteX123" fmla="*/ 7450543 w 10344472"/>
              <a:gd name="connsiteY123" fmla="*/ 4375552 h 6858000"/>
              <a:gd name="connsiteX124" fmla="*/ 7662813 w 10344472"/>
              <a:gd name="connsiteY124" fmla="*/ 4595389 h 6858000"/>
              <a:gd name="connsiteX125" fmla="*/ 7662813 w 10344472"/>
              <a:gd name="connsiteY125" fmla="*/ 4602095 h 6858000"/>
              <a:gd name="connsiteX126" fmla="*/ 7449668 w 10344472"/>
              <a:gd name="connsiteY126" fmla="*/ 4822515 h 6858000"/>
              <a:gd name="connsiteX127" fmla="*/ 7238273 w 10344472"/>
              <a:gd name="connsiteY127" fmla="*/ 4602678 h 6858000"/>
              <a:gd name="connsiteX128" fmla="*/ 7238273 w 10344472"/>
              <a:gd name="connsiteY128" fmla="*/ 4595972 h 6858000"/>
              <a:gd name="connsiteX129" fmla="*/ 7450543 w 10344472"/>
              <a:gd name="connsiteY129" fmla="*/ 4375552 h 6858000"/>
              <a:gd name="connsiteX130" fmla="*/ 6977308 w 10344472"/>
              <a:gd name="connsiteY130" fmla="*/ 4375552 h 6858000"/>
              <a:gd name="connsiteX131" fmla="*/ 7164794 w 10344472"/>
              <a:gd name="connsiteY131" fmla="*/ 4526581 h 6858000"/>
              <a:gd name="connsiteX132" fmla="*/ 7097148 w 10344472"/>
              <a:gd name="connsiteY132" fmla="*/ 4526581 h 6858000"/>
              <a:gd name="connsiteX133" fmla="*/ 6977308 w 10344472"/>
              <a:gd name="connsiteY133" fmla="*/ 4432406 h 6858000"/>
              <a:gd name="connsiteX134" fmla="*/ 6838517 w 10344472"/>
              <a:gd name="connsiteY134" fmla="*/ 4596847 h 6858000"/>
              <a:gd name="connsiteX135" fmla="*/ 6838517 w 10344472"/>
              <a:gd name="connsiteY135" fmla="*/ 4603553 h 6858000"/>
              <a:gd name="connsiteX136" fmla="*/ 6979641 w 10344472"/>
              <a:gd name="connsiteY136" fmla="*/ 4765369 h 6858000"/>
              <a:gd name="connsiteX137" fmla="*/ 7103563 w 10344472"/>
              <a:gd name="connsiteY137" fmla="*/ 4659532 h 6858000"/>
              <a:gd name="connsiteX138" fmla="*/ 7167127 w 10344472"/>
              <a:gd name="connsiteY138" fmla="*/ 4659532 h 6858000"/>
              <a:gd name="connsiteX139" fmla="*/ 6978766 w 10344472"/>
              <a:gd name="connsiteY139" fmla="*/ 4822224 h 6858000"/>
              <a:gd name="connsiteX140" fmla="*/ 6767371 w 10344472"/>
              <a:gd name="connsiteY140" fmla="*/ 4603553 h 6858000"/>
              <a:gd name="connsiteX141" fmla="*/ 6767371 w 10344472"/>
              <a:gd name="connsiteY141" fmla="*/ 4596847 h 6858000"/>
              <a:gd name="connsiteX142" fmla="*/ 6977308 w 10344472"/>
              <a:gd name="connsiteY142" fmla="*/ 4375552 h 6858000"/>
              <a:gd name="connsiteX143" fmla="*/ 3295240 w 10344472"/>
              <a:gd name="connsiteY143" fmla="*/ 4375552 h 6858000"/>
              <a:gd name="connsiteX144" fmla="*/ 3124374 w 10344472"/>
              <a:gd name="connsiteY144" fmla="*/ 4510253 h 6858000"/>
              <a:gd name="connsiteX145" fmla="*/ 3192895 w 10344472"/>
              <a:gd name="connsiteY145" fmla="*/ 4510253 h 6858000"/>
              <a:gd name="connsiteX146" fmla="*/ 3292032 w 10344472"/>
              <a:gd name="connsiteY146" fmla="*/ 4432698 h 6858000"/>
              <a:gd name="connsiteX147" fmla="*/ 3384463 w 10344472"/>
              <a:gd name="connsiteY147" fmla="*/ 4530079 h 6858000"/>
              <a:gd name="connsiteX148" fmla="*/ 3384463 w 10344472"/>
              <a:gd name="connsiteY148" fmla="*/ 4561568 h 6858000"/>
              <a:gd name="connsiteX149" fmla="*/ 3322648 w 10344472"/>
              <a:gd name="connsiteY149" fmla="*/ 4561568 h 6858000"/>
              <a:gd name="connsiteX150" fmla="*/ 3106296 w 10344472"/>
              <a:gd name="connsiteY150" fmla="*/ 4695394 h 6858000"/>
              <a:gd name="connsiteX151" fmla="*/ 3249753 w 10344472"/>
              <a:gd name="connsiteY151" fmla="*/ 4822224 h 6858000"/>
              <a:gd name="connsiteX152" fmla="*/ 3384463 w 10344472"/>
              <a:gd name="connsiteY152" fmla="*/ 4760413 h 6858000"/>
              <a:gd name="connsiteX153" fmla="*/ 3384463 w 10344472"/>
              <a:gd name="connsiteY153" fmla="*/ 4814935 h 6858000"/>
              <a:gd name="connsiteX154" fmla="*/ 3452984 w 10344472"/>
              <a:gd name="connsiteY154" fmla="*/ 4814935 h 6858000"/>
              <a:gd name="connsiteX155" fmla="*/ 3452984 w 10344472"/>
              <a:gd name="connsiteY155" fmla="*/ 4530079 h 6858000"/>
              <a:gd name="connsiteX156" fmla="*/ 3295240 w 10344472"/>
              <a:gd name="connsiteY156" fmla="*/ 4375552 h 6858000"/>
              <a:gd name="connsiteX157" fmla="*/ 4369128 w 10344472"/>
              <a:gd name="connsiteY157" fmla="*/ 4374094 h 6858000"/>
              <a:gd name="connsiteX158" fmla="*/ 4254537 w 10344472"/>
              <a:gd name="connsiteY158" fmla="*/ 4402667 h 6858000"/>
              <a:gd name="connsiteX159" fmla="*/ 4174935 w 10344472"/>
              <a:gd name="connsiteY159" fmla="*/ 4483721 h 6858000"/>
              <a:gd name="connsiteX160" fmla="*/ 4146944 w 10344472"/>
              <a:gd name="connsiteY160" fmla="*/ 4593639 h 6858000"/>
              <a:gd name="connsiteX161" fmla="*/ 4174935 w 10344472"/>
              <a:gd name="connsiteY161" fmla="*/ 4719594 h 6858000"/>
              <a:gd name="connsiteX162" fmla="*/ 4256869 w 10344472"/>
              <a:gd name="connsiteY162" fmla="*/ 4798023 h 6858000"/>
              <a:gd name="connsiteX163" fmla="*/ 4370002 w 10344472"/>
              <a:gd name="connsiteY163" fmla="*/ 4824847 h 6858000"/>
              <a:gd name="connsiteX164" fmla="*/ 4529205 w 10344472"/>
              <a:gd name="connsiteY164" fmla="*/ 4760412 h 6858000"/>
              <a:gd name="connsiteX165" fmla="*/ 4592478 w 10344472"/>
              <a:gd name="connsiteY165" fmla="*/ 4598304 h 6858000"/>
              <a:gd name="connsiteX166" fmla="*/ 4529788 w 10344472"/>
              <a:gd name="connsiteY166" fmla="*/ 4437654 h 6858000"/>
              <a:gd name="connsiteX167" fmla="*/ 4369128 w 10344472"/>
              <a:gd name="connsiteY167" fmla="*/ 4374094 h 6858000"/>
              <a:gd name="connsiteX168" fmla="*/ 5366331 w 10344472"/>
              <a:gd name="connsiteY168" fmla="*/ 4312574 h 6858000"/>
              <a:gd name="connsiteX169" fmla="*/ 5453221 w 10344472"/>
              <a:gd name="connsiteY169" fmla="*/ 4337940 h 6858000"/>
              <a:gd name="connsiteX170" fmla="*/ 5455785 w 10344472"/>
              <a:gd name="connsiteY170" fmla="*/ 4340581 h 6858000"/>
              <a:gd name="connsiteX171" fmla="*/ 5410884 w 10344472"/>
              <a:gd name="connsiteY171" fmla="*/ 4495966 h 6858000"/>
              <a:gd name="connsiteX172" fmla="*/ 5368372 w 10344472"/>
              <a:gd name="connsiteY172" fmla="*/ 4495966 h 6858000"/>
              <a:gd name="connsiteX173" fmla="*/ 5368372 w 10344472"/>
              <a:gd name="connsiteY173" fmla="*/ 4596263 h 6858000"/>
              <a:gd name="connsiteX174" fmla="*/ 5381902 w 10344472"/>
              <a:gd name="connsiteY174" fmla="*/ 4596263 h 6858000"/>
              <a:gd name="connsiteX175" fmla="*/ 5346461 w 10344472"/>
              <a:gd name="connsiteY175" fmla="*/ 4718911 h 6858000"/>
              <a:gd name="connsiteX176" fmla="*/ 5296024 w 10344472"/>
              <a:gd name="connsiteY176" fmla="*/ 4709207 h 6858000"/>
              <a:gd name="connsiteX177" fmla="*/ 5241534 w 10344472"/>
              <a:gd name="connsiteY177" fmla="*/ 4669445 h 6858000"/>
              <a:gd name="connsiteX178" fmla="*/ 5194298 w 10344472"/>
              <a:gd name="connsiteY178" fmla="*/ 4510544 h 6858000"/>
              <a:gd name="connsiteX179" fmla="*/ 5240951 w 10344472"/>
              <a:gd name="connsiteY179" fmla="*/ 4362431 h 6858000"/>
              <a:gd name="connsiteX180" fmla="*/ 5366331 w 10344472"/>
              <a:gd name="connsiteY180" fmla="*/ 4312574 h 6858000"/>
              <a:gd name="connsiteX181" fmla="*/ 3701993 w 10344472"/>
              <a:gd name="connsiteY181" fmla="*/ 4219566 h 6858000"/>
              <a:gd name="connsiteX182" fmla="*/ 3920386 w 10344472"/>
              <a:gd name="connsiteY182" fmla="*/ 4564191 h 6858000"/>
              <a:gd name="connsiteX183" fmla="*/ 3920386 w 10344472"/>
              <a:gd name="connsiteY183" fmla="*/ 4814642 h 6858000"/>
              <a:gd name="connsiteX184" fmla="*/ 4040226 w 10344472"/>
              <a:gd name="connsiteY184" fmla="*/ 4814642 h 6858000"/>
              <a:gd name="connsiteX185" fmla="*/ 4040226 w 10344472"/>
              <a:gd name="connsiteY185" fmla="*/ 4565066 h 6858000"/>
              <a:gd name="connsiteX186" fmla="*/ 4259202 w 10344472"/>
              <a:gd name="connsiteY186" fmla="*/ 4219858 h 6858000"/>
              <a:gd name="connsiteX187" fmla="*/ 4120410 w 10344472"/>
              <a:gd name="connsiteY187" fmla="*/ 4219858 h 6858000"/>
              <a:gd name="connsiteX188" fmla="*/ 3983076 w 10344472"/>
              <a:gd name="connsiteY188" fmla="*/ 4455148 h 6858000"/>
              <a:gd name="connsiteX189" fmla="*/ 3842826 w 10344472"/>
              <a:gd name="connsiteY189" fmla="*/ 4219858 h 6858000"/>
              <a:gd name="connsiteX190" fmla="*/ 3842826 w 10344472"/>
              <a:gd name="connsiteY190" fmla="*/ 4219566 h 6858000"/>
              <a:gd name="connsiteX191" fmla="*/ 3701993 w 10344472"/>
              <a:gd name="connsiteY191" fmla="*/ 4219566 h 6858000"/>
              <a:gd name="connsiteX192" fmla="*/ 3112711 w 10344472"/>
              <a:gd name="connsiteY192" fmla="*/ 2062597 h 6858000"/>
              <a:gd name="connsiteX193" fmla="*/ 3112711 w 10344472"/>
              <a:gd name="connsiteY193" fmla="*/ 3855407 h 6858000"/>
              <a:gd name="connsiteX194" fmla="*/ 4592478 w 10344472"/>
              <a:gd name="connsiteY194" fmla="*/ 3855407 h 6858000"/>
              <a:gd name="connsiteX195" fmla="*/ 4592478 w 10344472"/>
              <a:gd name="connsiteY195" fmla="*/ 3361794 h 6858000"/>
              <a:gd name="connsiteX196" fmla="*/ 3710741 w 10344472"/>
              <a:gd name="connsiteY196" fmla="*/ 3361794 h 6858000"/>
              <a:gd name="connsiteX197" fmla="*/ 3710741 w 10344472"/>
              <a:gd name="connsiteY197" fmla="*/ 2062597 h 6858000"/>
              <a:gd name="connsiteX198" fmla="*/ 3112711 w 10344472"/>
              <a:gd name="connsiteY198" fmla="*/ 2062597 h 6858000"/>
              <a:gd name="connsiteX199" fmla="*/ 9524550 w 10344472"/>
              <a:gd name="connsiteY199" fmla="*/ 2061139 h 6858000"/>
              <a:gd name="connsiteX200" fmla="*/ 10233964 w 10344472"/>
              <a:gd name="connsiteY200" fmla="*/ 2062014 h 6858000"/>
              <a:gd name="connsiteX201" fmla="*/ 10261664 w 10344472"/>
              <a:gd name="connsiteY201" fmla="*/ 2062014 h 6858000"/>
              <a:gd name="connsiteX202" fmla="*/ 9436493 w 10344472"/>
              <a:gd name="connsiteY202" fmla="*/ 2879843 h 6858000"/>
              <a:gd name="connsiteX203" fmla="*/ 10344472 w 10344472"/>
              <a:gd name="connsiteY203" fmla="*/ 3856281 h 6858000"/>
              <a:gd name="connsiteX204" fmla="*/ 10330185 w 10344472"/>
              <a:gd name="connsiteY204" fmla="*/ 3856281 h 6858000"/>
              <a:gd name="connsiteX205" fmla="*/ 9609108 w 10344472"/>
              <a:gd name="connsiteY205" fmla="*/ 3856573 h 6858000"/>
              <a:gd name="connsiteX206" fmla="*/ 9587239 w 10344472"/>
              <a:gd name="connsiteY206" fmla="*/ 3846660 h 6858000"/>
              <a:gd name="connsiteX207" fmla="*/ 9072309 w 10344472"/>
              <a:gd name="connsiteY207" fmla="*/ 3253041 h 6858000"/>
              <a:gd name="connsiteX208" fmla="*/ 8965591 w 10344472"/>
              <a:gd name="connsiteY208" fmla="*/ 3130294 h 6858000"/>
              <a:gd name="connsiteX209" fmla="*/ 8952470 w 10344472"/>
              <a:gd name="connsiteY209" fmla="*/ 3115424 h 6858000"/>
              <a:gd name="connsiteX210" fmla="*/ 8952470 w 10344472"/>
              <a:gd name="connsiteY210" fmla="*/ 3855407 h 6858000"/>
              <a:gd name="connsiteX211" fmla="*/ 8352982 w 10344472"/>
              <a:gd name="connsiteY211" fmla="*/ 3855407 h 6858000"/>
              <a:gd name="connsiteX212" fmla="*/ 8352982 w 10344472"/>
              <a:gd name="connsiteY212" fmla="*/ 2062888 h 6858000"/>
              <a:gd name="connsiteX213" fmla="*/ 8951595 w 10344472"/>
              <a:gd name="connsiteY213" fmla="*/ 2062888 h 6858000"/>
              <a:gd name="connsiteX214" fmla="*/ 8951595 w 10344472"/>
              <a:gd name="connsiteY214" fmla="*/ 2618604 h 6858000"/>
              <a:gd name="connsiteX215" fmla="*/ 8990667 w 10344472"/>
              <a:gd name="connsiteY215" fmla="*/ 2579243 h 6858000"/>
              <a:gd name="connsiteX216" fmla="*/ 9449030 w 10344472"/>
              <a:gd name="connsiteY216" fmla="*/ 2093211 h 6858000"/>
              <a:gd name="connsiteX217" fmla="*/ 9524550 w 10344472"/>
              <a:gd name="connsiteY217" fmla="*/ 2061139 h 6858000"/>
              <a:gd name="connsiteX218" fmla="*/ 5280607 w 10344472"/>
              <a:gd name="connsiteY218" fmla="*/ 2061139 h 6858000"/>
              <a:gd name="connsiteX219" fmla="*/ 5264570 w 10344472"/>
              <a:gd name="connsiteY219" fmla="*/ 2074842 h 6858000"/>
              <a:gd name="connsiteX220" fmla="*/ 5094870 w 10344472"/>
              <a:gd name="connsiteY220" fmla="*/ 2664671 h 6858000"/>
              <a:gd name="connsiteX221" fmla="*/ 4793085 w 10344472"/>
              <a:gd name="connsiteY221" fmla="*/ 3709043 h 6858000"/>
              <a:gd name="connsiteX222" fmla="*/ 4750806 w 10344472"/>
              <a:gd name="connsiteY222" fmla="*/ 3855698 h 6858000"/>
              <a:gd name="connsiteX223" fmla="*/ 5353501 w 10344472"/>
              <a:gd name="connsiteY223" fmla="*/ 3855698 h 6858000"/>
              <a:gd name="connsiteX224" fmla="*/ 5871347 w 10344472"/>
              <a:gd name="connsiteY224" fmla="*/ 2062305 h 6858000"/>
              <a:gd name="connsiteX225" fmla="*/ 5859392 w 10344472"/>
              <a:gd name="connsiteY225" fmla="*/ 2061431 h 6858000"/>
              <a:gd name="connsiteX226" fmla="*/ 5280607 w 10344472"/>
              <a:gd name="connsiteY226" fmla="*/ 2061139 h 6858000"/>
              <a:gd name="connsiteX227" fmla="*/ 0 w 10344472"/>
              <a:gd name="connsiteY227" fmla="*/ 0 h 6858000"/>
              <a:gd name="connsiteX228" fmla="*/ 6707236 w 10344472"/>
              <a:gd name="connsiteY228" fmla="*/ 0 h 6858000"/>
              <a:gd name="connsiteX229" fmla="*/ 6114289 w 10344472"/>
              <a:gd name="connsiteY229" fmla="*/ 2060916 h 6858000"/>
              <a:gd name="connsiteX230" fmla="*/ 6560000 w 10344472"/>
              <a:gd name="connsiteY230" fmla="*/ 2061141 h 6858000"/>
              <a:gd name="connsiteX231" fmla="*/ 6564947 w 10344472"/>
              <a:gd name="connsiteY231" fmla="*/ 2061503 h 6858000"/>
              <a:gd name="connsiteX232" fmla="*/ 6705555 w 10344472"/>
              <a:gd name="connsiteY232" fmla="*/ 2061431 h 6858000"/>
              <a:gd name="connsiteX233" fmla="*/ 6726841 w 10344472"/>
              <a:gd name="connsiteY233" fmla="*/ 2073677 h 6858000"/>
              <a:gd name="connsiteX234" fmla="*/ 7211738 w 10344472"/>
              <a:gd name="connsiteY234" fmla="*/ 2996759 h 6858000"/>
              <a:gd name="connsiteX235" fmla="*/ 7282883 w 10344472"/>
              <a:gd name="connsiteY235" fmla="*/ 3131461 h 6858000"/>
              <a:gd name="connsiteX236" fmla="*/ 7292797 w 10344472"/>
              <a:gd name="connsiteY236" fmla="*/ 3150121 h 6858000"/>
              <a:gd name="connsiteX237" fmla="*/ 7304460 w 10344472"/>
              <a:gd name="connsiteY237" fmla="*/ 3108136 h 6858000"/>
              <a:gd name="connsiteX238" fmla="*/ 7479700 w 10344472"/>
              <a:gd name="connsiteY238" fmla="*/ 2453581 h 6858000"/>
              <a:gd name="connsiteX239" fmla="*/ 7580003 w 10344472"/>
              <a:gd name="connsiteY239" fmla="*/ 2077467 h 6858000"/>
              <a:gd name="connsiteX240" fmla="*/ 7601288 w 10344472"/>
              <a:gd name="connsiteY240" fmla="*/ 2060848 h 6858000"/>
              <a:gd name="connsiteX241" fmla="*/ 8180074 w 10344472"/>
              <a:gd name="connsiteY241" fmla="*/ 2061140 h 6858000"/>
              <a:gd name="connsiteX242" fmla="*/ 8198153 w 10344472"/>
              <a:gd name="connsiteY242" fmla="*/ 2061140 h 6858000"/>
              <a:gd name="connsiteX243" fmla="*/ 7679140 w 10344472"/>
              <a:gd name="connsiteY243" fmla="*/ 3855699 h 6858000"/>
              <a:gd name="connsiteX244" fmla="*/ 7661354 w 10344472"/>
              <a:gd name="connsiteY244" fmla="*/ 3855699 h 6858000"/>
              <a:gd name="connsiteX245" fmla="*/ 7081110 w 10344472"/>
              <a:gd name="connsiteY245" fmla="*/ 3855990 h 6858000"/>
              <a:gd name="connsiteX246" fmla="*/ 7055743 w 10344472"/>
              <a:gd name="connsiteY246" fmla="*/ 3840829 h 6858000"/>
              <a:gd name="connsiteX247" fmla="*/ 6762997 w 10344472"/>
              <a:gd name="connsiteY247" fmla="*/ 3290070 h 6858000"/>
              <a:gd name="connsiteX248" fmla="*/ 6497367 w 10344472"/>
              <a:gd name="connsiteY248" fmla="*/ 2790626 h 6858000"/>
              <a:gd name="connsiteX249" fmla="*/ 6488620 w 10344472"/>
              <a:gd name="connsiteY249" fmla="*/ 2776339 h 6858000"/>
              <a:gd name="connsiteX250" fmla="*/ 6200539 w 10344472"/>
              <a:gd name="connsiteY250" fmla="*/ 3858291 h 6858000"/>
              <a:gd name="connsiteX251" fmla="*/ 5594353 w 10344472"/>
              <a:gd name="connsiteY251" fmla="*/ 3861048 h 6858000"/>
              <a:gd name="connsiteX252" fmla="*/ 5487296 w 10344472"/>
              <a:gd name="connsiteY252" fmla="*/ 4231534 h 6858000"/>
              <a:gd name="connsiteX253" fmla="*/ 5465213 w 10344472"/>
              <a:gd name="connsiteY253" fmla="*/ 4221243 h 6858000"/>
              <a:gd name="connsiteX254" fmla="*/ 5366331 w 10344472"/>
              <a:gd name="connsiteY254" fmla="*/ 4209653 h 6858000"/>
              <a:gd name="connsiteX255" fmla="*/ 5224040 w 10344472"/>
              <a:gd name="connsiteY255" fmla="*/ 4239684 h 6858000"/>
              <a:gd name="connsiteX256" fmla="*/ 5109740 w 10344472"/>
              <a:gd name="connsiteY256" fmla="*/ 4350477 h 6858000"/>
              <a:gd name="connsiteX257" fmla="*/ 5070669 w 10344472"/>
              <a:gd name="connsiteY257" fmla="*/ 4515501 h 6858000"/>
              <a:gd name="connsiteX258" fmla="*/ 5105658 w 10344472"/>
              <a:gd name="connsiteY258" fmla="*/ 4674110 h 6858000"/>
              <a:gd name="connsiteX259" fmla="*/ 5210044 w 10344472"/>
              <a:gd name="connsiteY259" fmla="*/ 4786070 h 6858000"/>
              <a:gd name="connsiteX260" fmla="*/ 5285527 w 10344472"/>
              <a:gd name="connsiteY260" fmla="*/ 4815335 h 6858000"/>
              <a:gd name="connsiteX261" fmla="*/ 5317561 w 10344472"/>
              <a:gd name="connsiteY261" fmla="*/ 4818924 h 6858000"/>
              <a:gd name="connsiteX262" fmla="*/ 4728343 w 10344472"/>
              <a:gd name="connsiteY262" fmla="*/ 6858000 h 6858000"/>
              <a:gd name="connsiteX263" fmla="*/ 0 w 10344472"/>
              <a:gd name="connsiteY263" fmla="*/ 6858000 h 6858000"/>
              <a:gd name="connsiteX264" fmla="*/ 0 w 10344472"/>
              <a:gd name="connsiteY264" fmla="*/ 0 h 6858000"/>
              <a:gd name="connsiteX0" fmla="*/ 9222182 w 10344472"/>
              <a:gd name="connsiteY0" fmla="*/ 4610259 h 6858000"/>
              <a:gd name="connsiteX1" fmla="*/ 9071727 w 10344472"/>
              <a:gd name="connsiteY1" fmla="*/ 4695394 h 6858000"/>
              <a:gd name="connsiteX2" fmla="*/ 9153369 w 10344472"/>
              <a:gd name="connsiteY2" fmla="*/ 4767993 h 6858000"/>
              <a:gd name="connsiteX3" fmla="*/ 9281664 w 10344472"/>
              <a:gd name="connsiteY3" fmla="*/ 4663906 h 6858000"/>
              <a:gd name="connsiteX4" fmla="*/ 9281664 w 10344472"/>
              <a:gd name="connsiteY4" fmla="*/ 4610259 h 6858000"/>
              <a:gd name="connsiteX5" fmla="*/ 9222182 w 10344472"/>
              <a:gd name="connsiteY5" fmla="*/ 4610259 h 6858000"/>
              <a:gd name="connsiteX6" fmla="*/ 3325272 w 10344472"/>
              <a:gd name="connsiteY6" fmla="*/ 4610259 h 6858000"/>
              <a:gd name="connsiteX7" fmla="*/ 3384755 w 10344472"/>
              <a:gd name="connsiteY7" fmla="*/ 4610259 h 6858000"/>
              <a:gd name="connsiteX8" fmla="*/ 3384755 w 10344472"/>
              <a:gd name="connsiteY8" fmla="*/ 4663906 h 6858000"/>
              <a:gd name="connsiteX9" fmla="*/ 3256460 w 10344472"/>
              <a:gd name="connsiteY9" fmla="*/ 4767993 h 6858000"/>
              <a:gd name="connsiteX10" fmla="*/ 3174817 w 10344472"/>
              <a:gd name="connsiteY10" fmla="*/ 4695394 h 6858000"/>
              <a:gd name="connsiteX11" fmla="*/ 3325272 w 10344472"/>
              <a:gd name="connsiteY11" fmla="*/ 4610259 h 6858000"/>
              <a:gd name="connsiteX12" fmla="*/ 4369419 w 10344472"/>
              <a:gd name="connsiteY12" fmla="*/ 4467101 h 6858000"/>
              <a:gd name="connsiteX13" fmla="*/ 4444355 w 10344472"/>
              <a:gd name="connsiteY13" fmla="*/ 4501214 h 6858000"/>
              <a:gd name="connsiteX14" fmla="*/ 4474679 w 10344472"/>
              <a:gd name="connsiteY14" fmla="*/ 4598596 h 6858000"/>
              <a:gd name="connsiteX15" fmla="*/ 4444355 w 10344472"/>
              <a:gd name="connsiteY15" fmla="*/ 4697726 h 6858000"/>
              <a:gd name="connsiteX16" fmla="*/ 4369419 w 10344472"/>
              <a:gd name="connsiteY16" fmla="*/ 4731839 h 6858000"/>
              <a:gd name="connsiteX17" fmla="*/ 4294192 w 10344472"/>
              <a:gd name="connsiteY17" fmla="*/ 4697726 h 6858000"/>
              <a:gd name="connsiteX18" fmla="*/ 4263576 w 10344472"/>
              <a:gd name="connsiteY18" fmla="*/ 4599470 h 6858000"/>
              <a:gd name="connsiteX19" fmla="*/ 4294192 w 10344472"/>
              <a:gd name="connsiteY19" fmla="*/ 4501214 h 6858000"/>
              <a:gd name="connsiteX20" fmla="*/ 4369419 w 10344472"/>
              <a:gd name="connsiteY20" fmla="*/ 4467101 h 6858000"/>
              <a:gd name="connsiteX21" fmla="*/ 8728245 w 10344472"/>
              <a:gd name="connsiteY21" fmla="*/ 4432406 h 6858000"/>
              <a:gd name="connsiteX22" fmla="*/ 8587121 w 10344472"/>
              <a:gd name="connsiteY22" fmla="*/ 4595972 h 6858000"/>
              <a:gd name="connsiteX23" fmla="*/ 8587121 w 10344472"/>
              <a:gd name="connsiteY23" fmla="*/ 4602678 h 6858000"/>
              <a:gd name="connsiteX24" fmla="*/ 8729120 w 10344472"/>
              <a:gd name="connsiteY24" fmla="*/ 4765369 h 6858000"/>
              <a:gd name="connsiteX25" fmla="*/ 8861206 w 10344472"/>
              <a:gd name="connsiteY25" fmla="*/ 4602678 h 6858000"/>
              <a:gd name="connsiteX26" fmla="*/ 8861206 w 10344472"/>
              <a:gd name="connsiteY26" fmla="*/ 4595972 h 6858000"/>
              <a:gd name="connsiteX27" fmla="*/ 8728245 w 10344472"/>
              <a:gd name="connsiteY27" fmla="*/ 4432406 h 6858000"/>
              <a:gd name="connsiteX28" fmla="*/ 7450543 w 10344472"/>
              <a:gd name="connsiteY28" fmla="*/ 4432406 h 6858000"/>
              <a:gd name="connsiteX29" fmla="*/ 7309419 w 10344472"/>
              <a:gd name="connsiteY29" fmla="*/ 4595972 h 6858000"/>
              <a:gd name="connsiteX30" fmla="*/ 7309419 w 10344472"/>
              <a:gd name="connsiteY30" fmla="*/ 4602678 h 6858000"/>
              <a:gd name="connsiteX31" fmla="*/ 7450543 w 10344472"/>
              <a:gd name="connsiteY31" fmla="*/ 4765369 h 6858000"/>
              <a:gd name="connsiteX32" fmla="*/ 7591668 w 10344472"/>
              <a:gd name="connsiteY32" fmla="*/ 4602678 h 6858000"/>
              <a:gd name="connsiteX33" fmla="*/ 7591668 w 10344472"/>
              <a:gd name="connsiteY33" fmla="*/ 4596847 h 6858000"/>
              <a:gd name="connsiteX34" fmla="*/ 7450543 w 10344472"/>
              <a:gd name="connsiteY34" fmla="*/ 4432406 h 6858000"/>
              <a:gd name="connsiteX35" fmla="*/ 4629508 w 10344472"/>
              <a:gd name="connsiteY35" fmla="*/ 4383423 h 6858000"/>
              <a:gd name="connsiteX36" fmla="*/ 4629508 w 10344472"/>
              <a:gd name="connsiteY36" fmla="*/ 4656033 h 6858000"/>
              <a:gd name="connsiteX37" fmla="*/ 4644962 w 10344472"/>
              <a:gd name="connsiteY37" fmla="*/ 4751374 h 6858000"/>
              <a:gd name="connsiteX38" fmla="*/ 4694822 w 10344472"/>
              <a:gd name="connsiteY38" fmla="*/ 4805021 h 6858000"/>
              <a:gd name="connsiteX39" fmla="*/ 4772966 w 10344472"/>
              <a:gd name="connsiteY39" fmla="*/ 4823972 h 6858000"/>
              <a:gd name="connsiteX40" fmla="*/ 4854025 w 10344472"/>
              <a:gd name="connsiteY40" fmla="*/ 4804146 h 6858000"/>
              <a:gd name="connsiteX41" fmla="*/ 4916131 w 10344472"/>
              <a:gd name="connsiteY41" fmla="*/ 4749916 h 6858000"/>
              <a:gd name="connsiteX42" fmla="*/ 4916131 w 10344472"/>
              <a:gd name="connsiteY42" fmla="*/ 4814351 h 6858000"/>
              <a:gd name="connsiteX43" fmla="*/ 5022266 w 10344472"/>
              <a:gd name="connsiteY43" fmla="*/ 4814351 h 6858000"/>
              <a:gd name="connsiteX44" fmla="*/ 5022266 w 10344472"/>
              <a:gd name="connsiteY44" fmla="*/ 4383423 h 6858000"/>
              <a:gd name="connsiteX45" fmla="*/ 4907967 w 10344472"/>
              <a:gd name="connsiteY45" fmla="*/ 4383423 h 6858000"/>
              <a:gd name="connsiteX46" fmla="*/ 4907967 w 10344472"/>
              <a:gd name="connsiteY46" fmla="*/ 4565358 h 6858000"/>
              <a:gd name="connsiteX47" fmla="*/ 4899511 w 10344472"/>
              <a:gd name="connsiteY47" fmla="*/ 4681691 h 6858000"/>
              <a:gd name="connsiteX48" fmla="*/ 4867729 w 10344472"/>
              <a:gd name="connsiteY48" fmla="*/ 4721343 h 6858000"/>
              <a:gd name="connsiteX49" fmla="*/ 4815245 w 10344472"/>
              <a:gd name="connsiteY49" fmla="*/ 4737379 h 6858000"/>
              <a:gd name="connsiteX50" fmla="*/ 4772966 w 10344472"/>
              <a:gd name="connsiteY50" fmla="*/ 4725425 h 6858000"/>
              <a:gd name="connsiteX51" fmla="*/ 4749931 w 10344472"/>
              <a:gd name="connsiteY51" fmla="*/ 4693061 h 6858000"/>
              <a:gd name="connsiteX52" fmla="*/ 4743516 w 10344472"/>
              <a:gd name="connsiteY52" fmla="*/ 4581685 h 6858000"/>
              <a:gd name="connsiteX53" fmla="*/ 4743516 w 10344472"/>
              <a:gd name="connsiteY53" fmla="*/ 4383715 h 6858000"/>
              <a:gd name="connsiteX54" fmla="*/ 4743516 w 10344472"/>
              <a:gd name="connsiteY54" fmla="*/ 4383423 h 6858000"/>
              <a:gd name="connsiteX55" fmla="*/ 4629508 w 10344472"/>
              <a:gd name="connsiteY55" fmla="*/ 4383423 h 6858000"/>
              <a:gd name="connsiteX56" fmla="*/ 9917600 w 10344472"/>
              <a:gd name="connsiteY56" fmla="*/ 4382841 h 6858000"/>
              <a:gd name="connsiteX57" fmla="*/ 9991078 w 10344472"/>
              <a:gd name="connsiteY57" fmla="*/ 4382841 h 6858000"/>
              <a:gd name="connsiteX58" fmla="*/ 10123164 w 10344472"/>
              <a:gd name="connsiteY58" fmla="*/ 4692479 h 6858000"/>
              <a:gd name="connsiteX59" fmla="*/ 10243003 w 10344472"/>
              <a:gd name="connsiteY59" fmla="*/ 4382841 h 6858000"/>
              <a:gd name="connsiteX60" fmla="*/ 10313274 w 10344472"/>
              <a:gd name="connsiteY60" fmla="*/ 4382841 h 6858000"/>
              <a:gd name="connsiteX61" fmla="*/ 10074469 w 10344472"/>
              <a:gd name="connsiteY61" fmla="*/ 4965089 h 6858000"/>
              <a:gd name="connsiteX62" fmla="*/ 10005074 w 10344472"/>
              <a:gd name="connsiteY62" fmla="*/ 4965089 h 6858000"/>
              <a:gd name="connsiteX63" fmla="*/ 10087007 w 10344472"/>
              <a:gd name="connsiteY63" fmla="*/ 4770326 h 6858000"/>
              <a:gd name="connsiteX64" fmla="*/ 9917600 w 10344472"/>
              <a:gd name="connsiteY64" fmla="*/ 4382841 h 6858000"/>
              <a:gd name="connsiteX65" fmla="*/ 7966639 w 10344472"/>
              <a:gd name="connsiteY65" fmla="*/ 4375843 h 6858000"/>
              <a:gd name="connsiteX66" fmla="*/ 8092894 w 10344472"/>
              <a:gd name="connsiteY66" fmla="*/ 4456897 h 6858000"/>
              <a:gd name="connsiteX67" fmla="*/ 8240724 w 10344472"/>
              <a:gd name="connsiteY67" fmla="*/ 4375843 h 6858000"/>
              <a:gd name="connsiteX68" fmla="*/ 8386223 w 10344472"/>
              <a:gd name="connsiteY68" fmla="*/ 4547573 h 6858000"/>
              <a:gd name="connsiteX69" fmla="*/ 8386223 w 10344472"/>
              <a:gd name="connsiteY69" fmla="*/ 4815226 h 6858000"/>
              <a:gd name="connsiteX70" fmla="*/ 8317702 w 10344472"/>
              <a:gd name="connsiteY70" fmla="*/ 4815226 h 6858000"/>
              <a:gd name="connsiteX71" fmla="*/ 8317702 w 10344472"/>
              <a:gd name="connsiteY71" fmla="*/ 4542616 h 6858000"/>
              <a:gd name="connsiteX72" fmla="*/ 8226145 w 10344472"/>
              <a:gd name="connsiteY72" fmla="*/ 4435322 h 6858000"/>
              <a:gd name="connsiteX73" fmla="*/ 8112138 w 10344472"/>
              <a:gd name="connsiteY73" fmla="*/ 4551071 h 6858000"/>
              <a:gd name="connsiteX74" fmla="*/ 8112138 w 10344472"/>
              <a:gd name="connsiteY74" fmla="*/ 4815226 h 6858000"/>
              <a:gd name="connsiteX75" fmla="*/ 8043617 w 10344472"/>
              <a:gd name="connsiteY75" fmla="*/ 4815226 h 6858000"/>
              <a:gd name="connsiteX76" fmla="*/ 8043617 w 10344472"/>
              <a:gd name="connsiteY76" fmla="*/ 4542616 h 6858000"/>
              <a:gd name="connsiteX77" fmla="*/ 7952060 w 10344472"/>
              <a:gd name="connsiteY77" fmla="*/ 4435322 h 6858000"/>
              <a:gd name="connsiteX78" fmla="*/ 7838053 w 10344472"/>
              <a:gd name="connsiteY78" fmla="*/ 4551071 h 6858000"/>
              <a:gd name="connsiteX79" fmla="*/ 7838053 w 10344472"/>
              <a:gd name="connsiteY79" fmla="*/ 4815226 h 6858000"/>
              <a:gd name="connsiteX80" fmla="*/ 7769532 w 10344472"/>
              <a:gd name="connsiteY80" fmla="*/ 4815226 h 6858000"/>
              <a:gd name="connsiteX81" fmla="*/ 7769532 w 10344472"/>
              <a:gd name="connsiteY81" fmla="*/ 4383132 h 6858000"/>
              <a:gd name="connsiteX82" fmla="*/ 7837761 w 10344472"/>
              <a:gd name="connsiteY82" fmla="*/ 4383132 h 6858000"/>
              <a:gd name="connsiteX83" fmla="*/ 7837761 w 10344472"/>
              <a:gd name="connsiteY83" fmla="*/ 4449316 h 6858000"/>
              <a:gd name="connsiteX84" fmla="*/ 7966639 w 10344472"/>
              <a:gd name="connsiteY84" fmla="*/ 4375843 h 6858000"/>
              <a:gd name="connsiteX85" fmla="*/ 9692209 w 10344472"/>
              <a:gd name="connsiteY85" fmla="*/ 4375552 h 6858000"/>
              <a:gd name="connsiteX86" fmla="*/ 9844121 w 10344472"/>
              <a:gd name="connsiteY86" fmla="*/ 4549906 h 6858000"/>
              <a:gd name="connsiteX87" fmla="*/ 9844121 w 10344472"/>
              <a:gd name="connsiteY87" fmla="*/ 4814935 h 6858000"/>
              <a:gd name="connsiteX88" fmla="*/ 9775600 w 10344472"/>
              <a:gd name="connsiteY88" fmla="*/ 4814935 h 6858000"/>
              <a:gd name="connsiteX89" fmla="*/ 9775600 w 10344472"/>
              <a:gd name="connsiteY89" fmla="*/ 4544949 h 6858000"/>
              <a:gd name="connsiteX90" fmla="*/ 9674131 w 10344472"/>
              <a:gd name="connsiteY90" fmla="*/ 4435030 h 6858000"/>
              <a:gd name="connsiteX91" fmla="*/ 9553416 w 10344472"/>
              <a:gd name="connsiteY91" fmla="*/ 4553113 h 6858000"/>
              <a:gd name="connsiteX92" fmla="*/ 9553416 w 10344472"/>
              <a:gd name="connsiteY92" fmla="*/ 4814935 h 6858000"/>
              <a:gd name="connsiteX93" fmla="*/ 9484895 w 10344472"/>
              <a:gd name="connsiteY93" fmla="*/ 4814935 h 6858000"/>
              <a:gd name="connsiteX94" fmla="*/ 9484895 w 10344472"/>
              <a:gd name="connsiteY94" fmla="*/ 4383133 h 6858000"/>
              <a:gd name="connsiteX95" fmla="*/ 9553416 w 10344472"/>
              <a:gd name="connsiteY95" fmla="*/ 4383133 h 6858000"/>
              <a:gd name="connsiteX96" fmla="*/ 9553416 w 10344472"/>
              <a:gd name="connsiteY96" fmla="*/ 4451649 h 6858000"/>
              <a:gd name="connsiteX97" fmla="*/ 9692209 w 10344472"/>
              <a:gd name="connsiteY97" fmla="*/ 4375552 h 6858000"/>
              <a:gd name="connsiteX98" fmla="*/ 9192440 w 10344472"/>
              <a:gd name="connsiteY98" fmla="*/ 4375552 h 6858000"/>
              <a:gd name="connsiteX99" fmla="*/ 9350185 w 10344472"/>
              <a:gd name="connsiteY99" fmla="*/ 4530079 h 6858000"/>
              <a:gd name="connsiteX100" fmla="*/ 9350185 w 10344472"/>
              <a:gd name="connsiteY100" fmla="*/ 4814935 h 6858000"/>
              <a:gd name="connsiteX101" fmla="*/ 9281664 w 10344472"/>
              <a:gd name="connsiteY101" fmla="*/ 4814935 h 6858000"/>
              <a:gd name="connsiteX102" fmla="*/ 9281664 w 10344472"/>
              <a:gd name="connsiteY102" fmla="*/ 4760413 h 6858000"/>
              <a:gd name="connsiteX103" fmla="*/ 9146954 w 10344472"/>
              <a:gd name="connsiteY103" fmla="*/ 4822224 h 6858000"/>
              <a:gd name="connsiteX104" fmla="*/ 9003497 w 10344472"/>
              <a:gd name="connsiteY104" fmla="*/ 4695394 h 6858000"/>
              <a:gd name="connsiteX105" fmla="*/ 9219849 w 10344472"/>
              <a:gd name="connsiteY105" fmla="*/ 4561568 h 6858000"/>
              <a:gd name="connsiteX106" fmla="*/ 9281664 w 10344472"/>
              <a:gd name="connsiteY106" fmla="*/ 4561568 h 6858000"/>
              <a:gd name="connsiteX107" fmla="*/ 9281664 w 10344472"/>
              <a:gd name="connsiteY107" fmla="*/ 4530079 h 6858000"/>
              <a:gd name="connsiteX108" fmla="*/ 9189234 w 10344472"/>
              <a:gd name="connsiteY108" fmla="*/ 4432698 h 6858000"/>
              <a:gd name="connsiteX109" fmla="*/ 9090096 w 10344472"/>
              <a:gd name="connsiteY109" fmla="*/ 4510253 h 6858000"/>
              <a:gd name="connsiteX110" fmla="*/ 9021575 w 10344472"/>
              <a:gd name="connsiteY110" fmla="*/ 4510253 h 6858000"/>
              <a:gd name="connsiteX111" fmla="*/ 9192440 w 10344472"/>
              <a:gd name="connsiteY111" fmla="*/ 4375552 h 6858000"/>
              <a:gd name="connsiteX112" fmla="*/ 8735535 w 10344472"/>
              <a:gd name="connsiteY112" fmla="*/ 4375552 h 6858000"/>
              <a:gd name="connsiteX113" fmla="*/ 8932060 w 10344472"/>
              <a:gd name="connsiteY113" fmla="*/ 4592765 h 6858000"/>
              <a:gd name="connsiteX114" fmla="*/ 8932060 w 10344472"/>
              <a:gd name="connsiteY114" fmla="*/ 4599471 h 6858000"/>
              <a:gd name="connsiteX115" fmla="*/ 8735535 w 10344472"/>
              <a:gd name="connsiteY115" fmla="*/ 4822515 h 6858000"/>
              <a:gd name="connsiteX116" fmla="*/ 8589453 w 10344472"/>
              <a:gd name="connsiteY116" fmla="*/ 4744085 h 6858000"/>
              <a:gd name="connsiteX117" fmla="*/ 8589453 w 10344472"/>
              <a:gd name="connsiteY117" fmla="*/ 4965380 h 6858000"/>
              <a:gd name="connsiteX118" fmla="*/ 8520932 w 10344472"/>
              <a:gd name="connsiteY118" fmla="*/ 4965380 h 6858000"/>
              <a:gd name="connsiteX119" fmla="*/ 8520932 w 10344472"/>
              <a:gd name="connsiteY119" fmla="*/ 4383133 h 6858000"/>
              <a:gd name="connsiteX120" fmla="*/ 8589453 w 10344472"/>
              <a:gd name="connsiteY120" fmla="*/ 4383133 h 6858000"/>
              <a:gd name="connsiteX121" fmla="*/ 8589453 w 10344472"/>
              <a:gd name="connsiteY121" fmla="*/ 4455731 h 6858000"/>
              <a:gd name="connsiteX122" fmla="*/ 8735535 w 10344472"/>
              <a:gd name="connsiteY122" fmla="*/ 4375552 h 6858000"/>
              <a:gd name="connsiteX123" fmla="*/ 7450543 w 10344472"/>
              <a:gd name="connsiteY123" fmla="*/ 4375552 h 6858000"/>
              <a:gd name="connsiteX124" fmla="*/ 7662813 w 10344472"/>
              <a:gd name="connsiteY124" fmla="*/ 4595389 h 6858000"/>
              <a:gd name="connsiteX125" fmla="*/ 7662813 w 10344472"/>
              <a:gd name="connsiteY125" fmla="*/ 4602095 h 6858000"/>
              <a:gd name="connsiteX126" fmla="*/ 7449668 w 10344472"/>
              <a:gd name="connsiteY126" fmla="*/ 4822515 h 6858000"/>
              <a:gd name="connsiteX127" fmla="*/ 7238273 w 10344472"/>
              <a:gd name="connsiteY127" fmla="*/ 4602678 h 6858000"/>
              <a:gd name="connsiteX128" fmla="*/ 7238273 w 10344472"/>
              <a:gd name="connsiteY128" fmla="*/ 4595972 h 6858000"/>
              <a:gd name="connsiteX129" fmla="*/ 7450543 w 10344472"/>
              <a:gd name="connsiteY129" fmla="*/ 4375552 h 6858000"/>
              <a:gd name="connsiteX130" fmla="*/ 6977308 w 10344472"/>
              <a:gd name="connsiteY130" fmla="*/ 4375552 h 6858000"/>
              <a:gd name="connsiteX131" fmla="*/ 7164794 w 10344472"/>
              <a:gd name="connsiteY131" fmla="*/ 4526581 h 6858000"/>
              <a:gd name="connsiteX132" fmla="*/ 7097148 w 10344472"/>
              <a:gd name="connsiteY132" fmla="*/ 4526581 h 6858000"/>
              <a:gd name="connsiteX133" fmla="*/ 6977308 w 10344472"/>
              <a:gd name="connsiteY133" fmla="*/ 4432406 h 6858000"/>
              <a:gd name="connsiteX134" fmla="*/ 6838517 w 10344472"/>
              <a:gd name="connsiteY134" fmla="*/ 4596847 h 6858000"/>
              <a:gd name="connsiteX135" fmla="*/ 6838517 w 10344472"/>
              <a:gd name="connsiteY135" fmla="*/ 4603553 h 6858000"/>
              <a:gd name="connsiteX136" fmla="*/ 6979641 w 10344472"/>
              <a:gd name="connsiteY136" fmla="*/ 4765369 h 6858000"/>
              <a:gd name="connsiteX137" fmla="*/ 7103563 w 10344472"/>
              <a:gd name="connsiteY137" fmla="*/ 4659532 h 6858000"/>
              <a:gd name="connsiteX138" fmla="*/ 7167127 w 10344472"/>
              <a:gd name="connsiteY138" fmla="*/ 4659532 h 6858000"/>
              <a:gd name="connsiteX139" fmla="*/ 6978766 w 10344472"/>
              <a:gd name="connsiteY139" fmla="*/ 4822224 h 6858000"/>
              <a:gd name="connsiteX140" fmla="*/ 6767371 w 10344472"/>
              <a:gd name="connsiteY140" fmla="*/ 4603553 h 6858000"/>
              <a:gd name="connsiteX141" fmla="*/ 6767371 w 10344472"/>
              <a:gd name="connsiteY141" fmla="*/ 4596847 h 6858000"/>
              <a:gd name="connsiteX142" fmla="*/ 6977308 w 10344472"/>
              <a:gd name="connsiteY142" fmla="*/ 4375552 h 6858000"/>
              <a:gd name="connsiteX143" fmla="*/ 3295240 w 10344472"/>
              <a:gd name="connsiteY143" fmla="*/ 4375552 h 6858000"/>
              <a:gd name="connsiteX144" fmla="*/ 3124374 w 10344472"/>
              <a:gd name="connsiteY144" fmla="*/ 4510253 h 6858000"/>
              <a:gd name="connsiteX145" fmla="*/ 3192895 w 10344472"/>
              <a:gd name="connsiteY145" fmla="*/ 4510253 h 6858000"/>
              <a:gd name="connsiteX146" fmla="*/ 3292032 w 10344472"/>
              <a:gd name="connsiteY146" fmla="*/ 4432698 h 6858000"/>
              <a:gd name="connsiteX147" fmla="*/ 3384463 w 10344472"/>
              <a:gd name="connsiteY147" fmla="*/ 4530079 h 6858000"/>
              <a:gd name="connsiteX148" fmla="*/ 3384463 w 10344472"/>
              <a:gd name="connsiteY148" fmla="*/ 4561568 h 6858000"/>
              <a:gd name="connsiteX149" fmla="*/ 3322648 w 10344472"/>
              <a:gd name="connsiteY149" fmla="*/ 4561568 h 6858000"/>
              <a:gd name="connsiteX150" fmla="*/ 3106296 w 10344472"/>
              <a:gd name="connsiteY150" fmla="*/ 4695394 h 6858000"/>
              <a:gd name="connsiteX151" fmla="*/ 3249753 w 10344472"/>
              <a:gd name="connsiteY151" fmla="*/ 4822224 h 6858000"/>
              <a:gd name="connsiteX152" fmla="*/ 3384463 w 10344472"/>
              <a:gd name="connsiteY152" fmla="*/ 4760413 h 6858000"/>
              <a:gd name="connsiteX153" fmla="*/ 3384463 w 10344472"/>
              <a:gd name="connsiteY153" fmla="*/ 4814935 h 6858000"/>
              <a:gd name="connsiteX154" fmla="*/ 3452984 w 10344472"/>
              <a:gd name="connsiteY154" fmla="*/ 4814935 h 6858000"/>
              <a:gd name="connsiteX155" fmla="*/ 3452984 w 10344472"/>
              <a:gd name="connsiteY155" fmla="*/ 4530079 h 6858000"/>
              <a:gd name="connsiteX156" fmla="*/ 3295240 w 10344472"/>
              <a:gd name="connsiteY156" fmla="*/ 4375552 h 6858000"/>
              <a:gd name="connsiteX157" fmla="*/ 4369128 w 10344472"/>
              <a:gd name="connsiteY157" fmla="*/ 4374094 h 6858000"/>
              <a:gd name="connsiteX158" fmla="*/ 4254537 w 10344472"/>
              <a:gd name="connsiteY158" fmla="*/ 4402667 h 6858000"/>
              <a:gd name="connsiteX159" fmla="*/ 4174935 w 10344472"/>
              <a:gd name="connsiteY159" fmla="*/ 4483721 h 6858000"/>
              <a:gd name="connsiteX160" fmla="*/ 4146944 w 10344472"/>
              <a:gd name="connsiteY160" fmla="*/ 4593639 h 6858000"/>
              <a:gd name="connsiteX161" fmla="*/ 4174935 w 10344472"/>
              <a:gd name="connsiteY161" fmla="*/ 4719594 h 6858000"/>
              <a:gd name="connsiteX162" fmla="*/ 4256869 w 10344472"/>
              <a:gd name="connsiteY162" fmla="*/ 4798023 h 6858000"/>
              <a:gd name="connsiteX163" fmla="*/ 4370002 w 10344472"/>
              <a:gd name="connsiteY163" fmla="*/ 4824847 h 6858000"/>
              <a:gd name="connsiteX164" fmla="*/ 4529205 w 10344472"/>
              <a:gd name="connsiteY164" fmla="*/ 4760412 h 6858000"/>
              <a:gd name="connsiteX165" fmla="*/ 4592478 w 10344472"/>
              <a:gd name="connsiteY165" fmla="*/ 4598304 h 6858000"/>
              <a:gd name="connsiteX166" fmla="*/ 4529788 w 10344472"/>
              <a:gd name="connsiteY166" fmla="*/ 4437654 h 6858000"/>
              <a:gd name="connsiteX167" fmla="*/ 4369128 w 10344472"/>
              <a:gd name="connsiteY167" fmla="*/ 4374094 h 6858000"/>
              <a:gd name="connsiteX168" fmla="*/ 5366331 w 10344472"/>
              <a:gd name="connsiteY168" fmla="*/ 4312574 h 6858000"/>
              <a:gd name="connsiteX169" fmla="*/ 5453221 w 10344472"/>
              <a:gd name="connsiteY169" fmla="*/ 4337940 h 6858000"/>
              <a:gd name="connsiteX170" fmla="*/ 5455785 w 10344472"/>
              <a:gd name="connsiteY170" fmla="*/ 4340581 h 6858000"/>
              <a:gd name="connsiteX171" fmla="*/ 5410884 w 10344472"/>
              <a:gd name="connsiteY171" fmla="*/ 4495966 h 6858000"/>
              <a:gd name="connsiteX172" fmla="*/ 5368372 w 10344472"/>
              <a:gd name="connsiteY172" fmla="*/ 4495966 h 6858000"/>
              <a:gd name="connsiteX173" fmla="*/ 5368372 w 10344472"/>
              <a:gd name="connsiteY173" fmla="*/ 4596263 h 6858000"/>
              <a:gd name="connsiteX174" fmla="*/ 5381902 w 10344472"/>
              <a:gd name="connsiteY174" fmla="*/ 4596263 h 6858000"/>
              <a:gd name="connsiteX175" fmla="*/ 5346461 w 10344472"/>
              <a:gd name="connsiteY175" fmla="*/ 4718911 h 6858000"/>
              <a:gd name="connsiteX176" fmla="*/ 5296024 w 10344472"/>
              <a:gd name="connsiteY176" fmla="*/ 4709207 h 6858000"/>
              <a:gd name="connsiteX177" fmla="*/ 5241534 w 10344472"/>
              <a:gd name="connsiteY177" fmla="*/ 4669445 h 6858000"/>
              <a:gd name="connsiteX178" fmla="*/ 5194298 w 10344472"/>
              <a:gd name="connsiteY178" fmla="*/ 4510544 h 6858000"/>
              <a:gd name="connsiteX179" fmla="*/ 5240951 w 10344472"/>
              <a:gd name="connsiteY179" fmla="*/ 4362431 h 6858000"/>
              <a:gd name="connsiteX180" fmla="*/ 5366331 w 10344472"/>
              <a:gd name="connsiteY180" fmla="*/ 4312574 h 6858000"/>
              <a:gd name="connsiteX181" fmla="*/ 3701993 w 10344472"/>
              <a:gd name="connsiteY181" fmla="*/ 4219566 h 6858000"/>
              <a:gd name="connsiteX182" fmla="*/ 3920386 w 10344472"/>
              <a:gd name="connsiteY182" fmla="*/ 4564191 h 6858000"/>
              <a:gd name="connsiteX183" fmla="*/ 3920386 w 10344472"/>
              <a:gd name="connsiteY183" fmla="*/ 4814642 h 6858000"/>
              <a:gd name="connsiteX184" fmla="*/ 4040226 w 10344472"/>
              <a:gd name="connsiteY184" fmla="*/ 4814642 h 6858000"/>
              <a:gd name="connsiteX185" fmla="*/ 4040226 w 10344472"/>
              <a:gd name="connsiteY185" fmla="*/ 4565066 h 6858000"/>
              <a:gd name="connsiteX186" fmla="*/ 4259202 w 10344472"/>
              <a:gd name="connsiteY186" fmla="*/ 4219858 h 6858000"/>
              <a:gd name="connsiteX187" fmla="*/ 4120410 w 10344472"/>
              <a:gd name="connsiteY187" fmla="*/ 4219858 h 6858000"/>
              <a:gd name="connsiteX188" fmla="*/ 3983076 w 10344472"/>
              <a:gd name="connsiteY188" fmla="*/ 4455148 h 6858000"/>
              <a:gd name="connsiteX189" fmla="*/ 3842826 w 10344472"/>
              <a:gd name="connsiteY189" fmla="*/ 4219858 h 6858000"/>
              <a:gd name="connsiteX190" fmla="*/ 3842826 w 10344472"/>
              <a:gd name="connsiteY190" fmla="*/ 4219566 h 6858000"/>
              <a:gd name="connsiteX191" fmla="*/ 3701993 w 10344472"/>
              <a:gd name="connsiteY191" fmla="*/ 4219566 h 6858000"/>
              <a:gd name="connsiteX192" fmla="*/ 3112711 w 10344472"/>
              <a:gd name="connsiteY192" fmla="*/ 2062597 h 6858000"/>
              <a:gd name="connsiteX193" fmla="*/ 3112711 w 10344472"/>
              <a:gd name="connsiteY193" fmla="*/ 3855407 h 6858000"/>
              <a:gd name="connsiteX194" fmla="*/ 4592478 w 10344472"/>
              <a:gd name="connsiteY194" fmla="*/ 3855407 h 6858000"/>
              <a:gd name="connsiteX195" fmla="*/ 4592478 w 10344472"/>
              <a:gd name="connsiteY195" fmla="*/ 3361794 h 6858000"/>
              <a:gd name="connsiteX196" fmla="*/ 3710741 w 10344472"/>
              <a:gd name="connsiteY196" fmla="*/ 3361794 h 6858000"/>
              <a:gd name="connsiteX197" fmla="*/ 3710741 w 10344472"/>
              <a:gd name="connsiteY197" fmla="*/ 2062597 h 6858000"/>
              <a:gd name="connsiteX198" fmla="*/ 3112711 w 10344472"/>
              <a:gd name="connsiteY198" fmla="*/ 2062597 h 6858000"/>
              <a:gd name="connsiteX199" fmla="*/ 9524550 w 10344472"/>
              <a:gd name="connsiteY199" fmla="*/ 2061139 h 6858000"/>
              <a:gd name="connsiteX200" fmla="*/ 10233964 w 10344472"/>
              <a:gd name="connsiteY200" fmla="*/ 2062014 h 6858000"/>
              <a:gd name="connsiteX201" fmla="*/ 10261664 w 10344472"/>
              <a:gd name="connsiteY201" fmla="*/ 2062014 h 6858000"/>
              <a:gd name="connsiteX202" fmla="*/ 9436493 w 10344472"/>
              <a:gd name="connsiteY202" fmla="*/ 2879843 h 6858000"/>
              <a:gd name="connsiteX203" fmla="*/ 10344472 w 10344472"/>
              <a:gd name="connsiteY203" fmla="*/ 3856281 h 6858000"/>
              <a:gd name="connsiteX204" fmla="*/ 10330185 w 10344472"/>
              <a:gd name="connsiteY204" fmla="*/ 3856281 h 6858000"/>
              <a:gd name="connsiteX205" fmla="*/ 9609108 w 10344472"/>
              <a:gd name="connsiteY205" fmla="*/ 3856573 h 6858000"/>
              <a:gd name="connsiteX206" fmla="*/ 9587239 w 10344472"/>
              <a:gd name="connsiteY206" fmla="*/ 3846660 h 6858000"/>
              <a:gd name="connsiteX207" fmla="*/ 9072309 w 10344472"/>
              <a:gd name="connsiteY207" fmla="*/ 3253041 h 6858000"/>
              <a:gd name="connsiteX208" fmla="*/ 8965591 w 10344472"/>
              <a:gd name="connsiteY208" fmla="*/ 3130294 h 6858000"/>
              <a:gd name="connsiteX209" fmla="*/ 8952470 w 10344472"/>
              <a:gd name="connsiteY209" fmla="*/ 3115424 h 6858000"/>
              <a:gd name="connsiteX210" fmla="*/ 8952470 w 10344472"/>
              <a:gd name="connsiteY210" fmla="*/ 3855407 h 6858000"/>
              <a:gd name="connsiteX211" fmla="*/ 8352982 w 10344472"/>
              <a:gd name="connsiteY211" fmla="*/ 3855407 h 6858000"/>
              <a:gd name="connsiteX212" fmla="*/ 8352982 w 10344472"/>
              <a:gd name="connsiteY212" fmla="*/ 2062888 h 6858000"/>
              <a:gd name="connsiteX213" fmla="*/ 8951595 w 10344472"/>
              <a:gd name="connsiteY213" fmla="*/ 2062888 h 6858000"/>
              <a:gd name="connsiteX214" fmla="*/ 8951595 w 10344472"/>
              <a:gd name="connsiteY214" fmla="*/ 2618604 h 6858000"/>
              <a:gd name="connsiteX215" fmla="*/ 8990667 w 10344472"/>
              <a:gd name="connsiteY215" fmla="*/ 2579243 h 6858000"/>
              <a:gd name="connsiteX216" fmla="*/ 9449030 w 10344472"/>
              <a:gd name="connsiteY216" fmla="*/ 2093211 h 6858000"/>
              <a:gd name="connsiteX217" fmla="*/ 9524550 w 10344472"/>
              <a:gd name="connsiteY217" fmla="*/ 2061139 h 6858000"/>
              <a:gd name="connsiteX218" fmla="*/ 5280607 w 10344472"/>
              <a:gd name="connsiteY218" fmla="*/ 2061139 h 6858000"/>
              <a:gd name="connsiteX219" fmla="*/ 5264570 w 10344472"/>
              <a:gd name="connsiteY219" fmla="*/ 2074842 h 6858000"/>
              <a:gd name="connsiteX220" fmla="*/ 5094870 w 10344472"/>
              <a:gd name="connsiteY220" fmla="*/ 2664671 h 6858000"/>
              <a:gd name="connsiteX221" fmla="*/ 4793085 w 10344472"/>
              <a:gd name="connsiteY221" fmla="*/ 3709043 h 6858000"/>
              <a:gd name="connsiteX222" fmla="*/ 4750806 w 10344472"/>
              <a:gd name="connsiteY222" fmla="*/ 3855698 h 6858000"/>
              <a:gd name="connsiteX223" fmla="*/ 5353501 w 10344472"/>
              <a:gd name="connsiteY223" fmla="*/ 3855698 h 6858000"/>
              <a:gd name="connsiteX224" fmla="*/ 5871347 w 10344472"/>
              <a:gd name="connsiteY224" fmla="*/ 2062305 h 6858000"/>
              <a:gd name="connsiteX225" fmla="*/ 5859392 w 10344472"/>
              <a:gd name="connsiteY225" fmla="*/ 2061431 h 6858000"/>
              <a:gd name="connsiteX226" fmla="*/ 5280607 w 10344472"/>
              <a:gd name="connsiteY226" fmla="*/ 2061139 h 6858000"/>
              <a:gd name="connsiteX227" fmla="*/ 0 w 10344472"/>
              <a:gd name="connsiteY227" fmla="*/ 0 h 6858000"/>
              <a:gd name="connsiteX228" fmla="*/ 6707236 w 10344472"/>
              <a:gd name="connsiteY228" fmla="*/ 0 h 6858000"/>
              <a:gd name="connsiteX229" fmla="*/ 6114289 w 10344472"/>
              <a:gd name="connsiteY229" fmla="*/ 2060916 h 6858000"/>
              <a:gd name="connsiteX230" fmla="*/ 6560000 w 10344472"/>
              <a:gd name="connsiteY230" fmla="*/ 2061141 h 6858000"/>
              <a:gd name="connsiteX231" fmla="*/ 6564947 w 10344472"/>
              <a:gd name="connsiteY231" fmla="*/ 2061503 h 6858000"/>
              <a:gd name="connsiteX232" fmla="*/ 6705555 w 10344472"/>
              <a:gd name="connsiteY232" fmla="*/ 2061431 h 6858000"/>
              <a:gd name="connsiteX233" fmla="*/ 6726841 w 10344472"/>
              <a:gd name="connsiteY233" fmla="*/ 2073677 h 6858000"/>
              <a:gd name="connsiteX234" fmla="*/ 7211738 w 10344472"/>
              <a:gd name="connsiteY234" fmla="*/ 2996759 h 6858000"/>
              <a:gd name="connsiteX235" fmla="*/ 7282883 w 10344472"/>
              <a:gd name="connsiteY235" fmla="*/ 3131461 h 6858000"/>
              <a:gd name="connsiteX236" fmla="*/ 7292797 w 10344472"/>
              <a:gd name="connsiteY236" fmla="*/ 3150121 h 6858000"/>
              <a:gd name="connsiteX237" fmla="*/ 7304460 w 10344472"/>
              <a:gd name="connsiteY237" fmla="*/ 3108136 h 6858000"/>
              <a:gd name="connsiteX238" fmla="*/ 7479700 w 10344472"/>
              <a:gd name="connsiteY238" fmla="*/ 2453581 h 6858000"/>
              <a:gd name="connsiteX239" fmla="*/ 7580003 w 10344472"/>
              <a:gd name="connsiteY239" fmla="*/ 2077467 h 6858000"/>
              <a:gd name="connsiteX240" fmla="*/ 7601288 w 10344472"/>
              <a:gd name="connsiteY240" fmla="*/ 2060848 h 6858000"/>
              <a:gd name="connsiteX241" fmla="*/ 8180074 w 10344472"/>
              <a:gd name="connsiteY241" fmla="*/ 2061140 h 6858000"/>
              <a:gd name="connsiteX242" fmla="*/ 8198153 w 10344472"/>
              <a:gd name="connsiteY242" fmla="*/ 2061140 h 6858000"/>
              <a:gd name="connsiteX243" fmla="*/ 7679140 w 10344472"/>
              <a:gd name="connsiteY243" fmla="*/ 3855699 h 6858000"/>
              <a:gd name="connsiteX244" fmla="*/ 7661354 w 10344472"/>
              <a:gd name="connsiteY244" fmla="*/ 3855699 h 6858000"/>
              <a:gd name="connsiteX245" fmla="*/ 7081110 w 10344472"/>
              <a:gd name="connsiteY245" fmla="*/ 3855990 h 6858000"/>
              <a:gd name="connsiteX246" fmla="*/ 7055743 w 10344472"/>
              <a:gd name="connsiteY246" fmla="*/ 3840829 h 6858000"/>
              <a:gd name="connsiteX247" fmla="*/ 6762997 w 10344472"/>
              <a:gd name="connsiteY247" fmla="*/ 3290070 h 6858000"/>
              <a:gd name="connsiteX248" fmla="*/ 6497367 w 10344472"/>
              <a:gd name="connsiteY248" fmla="*/ 2790626 h 6858000"/>
              <a:gd name="connsiteX249" fmla="*/ 6488620 w 10344472"/>
              <a:gd name="connsiteY249" fmla="*/ 2776339 h 6858000"/>
              <a:gd name="connsiteX250" fmla="*/ 6200539 w 10344472"/>
              <a:gd name="connsiteY250" fmla="*/ 3864641 h 6858000"/>
              <a:gd name="connsiteX251" fmla="*/ 5594353 w 10344472"/>
              <a:gd name="connsiteY251" fmla="*/ 3861048 h 6858000"/>
              <a:gd name="connsiteX252" fmla="*/ 5487296 w 10344472"/>
              <a:gd name="connsiteY252" fmla="*/ 4231534 h 6858000"/>
              <a:gd name="connsiteX253" fmla="*/ 5465213 w 10344472"/>
              <a:gd name="connsiteY253" fmla="*/ 4221243 h 6858000"/>
              <a:gd name="connsiteX254" fmla="*/ 5366331 w 10344472"/>
              <a:gd name="connsiteY254" fmla="*/ 4209653 h 6858000"/>
              <a:gd name="connsiteX255" fmla="*/ 5224040 w 10344472"/>
              <a:gd name="connsiteY255" fmla="*/ 4239684 h 6858000"/>
              <a:gd name="connsiteX256" fmla="*/ 5109740 w 10344472"/>
              <a:gd name="connsiteY256" fmla="*/ 4350477 h 6858000"/>
              <a:gd name="connsiteX257" fmla="*/ 5070669 w 10344472"/>
              <a:gd name="connsiteY257" fmla="*/ 4515501 h 6858000"/>
              <a:gd name="connsiteX258" fmla="*/ 5105658 w 10344472"/>
              <a:gd name="connsiteY258" fmla="*/ 4674110 h 6858000"/>
              <a:gd name="connsiteX259" fmla="*/ 5210044 w 10344472"/>
              <a:gd name="connsiteY259" fmla="*/ 4786070 h 6858000"/>
              <a:gd name="connsiteX260" fmla="*/ 5285527 w 10344472"/>
              <a:gd name="connsiteY260" fmla="*/ 4815335 h 6858000"/>
              <a:gd name="connsiteX261" fmla="*/ 5317561 w 10344472"/>
              <a:gd name="connsiteY261" fmla="*/ 4818924 h 6858000"/>
              <a:gd name="connsiteX262" fmla="*/ 4728343 w 10344472"/>
              <a:gd name="connsiteY262" fmla="*/ 6858000 h 6858000"/>
              <a:gd name="connsiteX263" fmla="*/ 0 w 10344472"/>
              <a:gd name="connsiteY263" fmla="*/ 6858000 h 6858000"/>
              <a:gd name="connsiteX264" fmla="*/ 0 w 10344472"/>
              <a:gd name="connsiteY26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Lst>
            <a:rect l="l" t="t" r="r" b="b"/>
            <a:pathLst>
              <a:path w="10344472" h="6858000">
                <a:moveTo>
                  <a:pt x="9222182" y="4610259"/>
                </a:moveTo>
                <a:cubicBezTo>
                  <a:pt x="9135582" y="4610259"/>
                  <a:pt x="9071727" y="4631834"/>
                  <a:pt x="9071727" y="4695394"/>
                </a:cubicBezTo>
                <a:cubicBezTo>
                  <a:pt x="9071727" y="4740003"/>
                  <a:pt x="9093303" y="4767993"/>
                  <a:pt x="9153369" y="4767993"/>
                </a:cubicBezTo>
                <a:cubicBezTo>
                  <a:pt x="9226264" y="4767993"/>
                  <a:pt x="9281664" y="4730673"/>
                  <a:pt x="9281664" y="4663906"/>
                </a:cubicBezTo>
                <a:lnTo>
                  <a:pt x="9281664" y="4610259"/>
                </a:lnTo>
                <a:lnTo>
                  <a:pt x="9222182" y="4610259"/>
                </a:lnTo>
                <a:close/>
                <a:moveTo>
                  <a:pt x="3325272" y="4610259"/>
                </a:moveTo>
                <a:lnTo>
                  <a:pt x="3384755" y="4610259"/>
                </a:lnTo>
                <a:lnTo>
                  <a:pt x="3384755" y="4663906"/>
                </a:lnTo>
                <a:cubicBezTo>
                  <a:pt x="3384755" y="4730673"/>
                  <a:pt x="3329355" y="4767993"/>
                  <a:pt x="3256460" y="4767993"/>
                </a:cubicBezTo>
                <a:cubicBezTo>
                  <a:pt x="3196394" y="4767993"/>
                  <a:pt x="3174817" y="4740003"/>
                  <a:pt x="3174817" y="4695394"/>
                </a:cubicBezTo>
                <a:cubicBezTo>
                  <a:pt x="3174817" y="4631834"/>
                  <a:pt x="3238673" y="4610259"/>
                  <a:pt x="3325272" y="4610259"/>
                </a:cubicBezTo>
                <a:close/>
                <a:moveTo>
                  <a:pt x="4369419" y="4467101"/>
                </a:moveTo>
                <a:cubicBezTo>
                  <a:pt x="4399452" y="4467101"/>
                  <a:pt x="4424236" y="4478472"/>
                  <a:pt x="4444355" y="4501214"/>
                </a:cubicBezTo>
                <a:cubicBezTo>
                  <a:pt x="4464474" y="4523956"/>
                  <a:pt x="4474679" y="4556319"/>
                  <a:pt x="4474679" y="4598596"/>
                </a:cubicBezTo>
                <a:cubicBezTo>
                  <a:pt x="4474679" y="4642038"/>
                  <a:pt x="4464474" y="4674985"/>
                  <a:pt x="4444355" y="4697726"/>
                </a:cubicBezTo>
                <a:cubicBezTo>
                  <a:pt x="4424236" y="4720468"/>
                  <a:pt x="4399160" y="4731839"/>
                  <a:pt x="4369419" y="4731839"/>
                </a:cubicBezTo>
                <a:cubicBezTo>
                  <a:pt x="4339678" y="4731839"/>
                  <a:pt x="4314602" y="4720468"/>
                  <a:pt x="4294192" y="4697726"/>
                </a:cubicBezTo>
                <a:cubicBezTo>
                  <a:pt x="4273781" y="4674985"/>
                  <a:pt x="4263576" y="4642330"/>
                  <a:pt x="4263576" y="4599470"/>
                </a:cubicBezTo>
                <a:cubicBezTo>
                  <a:pt x="4263576" y="4556611"/>
                  <a:pt x="4273781" y="4523956"/>
                  <a:pt x="4294192" y="4501214"/>
                </a:cubicBezTo>
                <a:cubicBezTo>
                  <a:pt x="4314602" y="4478472"/>
                  <a:pt x="4339678" y="4467101"/>
                  <a:pt x="4369419" y="4467101"/>
                </a:cubicBezTo>
                <a:close/>
                <a:moveTo>
                  <a:pt x="8728245" y="4432406"/>
                </a:moveTo>
                <a:cubicBezTo>
                  <a:pt x="8648061" y="4432406"/>
                  <a:pt x="8587121" y="4485179"/>
                  <a:pt x="8587121" y="4595972"/>
                </a:cubicBezTo>
                <a:lnTo>
                  <a:pt x="8587121" y="4602678"/>
                </a:lnTo>
                <a:cubicBezTo>
                  <a:pt x="8587121" y="4713471"/>
                  <a:pt x="8644853" y="4765369"/>
                  <a:pt x="8729120" y="4765369"/>
                </a:cubicBezTo>
                <a:cubicBezTo>
                  <a:pt x="8815136" y="4765369"/>
                  <a:pt x="8861206" y="4707640"/>
                  <a:pt x="8861206" y="4602678"/>
                </a:cubicBezTo>
                <a:lnTo>
                  <a:pt x="8861206" y="4595972"/>
                </a:lnTo>
                <a:cubicBezTo>
                  <a:pt x="8861206" y="4486928"/>
                  <a:pt x="8800849" y="4432406"/>
                  <a:pt x="8728245" y="4432406"/>
                </a:cubicBezTo>
                <a:close/>
                <a:moveTo>
                  <a:pt x="7450543" y="4432406"/>
                </a:moveTo>
                <a:cubicBezTo>
                  <a:pt x="7363944" y="4432406"/>
                  <a:pt x="7309419" y="4496841"/>
                  <a:pt x="7309419" y="4595972"/>
                </a:cubicBezTo>
                <a:lnTo>
                  <a:pt x="7309419" y="4602678"/>
                </a:lnTo>
                <a:cubicBezTo>
                  <a:pt x="7309419" y="4700934"/>
                  <a:pt x="7363069" y="4765369"/>
                  <a:pt x="7450543" y="4765369"/>
                </a:cubicBezTo>
                <a:cubicBezTo>
                  <a:pt x="7537142" y="4765369"/>
                  <a:pt x="7591668" y="4700351"/>
                  <a:pt x="7591668" y="4602678"/>
                </a:cubicBezTo>
                <a:lnTo>
                  <a:pt x="7591668" y="4596847"/>
                </a:lnTo>
                <a:cubicBezTo>
                  <a:pt x="7591668" y="4496841"/>
                  <a:pt x="7536268" y="4432406"/>
                  <a:pt x="7450543" y="4432406"/>
                </a:cubicBezTo>
                <a:close/>
                <a:moveTo>
                  <a:pt x="4629508" y="4383423"/>
                </a:moveTo>
                <a:lnTo>
                  <a:pt x="4629508" y="4656033"/>
                </a:lnTo>
                <a:cubicBezTo>
                  <a:pt x="4629508" y="4696560"/>
                  <a:pt x="4634757" y="4728340"/>
                  <a:pt x="4644962" y="4751374"/>
                </a:cubicBezTo>
                <a:cubicBezTo>
                  <a:pt x="4655167" y="4774407"/>
                  <a:pt x="4671787" y="4792192"/>
                  <a:pt x="4694822" y="4805021"/>
                </a:cubicBezTo>
                <a:cubicBezTo>
                  <a:pt x="4717857" y="4817558"/>
                  <a:pt x="4744099" y="4823972"/>
                  <a:pt x="4772966" y="4823972"/>
                </a:cubicBezTo>
                <a:cubicBezTo>
                  <a:pt x="4801249" y="4823972"/>
                  <a:pt x="4828366" y="4817267"/>
                  <a:pt x="4854025" y="4804146"/>
                </a:cubicBezTo>
                <a:cubicBezTo>
                  <a:pt x="4879684" y="4791026"/>
                  <a:pt x="4900386" y="4772949"/>
                  <a:pt x="4916131" y="4749916"/>
                </a:cubicBezTo>
                <a:lnTo>
                  <a:pt x="4916131" y="4814351"/>
                </a:lnTo>
                <a:lnTo>
                  <a:pt x="5022266" y="4814351"/>
                </a:lnTo>
                <a:lnTo>
                  <a:pt x="5022266" y="4383423"/>
                </a:lnTo>
                <a:lnTo>
                  <a:pt x="4907967" y="4383423"/>
                </a:lnTo>
                <a:lnTo>
                  <a:pt x="4907967" y="4565358"/>
                </a:lnTo>
                <a:cubicBezTo>
                  <a:pt x="4907967" y="4627169"/>
                  <a:pt x="4905343" y="4665946"/>
                  <a:pt x="4899511" y="4681691"/>
                </a:cubicBezTo>
                <a:cubicBezTo>
                  <a:pt x="4893680" y="4697435"/>
                  <a:pt x="4883183" y="4710555"/>
                  <a:pt x="4867729" y="4721343"/>
                </a:cubicBezTo>
                <a:cubicBezTo>
                  <a:pt x="4852275" y="4732131"/>
                  <a:pt x="4834781" y="4737379"/>
                  <a:pt x="4815245" y="4737379"/>
                </a:cubicBezTo>
                <a:cubicBezTo>
                  <a:pt x="4798041" y="4737379"/>
                  <a:pt x="4784046" y="4733297"/>
                  <a:pt x="4772966" y="4725425"/>
                </a:cubicBezTo>
                <a:cubicBezTo>
                  <a:pt x="4761886" y="4717553"/>
                  <a:pt x="4754013" y="4706765"/>
                  <a:pt x="4749931" y="4693061"/>
                </a:cubicBezTo>
                <a:cubicBezTo>
                  <a:pt x="4745557" y="4679358"/>
                  <a:pt x="4743516" y="4642330"/>
                  <a:pt x="4743516" y="4581685"/>
                </a:cubicBezTo>
                <a:lnTo>
                  <a:pt x="4743516" y="4383715"/>
                </a:lnTo>
                <a:lnTo>
                  <a:pt x="4743516" y="4383423"/>
                </a:lnTo>
                <a:lnTo>
                  <a:pt x="4629508" y="4383423"/>
                </a:lnTo>
                <a:close/>
                <a:moveTo>
                  <a:pt x="9917600" y="4382841"/>
                </a:moveTo>
                <a:lnTo>
                  <a:pt x="9991078" y="4382841"/>
                </a:lnTo>
                <a:lnTo>
                  <a:pt x="10123164" y="4692479"/>
                </a:lnTo>
                <a:lnTo>
                  <a:pt x="10243003" y="4382841"/>
                </a:lnTo>
                <a:lnTo>
                  <a:pt x="10313274" y="4382841"/>
                </a:lnTo>
                <a:lnTo>
                  <a:pt x="10074469" y="4965089"/>
                </a:lnTo>
                <a:lnTo>
                  <a:pt x="10005074" y="4965089"/>
                </a:lnTo>
                <a:lnTo>
                  <a:pt x="10087007" y="4770326"/>
                </a:lnTo>
                <a:lnTo>
                  <a:pt x="9917600" y="4382841"/>
                </a:lnTo>
                <a:close/>
                <a:moveTo>
                  <a:pt x="7966639" y="4375843"/>
                </a:moveTo>
                <a:cubicBezTo>
                  <a:pt x="8022040" y="4375843"/>
                  <a:pt x="8070733" y="4398876"/>
                  <a:pt x="8092894" y="4456897"/>
                </a:cubicBezTo>
                <a:cubicBezTo>
                  <a:pt x="8122635" y="4400626"/>
                  <a:pt x="8187074" y="4375843"/>
                  <a:pt x="8240724" y="4375843"/>
                </a:cubicBezTo>
                <a:cubicBezTo>
                  <a:pt x="8318285" y="4375843"/>
                  <a:pt x="8386223" y="4422201"/>
                  <a:pt x="8386223" y="4547573"/>
                </a:cubicBezTo>
                <a:lnTo>
                  <a:pt x="8386223" y="4815226"/>
                </a:lnTo>
                <a:lnTo>
                  <a:pt x="8317702" y="4815226"/>
                </a:lnTo>
                <a:lnTo>
                  <a:pt x="8317702" y="4542616"/>
                </a:lnTo>
                <a:cubicBezTo>
                  <a:pt x="8317702" y="4466518"/>
                  <a:pt x="8285628" y="4435322"/>
                  <a:pt x="8226145" y="4435322"/>
                </a:cubicBezTo>
                <a:cubicBezTo>
                  <a:pt x="8169870" y="4435322"/>
                  <a:pt x="8112138" y="4473225"/>
                  <a:pt x="8112138" y="4551071"/>
                </a:cubicBezTo>
                <a:lnTo>
                  <a:pt x="8112138" y="4815226"/>
                </a:lnTo>
                <a:lnTo>
                  <a:pt x="8043617" y="4815226"/>
                </a:lnTo>
                <a:lnTo>
                  <a:pt x="8043617" y="4542616"/>
                </a:lnTo>
                <a:cubicBezTo>
                  <a:pt x="8043617" y="4466518"/>
                  <a:pt x="8011543" y="4435322"/>
                  <a:pt x="7952060" y="4435322"/>
                </a:cubicBezTo>
                <a:cubicBezTo>
                  <a:pt x="7895785" y="4435322"/>
                  <a:pt x="7838053" y="4473225"/>
                  <a:pt x="7838053" y="4551071"/>
                </a:cubicBezTo>
                <a:lnTo>
                  <a:pt x="7838053" y="4815226"/>
                </a:lnTo>
                <a:lnTo>
                  <a:pt x="7769532" y="4815226"/>
                </a:lnTo>
                <a:lnTo>
                  <a:pt x="7769532" y="4383132"/>
                </a:lnTo>
                <a:lnTo>
                  <a:pt x="7837761" y="4383132"/>
                </a:lnTo>
                <a:lnTo>
                  <a:pt x="7837761" y="4449316"/>
                </a:lnTo>
                <a:cubicBezTo>
                  <a:pt x="7857588" y="4408789"/>
                  <a:pt x="7904533" y="4375843"/>
                  <a:pt x="7966639" y="4375843"/>
                </a:cubicBezTo>
                <a:close/>
                <a:moveTo>
                  <a:pt x="9692209" y="4375552"/>
                </a:moveTo>
                <a:cubicBezTo>
                  <a:pt x="9781432" y="4375552"/>
                  <a:pt x="9844121" y="4424243"/>
                  <a:pt x="9844121" y="4549906"/>
                </a:cubicBezTo>
                <a:lnTo>
                  <a:pt x="9844121" y="4814935"/>
                </a:lnTo>
                <a:lnTo>
                  <a:pt x="9775600" y="4814935"/>
                </a:lnTo>
                <a:lnTo>
                  <a:pt x="9775600" y="4544949"/>
                </a:lnTo>
                <a:cubicBezTo>
                  <a:pt x="9775600" y="4468852"/>
                  <a:pt x="9743526" y="4435030"/>
                  <a:pt x="9674131" y="4435030"/>
                </a:cubicBezTo>
                <a:cubicBezTo>
                  <a:pt x="9610566" y="4435030"/>
                  <a:pt x="9553416" y="4475557"/>
                  <a:pt x="9553416" y="4553113"/>
                </a:cubicBezTo>
                <a:lnTo>
                  <a:pt x="9553416" y="4814935"/>
                </a:lnTo>
                <a:lnTo>
                  <a:pt x="9484895" y="4814935"/>
                </a:lnTo>
                <a:lnTo>
                  <a:pt x="9484895" y="4383133"/>
                </a:lnTo>
                <a:lnTo>
                  <a:pt x="9553416" y="4383133"/>
                </a:lnTo>
                <a:lnTo>
                  <a:pt x="9553416" y="4451649"/>
                </a:lnTo>
                <a:cubicBezTo>
                  <a:pt x="9573244" y="4411122"/>
                  <a:pt x="9621063" y="4375552"/>
                  <a:pt x="9692209" y="4375552"/>
                </a:cubicBezTo>
                <a:close/>
                <a:moveTo>
                  <a:pt x="9192440" y="4375552"/>
                </a:moveTo>
                <a:cubicBezTo>
                  <a:pt x="9274958" y="4375552"/>
                  <a:pt x="9350185" y="4409373"/>
                  <a:pt x="9350185" y="4530079"/>
                </a:cubicBezTo>
                <a:lnTo>
                  <a:pt x="9350185" y="4814935"/>
                </a:lnTo>
                <a:lnTo>
                  <a:pt x="9281664" y="4814935"/>
                </a:lnTo>
                <a:lnTo>
                  <a:pt x="9281664" y="4760413"/>
                </a:lnTo>
                <a:cubicBezTo>
                  <a:pt x="9249590" y="4800940"/>
                  <a:pt x="9210519" y="4822224"/>
                  <a:pt x="9146954" y="4822224"/>
                </a:cubicBezTo>
                <a:cubicBezTo>
                  <a:pt x="9067061" y="4822515"/>
                  <a:pt x="9003497" y="4783738"/>
                  <a:pt x="9003497" y="4695394"/>
                </a:cubicBezTo>
                <a:cubicBezTo>
                  <a:pt x="9003497" y="4595389"/>
                  <a:pt x="9109340" y="4561568"/>
                  <a:pt x="9219849" y="4561568"/>
                </a:cubicBezTo>
                <a:lnTo>
                  <a:pt x="9281664" y="4561568"/>
                </a:lnTo>
                <a:lnTo>
                  <a:pt x="9281664" y="4530079"/>
                </a:lnTo>
                <a:cubicBezTo>
                  <a:pt x="9281664" y="4461563"/>
                  <a:pt x="9255130" y="4432698"/>
                  <a:pt x="9189234" y="4432698"/>
                </a:cubicBezTo>
                <a:cubicBezTo>
                  <a:pt x="9129751" y="4432698"/>
                  <a:pt x="9096803" y="4457481"/>
                  <a:pt x="9090096" y="4510253"/>
                </a:cubicBezTo>
                <a:lnTo>
                  <a:pt x="9021575" y="4510253"/>
                </a:lnTo>
                <a:cubicBezTo>
                  <a:pt x="9030614" y="4411997"/>
                  <a:pt x="9109049" y="4375552"/>
                  <a:pt x="9192440" y="4375552"/>
                </a:cubicBezTo>
                <a:close/>
                <a:moveTo>
                  <a:pt x="8735535" y="4375552"/>
                </a:moveTo>
                <a:cubicBezTo>
                  <a:pt x="8848668" y="4375552"/>
                  <a:pt x="8932060" y="4458064"/>
                  <a:pt x="8932060" y="4592765"/>
                </a:cubicBezTo>
                <a:lnTo>
                  <a:pt x="8932060" y="4599471"/>
                </a:lnTo>
                <a:cubicBezTo>
                  <a:pt x="8932060" y="4731548"/>
                  <a:pt x="8854499" y="4822515"/>
                  <a:pt x="8735535" y="4822515"/>
                </a:cubicBezTo>
                <a:cubicBezTo>
                  <a:pt x="8664389" y="4822515"/>
                  <a:pt x="8614238" y="4786945"/>
                  <a:pt x="8589453" y="4744085"/>
                </a:cubicBezTo>
                <a:lnTo>
                  <a:pt x="8589453" y="4965380"/>
                </a:lnTo>
                <a:lnTo>
                  <a:pt x="8520932" y="4965380"/>
                </a:lnTo>
                <a:lnTo>
                  <a:pt x="8520932" y="4383133"/>
                </a:lnTo>
                <a:lnTo>
                  <a:pt x="8589453" y="4383133"/>
                </a:lnTo>
                <a:lnTo>
                  <a:pt x="8589453" y="4455731"/>
                </a:lnTo>
                <a:cubicBezTo>
                  <a:pt x="8614238" y="4413746"/>
                  <a:pt x="8672845" y="4375552"/>
                  <a:pt x="8735535" y="4375552"/>
                </a:cubicBezTo>
                <a:close/>
                <a:moveTo>
                  <a:pt x="7450543" y="4375552"/>
                </a:moveTo>
                <a:cubicBezTo>
                  <a:pt x="7572715" y="4375552"/>
                  <a:pt x="7662813" y="4465644"/>
                  <a:pt x="7662813" y="4595389"/>
                </a:cubicBezTo>
                <a:lnTo>
                  <a:pt x="7662813" y="4602095"/>
                </a:lnTo>
                <a:cubicBezTo>
                  <a:pt x="7662813" y="4732714"/>
                  <a:pt x="7572715" y="4822515"/>
                  <a:pt x="7449668" y="4822515"/>
                </a:cubicBezTo>
                <a:cubicBezTo>
                  <a:pt x="7326622" y="4822515"/>
                  <a:pt x="7238273" y="4729216"/>
                  <a:pt x="7238273" y="4602678"/>
                </a:cubicBezTo>
                <a:lnTo>
                  <a:pt x="7238273" y="4595972"/>
                </a:lnTo>
                <a:cubicBezTo>
                  <a:pt x="7238273" y="4466227"/>
                  <a:pt x="7328371" y="4375552"/>
                  <a:pt x="7450543" y="4375552"/>
                </a:cubicBezTo>
                <a:close/>
                <a:moveTo>
                  <a:pt x="6977308" y="4375552"/>
                </a:moveTo>
                <a:cubicBezTo>
                  <a:pt x="7067407" y="4375552"/>
                  <a:pt x="7151673" y="4416954"/>
                  <a:pt x="7164794" y="4526581"/>
                </a:cubicBezTo>
                <a:lnTo>
                  <a:pt x="7097148" y="4526581"/>
                </a:lnTo>
                <a:cubicBezTo>
                  <a:pt x="7086359" y="4458064"/>
                  <a:pt x="7036791" y="4432406"/>
                  <a:pt x="6977308" y="4432406"/>
                </a:cubicBezTo>
                <a:cubicBezTo>
                  <a:pt x="6898874" y="4432406"/>
                  <a:pt x="6838517" y="4495092"/>
                  <a:pt x="6838517" y="4596847"/>
                </a:cubicBezTo>
                <a:lnTo>
                  <a:pt x="6838517" y="4603553"/>
                </a:lnTo>
                <a:cubicBezTo>
                  <a:pt x="6838517" y="4709390"/>
                  <a:pt x="6896249" y="4765369"/>
                  <a:pt x="6979641" y="4765369"/>
                </a:cubicBezTo>
                <a:cubicBezTo>
                  <a:pt x="7040873" y="4765369"/>
                  <a:pt x="7095982" y="4729799"/>
                  <a:pt x="7103563" y="4659532"/>
                </a:cubicBezTo>
                <a:lnTo>
                  <a:pt x="7167127" y="4659532"/>
                </a:lnTo>
                <a:cubicBezTo>
                  <a:pt x="7158088" y="4752832"/>
                  <a:pt x="7082861" y="4822224"/>
                  <a:pt x="6978766" y="4822224"/>
                </a:cubicBezTo>
                <a:cubicBezTo>
                  <a:pt x="6858344" y="4822515"/>
                  <a:pt x="6767371" y="4737379"/>
                  <a:pt x="6767371" y="4603553"/>
                </a:cubicBezTo>
                <a:lnTo>
                  <a:pt x="6767371" y="4596847"/>
                </a:lnTo>
                <a:cubicBezTo>
                  <a:pt x="6767371" y="4464770"/>
                  <a:pt x="6861551" y="4375552"/>
                  <a:pt x="6977308" y="4375552"/>
                </a:cubicBezTo>
                <a:close/>
                <a:moveTo>
                  <a:pt x="3295240" y="4375552"/>
                </a:moveTo>
                <a:cubicBezTo>
                  <a:pt x="3211848" y="4375552"/>
                  <a:pt x="3133413" y="4411997"/>
                  <a:pt x="3124374" y="4510253"/>
                </a:cubicBezTo>
                <a:lnTo>
                  <a:pt x="3192895" y="4510253"/>
                </a:lnTo>
                <a:cubicBezTo>
                  <a:pt x="3199602" y="4457481"/>
                  <a:pt x="3232550" y="4432698"/>
                  <a:pt x="3292032" y="4432698"/>
                </a:cubicBezTo>
                <a:cubicBezTo>
                  <a:pt x="3357929" y="4432698"/>
                  <a:pt x="3384463" y="4461563"/>
                  <a:pt x="3384463" y="4530079"/>
                </a:cubicBezTo>
                <a:lnTo>
                  <a:pt x="3384463" y="4561568"/>
                </a:lnTo>
                <a:lnTo>
                  <a:pt x="3322648" y="4561568"/>
                </a:lnTo>
                <a:cubicBezTo>
                  <a:pt x="3212139" y="4561568"/>
                  <a:pt x="3106296" y="4595389"/>
                  <a:pt x="3106296" y="4695394"/>
                </a:cubicBezTo>
                <a:cubicBezTo>
                  <a:pt x="3106296" y="4783738"/>
                  <a:pt x="3169860" y="4822515"/>
                  <a:pt x="3249753" y="4822224"/>
                </a:cubicBezTo>
                <a:cubicBezTo>
                  <a:pt x="3313318" y="4822224"/>
                  <a:pt x="3352389" y="4800940"/>
                  <a:pt x="3384463" y="4760413"/>
                </a:cubicBezTo>
                <a:lnTo>
                  <a:pt x="3384463" y="4814935"/>
                </a:lnTo>
                <a:lnTo>
                  <a:pt x="3452984" y="4814935"/>
                </a:lnTo>
                <a:lnTo>
                  <a:pt x="3452984" y="4530079"/>
                </a:lnTo>
                <a:cubicBezTo>
                  <a:pt x="3452984" y="4409373"/>
                  <a:pt x="3377757" y="4375552"/>
                  <a:pt x="3295240" y="4375552"/>
                </a:cubicBezTo>
                <a:close/>
                <a:moveTo>
                  <a:pt x="4369128" y="4374094"/>
                </a:moveTo>
                <a:cubicBezTo>
                  <a:pt x="4326849" y="4374094"/>
                  <a:pt x="4288652" y="4383423"/>
                  <a:pt x="4254537" y="4402667"/>
                </a:cubicBezTo>
                <a:cubicBezTo>
                  <a:pt x="4220130" y="4421326"/>
                  <a:pt x="4193597" y="4448442"/>
                  <a:pt x="4174935" y="4483721"/>
                </a:cubicBezTo>
                <a:cubicBezTo>
                  <a:pt x="4156274" y="4518999"/>
                  <a:pt x="4146944" y="4555736"/>
                  <a:pt x="4146944" y="4593639"/>
                </a:cubicBezTo>
                <a:cubicBezTo>
                  <a:pt x="4146944" y="4643205"/>
                  <a:pt x="4156274" y="4685189"/>
                  <a:pt x="4174935" y="4719594"/>
                </a:cubicBezTo>
                <a:cubicBezTo>
                  <a:pt x="4193597" y="4753998"/>
                  <a:pt x="4221005" y="4780238"/>
                  <a:pt x="4256869" y="4798023"/>
                </a:cubicBezTo>
                <a:cubicBezTo>
                  <a:pt x="4292734" y="4815809"/>
                  <a:pt x="4330347" y="4824847"/>
                  <a:pt x="4370002" y="4824847"/>
                </a:cubicBezTo>
                <a:cubicBezTo>
                  <a:pt x="4434150" y="4824847"/>
                  <a:pt x="4486926" y="4803272"/>
                  <a:pt x="4529205" y="4760412"/>
                </a:cubicBezTo>
                <a:cubicBezTo>
                  <a:pt x="4571484" y="4717553"/>
                  <a:pt x="4592478" y="4663614"/>
                  <a:pt x="4592478" y="4598304"/>
                </a:cubicBezTo>
                <a:cubicBezTo>
                  <a:pt x="4592478" y="4533577"/>
                  <a:pt x="4571484" y="4479930"/>
                  <a:pt x="4529788" y="4437654"/>
                </a:cubicBezTo>
                <a:cubicBezTo>
                  <a:pt x="4488092" y="4395378"/>
                  <a:pt x="4434442" y="4374094"/>
                  <a:pt x="4369128" y="4374094"/>
                </a:cubicBezTo>
                <a:close/>
                <a:moveTo>
                  <a:pt x="5366331" y="4312574"/>
                </a:moveTo>
                <a:cubicBezTo>
                  <a:pt x="5401028" y="4312574"/>
                  <a:pt x="5430186" y="4321029"/>
                  <a:pt x="5453221" y="4337940"/>
                </a:cubicBezTo>
                <a:lnTo>
                  <a:pt x="5455785" y="4340581"/>
                </a:lnTo>
                <a:lnTo>
                  <a:pt x="5410884" y="4495966"/>
                </a:lnTo>
                <a:lnTo>
                  <a:pt x="5368372" y="4495966"/>
                </a:lnTo>
                <a:lnTo>
                  <a:pt x="5368372" y="4596263"/>
                </a:lnTo>
                <a:lnTo>
                  <a:pt x="5381902" y="4596263"/>
                </a:lnTo>
                <a:lnTo>
                  <a:pt x="5346461" y="4718911"/>
                </a:lnTo>
                <a:lnTo>
                  <a:pt x="5296024" y="4709207"/>
                </a:lnTo>
                <a:cubicBezTo>
                  <a:pt x="5275431" y="4700351"/>
                  <a:pt x="5257280" y="4687085"/>
                  <a:pt x="5241534" y="4669445"/>
                </a:cubicBezTo>
                <a:cubicBezTo>
                  <a:pt x="5210044" y="4634166"/>
                  <a:pt x="5194298" y="4581102"/>
                  <a:pt x="5194298" y="4510544"/>
                </a:cubicBezTo>
                <a:cubicBezTo>
                  <a:pt x="5194298" y="4444943"/>
                  <a:pt x="5210044" y="4395669"/>
                  <a:pt x="5240951" y="4362431"/>
                </a:cubicBezTo>
                <a:cubicBezTo>
                  <a:pt x="5271859" y="4329193"/>
                  <a:pt x="5313846" y="4312574"/>
                  <a:pt x="5366331" y="4312574"/>
                </a:cubicBezTo>
                <a:close/>
                <a:moveTo>
                  <a:pt x="3701993" y="4219566"/>
                </a:moveTo>
                <a:lnTo>
                  <a:pt x="3920386" y="4564191"/>
                </a:lnTo>
                <a:lnTo>
                  <a:pt x="3920386" y="4814642"/>
                </a:lnTo>
                <a:lnTo>
                  <a:pt x="4040226" y="4814642"/>
                </a:lnTo>
                <a:lnTo>
                  <a:pt x="4040226" y="4565066"/>
                </a:lnTo>
                <a:lnTo>
                  <a:pt x="4259202" y="4219858"/>
                </a:lnTo>
                <a:lnTo>
                  <a:pt x="4120410" y="4219858"/>
                </a:lnTo>
                <a:lnTo>
                  <a:pt x="3983076" y="4455148"/>
                </a:lnTo>
                <a:lnTo>
                  <a:pt x="3842826" y="4219858"/>
                </a:lnTo>
                <a:lnTo>
                  <a:pt x="3842826" y="4219566"/>
                </a:lnTo>
                <a:lnTo>
                  <a:pt x="3701993" y="4219566"/>
                </a:lnTo>
                <a:close/>
                <a:moveTo>
                  <a:pt x="3112711" y="2062597"/>
                </a:moveTo>
                <a:lnTo>
                  <a:pt x="3112711" y="3855407"/>
                </a:lnTo>
                <a:lnTo>
                  <a:pt x="4592478" y="3855407"/>
                </a:lnTo>
                <a:lnTo>
                  <a:pt x="4592478" y="3361794"/>
                </a:lnTo>
                <a:lnTo>
                  <a:pt x="3710741" y="3361794"/>
                </a:lnTo>
                <a:lnTo>
                  <a:pt x="3710741" y="2062597"/>
                </a:lnTo>
                <a:lnTo>
                  <a:pt x="3112711" y="2062597"/>
                </a:lnTo>
                <a:close/>
                <a:moveTo>
                  <a:pt x="9524550" y="2061139"/>
                </a:moveTo>
                <a:lnTo>
                  <a:pt x="10233964" y="2062014"/>
                </a:lnTo>
                <a:lnTo>
                  <a:pt x="10261664" y="2062014"/>
                </a:lnTo>
                <a:lnTo>
                  <a:pt x="9436493" y="2879843"/>
                </a:lnTo>
                <a:lnTo>
                  <a:pt x="10344472" y="3856281"/>
                </a:lnTo>
                <a:lnTo>
                  <a:pt x="10330185" y="3856281"/>
                </a:lnTo>
                <a:lnTo>
                  <a:pt x="9609108" y="3856573"/>
                </a:lnTo>
                <a:cubicBezTo>
                  <a:pt x="9599778" y="3856573"/>
                  <a:pt x="9593654" y="3853949"/>
                  <a:pt x="9587239" y="3846660"/>
                </a:cubicBezTo>
                <a:lnTo>
                  <a:pt x="9072309" y="3253041"/>
                </a:lnTo>
                <a:lnTo>
                  <a:pt x="8965591" y="3130294"/>
                </a:lnTo>
                <a:cubicBezTo>
                  <a:pt x="8962092" y="3126504"/>
                  <a:pt x="8958593" y="3122713"/>
                  <a:pt x="8952470" y="3115424"/>
                </a:cubicBezTo>
                <a:lnTo>
                  <a:pt x="8952470" y="3855407"/>
                </a:lnTo>
                <a:lnTo>
                  <a:pt x="8352982" y="3855407"/>
                </a:lnTo>
                <a:lnTo>
                  <a:pt x="8352982" y="2062888"/>
                </a:lnTo>
                <a:lnTo>
                  <a:pt x="8951595" y="2062888"/>
                </a:lnTo>
                <a:lnTo>
                  <a:pt x="8951595" y="2618604"/>
                </a:lnTo>
                <a:cubicBezTo>
                  <a:pt x="8966466" y="2603443"/>
                  <a:pt x="8978712" y="2591489"/>
                  <a:pt x="8990667" y="2579243"/>
                </a:cubicBezTo>
                <a:lnTo>
                  <a:pt x="9449030" y="2093211"/>
                </a:lnTo>
                <a:cubicBezTo>
                  <a:pt x="9471191" y="2069594"/>
                  <a:pt x="9492476" y="2060847"/>
                  <a:pt x="9524550" y="2061139"/>
                </a:cubicBezTo>
                <a:close/>
                <a:moveTo>
                  <a:pt x="5280607" y="2061139"/>
                </a:moveTo>
                <a:cubicBezTo>
                  <a:pt x="5269527" y="2061139"/>
                  <a:pt x="5266902" y="2066387"/>
                  <a:pt x="5264570" y="2074842"/>
                </a:cubicBezTo>
                <a:lnTo>
                  <a:pt x="5094870" y="2664671"/>
                </a:lnTo>
                <a:lnTo>
                  <a:pt x="4793085" y="3709043"/>
                </a:lnTo>
                <a:cubicBezTo>
                  <a:pt x="4779089" y="3757734"/>
                  <a:pt x="4765093" y="3806133"/>
                  <a:pt x="4750806" y="3855698"/>
                </a:cubicBezTo>
                <a:lnTo>
                  <a:pt x="5353501" y="3855698"/>
                </a:lnTo>
                <a:lnTo>
                  <a:pt x="5871347" y="2062305"/>
                </a:lnTo>
                <a:cubicBezTo>
                  <a:pt x="5866099" y="2062014"/>
                  <a:pt x="5862600" y="2061431"/>
                  <a:pt x="5859392" y="2061431"/>
                </a:cubicBezTo>
                <a:lnTo>
                  <a:pt x="5280607" y="2061139"/>
                </a:lnTo>
                <a:close/>
                <a:moveTo>
                  <a:pt x="0" y="0"/>
                </a:moveTo>
                <a:lnTo>
                  <a:pt x="6707236" y="0"/>
                </a:lnTo>
                <a:lnTo>
                  <a:pt x="6114289" y="2060916"/>
                </a:lnTo>
                <a:lnTo>
                  <a:pt x="6560000" y="2061141"/>
                </a:lnTo>
                <a:lnTo>
                  <a:pt x="6564947" y="2061503"/>
                </a:lnTo>
                <a:lnTo>
                  <a:pt x="6705555" y="2061431"/>
                </a:lnTo>
                <a:cubicBezTo>
                  <a:pt x="6716052" y="2061431"/>
                  <a:pt x="6721592" y="2064055"/>
                  <a:pt x="6726841" y="2073677"/>
                </a:cubicBezTo>
                <a:lnTo>
                  <a:pt x="7211738" y="2996759"/>
                </a:lnTo>
                <a:lnTo>
                  <a:pt x="7282883" y="3131461"/>
                </a:lnTo>
                <a:lnTo>
                  <a:pt x="7292797" y="3150121"/>
                </a:lnTo>
                <a:cubicBezTo>
                  <a:pt x="7297462" y="3133502"/>
                  <a:pt x="7300961" y="3120965"/>
                  <a:pt x="7304460" y="3108136"/>
                </a:cubicBezTo>
                <a:lnTo>
                  <a:pt x="7479700" y="2453581"/>
                </a:lnTo>
                <a:cubicBezTo>
                  <a:pt x="7513231" y="2328210"/>
                  <a:pt x="7547055" y="2202838"/>
                  <a:pt x="7580003" y="2077467"/>
                </a:cubicBezTo>
                <a:cubicBezTo>
                  <a:pt x="7583211" y="2065513"/>
                  <a:pt x="7587876" y="2060848"/>
                  <a:pt x="7601288" y="2060848"/>
                </a:cubicBezTo>
                <a:lnTo>
                  <a:pt x="8180074" y="2061140"/>
                </a:lnTo>
                <a:lnTo>
                  <a:pt x="8198153" y="2061140"/>
                </a:lnTo>
                <a:lnTo>
                  <a:pt x="7679140" y="3855699"/>
                </a:lnTo>
                <a:lnTo>
                  <a:pt x="7661354" y="3855699"/>
                </a:lnTo>
                <a:lnTo>
                  <a:pt x="7081110" y="3855990"/>
                </a:lnTo>
                <a:cubicBezTo>
                  <a:pt x="7067989" y="3855990"/>
                  <a:pt x="7061866" y="3851908"/>
                  <a:pt x="7055743" y="3840829"/>
                </a:cubicBezTo>
                <a:lnTo>
                  <a:pt x="6762997" y="3290070"/>
                </a:lnTo>
                <a:lnTo>
                  <a:pt x="6497367" y="2790626"/>
                </a:lnTo>
                <a:cubicBezTo>
                  <a:pt x="6495326" y="2786835"/>
                  <a:pt x="6492994" y="2783337"/>
                  <a:pt x="6488620" y="2776339"/>
                </a:cubicBezTo>
                <a:lnTo>
                  <a:pt x="6200539" y="3864641"/>
                </a:lnTo>
                <a:lnTo>
                  <a:pt x="5594353" y="3861048"/>
                </a:lnTo>
                <a:lnTo>
                  <a:pt x="5487296" y="4231534"/>
                </a:lnTo>
                <a:lnTo>
                  <a:pt x="5465213" y="4221243"/>
                </a:lnTo>
                <a:cubicBezTo>
                  <a:pt x="5436310" y="4213516"/>
                  <a:pt x="5403362" y="4209653"/>
                  <a:pt x="5366331" y="4209653"/>
                </a:cubicBezTo>
                <a:cubicBezTo>
                  <a:pt x="5309473" y="4209653"/>
                  <a:pt x="5261945" y="4219566"/>
                  <a:pt x="5224040" y="4239684"/>
                </a:cubicBezTo>
                <a:cubicBezTo>
                  <a:pt x="5173888" y="4265341"/>
                  <a:pt x="5135691" y="4302369"/>
                  <a:pt x="5109740" y="4350477"/>
                </a:cubicBezTo>
                <a:cubicBezTo>
                  <a:pt x="5083790" y="4398585"/>
                  <a:pt x="5070669" y="4453690"/>
                  <a:pt x="5070669" y="4515501"/>
                </a:cubicBezTo>
                <a:cubicBezTo>
                  <a:pt x="5070669" y="4572647"/>
                  <a:pt x="5082332" y="4625419"/>
                  <a:pt x="5105658" y="4674110"/>
                </a:cubicBezTo>
                <a:cubicBezTo>
                  <a:pt x="5128985" y="4722801"/>
                  <a:pt x="5163683" y="4759829"/>
                  <a:pt x="5210044" y="4786070"/>
                </a:cubicBezTo>
                <a:cubicBezTo>
                  <a:pt x="5233225" y="4799044"/>
                  <a:pt x="5258374" y="4808811"/>
                  <a:pt x="5285527" y="4815335"/>
                </a:cubicBezTo>
                <a:lnTo>
                  <a:pt x="5317561" y="4818924"/>
                </a:lnTo>
                <a:lnTo>
                  <a:pt x="4728343" y="6858000"/>
                </a:lnTo>
                <a:lnTo>
                  <a:pt x="0" y="6858000"/>
                </a:lnTo>
                <a:lnTo>
                  <a:pt x="0" y="0"/>
                </a:lnTo>
                <a:close/>
              </a:path>
            </a:pathLst>
          </a:custGeom>
          <a:solidFill>
            <a:schemeClr val="accent1">
              <a:lumMod val="20000"/>
              <a:lumOff val="80000"/>
            </a:schemeClr>
          </a:solidFill>
          <a:ln>
            <a:noFill/>
          </a:ln>
        </p:spPr>
        <p:txBody>
          <a:bodyPr wrap="square">
            <a:noAutofit/>
          </a:bodyPr>
          <a:lstStyle/>
          <a:p>
            <a:r>
              <a:rPr lang="de-DE"/>
              <a:t>Bild durch Klicken auf Symbol hinzufügen</a:t>
            </a:r>
          </a:p>
        </p:txBody>
      </p:sp>
    </p:spTree>
    <p:extLst>
      <p:ext uri="{BB962C8B-B14F-4D97-AF65-F5344CB8AC3E}">
        <p14:creationId xmlns:p14="http://schemas.microsoft.com/office/powerpoint/2010/main" val="2284985334"/>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Zwischenfolie_schräges Bi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4A61C14-5B85-DB4A-9912-186FFB04394F}"/>
              </a:ext>
            </a:extLst>
          </p:cNvPr>
          <p:cNvSpPr>
            <a:spLocks noGrp="1"/>
          </p:cNvSpPr>
          <p:nvPr>
            <p:ph type="body" sz="quarter" idx="14" hasCustomPrompt="1"/>
          </p:nvPr>
        </p:nvSpPr>
        <p:spPr>
          <a:xfrm>
            <a:off x="9010506" y="2260739"/>
            <a:ext cx="2516076" cy="2160204"/>
          </a:xfrm>
          <a:prstGeom prst="rect">
            <a:avLst/>
          </a:prstGeom>
        </p:spPr>
        <p:txBody>
          <a:bodyPr anchor="ctr"/>
          <a:lstStyle>
            <a:lvl1pPr algn="ctr">
              <a:defRPr sz="10715">
                <a:solidFill>
                  <a:schemeClr val="accent2"/>
                </a:solidFill>
              </a:defRPr>
            </a:lvl1pPr>
          </a:lstStyle>
          <a:p>
            <a:pPr lvl="0"/>
            <a:r>
              <a:rPr lang="en-GB"/>
              <a:t>01</a:t>
            </a:r>
            <a:endParaRPr lang="x-none"/>
          </a:p>
        </p:txBody>
      </p:sp>
      <p:sp>
        <p:nvSpPr>
          <p:cNvPr id="16" name="Bildplatzhalter 15">
            <a:extLst>
              <a:ext uri="{FF2B5EF4-FFF2-40B4-BE49-F238E27FC236}">
                <a16:creationId xmlns:a16="http://schemas.microsoft.com/office/drawing/2014/main" id="{6109F7D5-98B7-4185-B614-F4F63E3B877B}"/>
              </a:ext>
            </a:extLst>
          </p:cNvPr>
          <p:cNvSpPr>
            <a:spLocks noGrp="1"/>
          </p:cNvSpPr>
          <p:nvPr>
            <p:ph type="pic" sz="quarter" idx="15"/>
          </p:nvPr>
        </p:nvSpPr>
        <p:spPr>
          <a:xfrm>
            <a:off x="-1" y="0"/>
            <a:ext cx="9432000" cy="6858000"/>
          </a:xfrm>
          <a:custGeom>
            <a:avLst/>
            <a:gdLst>
              <a:gd name="connsiteX0" fmla="*/ 941697 w 9436231"/>
              <a:gd name="connsiteY0" fmla="*/ 0 h 6859309"/>
              <a:gd name="connsiteX1" fmla="*/ 9436231 w 9436231"/>
              <a:gd name="connsiteY1" fmla="*/ 0 h 6859309"/>
              <a:gd name="connsiteX2" fmla="*/ 7589788 w 9436231"/>
              <a:gd name="connsiteY2" fmla="*/ 6859309 h 6859309"/>
              <a:gd name="connsiteX3" fmla="*/ 0 w 9436231"/>
              <a:gd name="connsiteY3" fmla="*/ 6859309 h 6859309"/>
              <a:gd name="connsiteX4" fmla="*/ 0 w 9436231"/>
              <a:gd name="connsiteY4" fmla="*/ 3437433 h 6859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6231" h="6859309">
                <a:moveTo>
                  <a:pt x="941697" y="0"/>
                </a:moveTo>
                <a:lnTo>
                  <a:pt x="9436231" y="0"/>
                </a:lnTo>
                <a:lnTo>
                  <a:pt x="7589788" y="6859309"/>
                </a:lnTo>
                <a:lnTo>
                  <a:pt x="0" y="6859309"/>
                </a:lnTo>
                <a:lnTo>
                  <a:pt x="0" y="3437433"/>
                </a:lnTo>
                <a:close/>
              </a:path>
            </a:pathLst>
          </a:custGeom>
        </p:spPr>
        <p:txBody>
          <a:bodyPr wrap="square">
            <a:noAutofit/>
          </a:bodyPr>
          <a:lstStyle/>
          <a:p>
            <a:r>
              <a:rPr lang="de-DE"/>
              <a:t>Bild durch Klicken auf Symbol hinzufügen</a:t>
            </a:r>
            <a:endParaRPr lang="x-none"/>
          </a:p>
        </p:txBody>
      </p:sp>
      <p:sp>
        <p:nvSpPr>
          <p:cNvPr id="7" name="Title 11">
            <a:extLst>
              <a:ext uri="{FF2B5EF4-FFF2-40B4-BE49-F238E27FC236}">
                <a16:creationId xmlns:a16="http://schemas.microsoft.com/office/drawing/2014/main" id="{29A3C6ED-35DE-A043-B5FF-D5744F374F3C}"/>
              </a:ext>
            </a:extLst>
          </p:cNvPr>
          <p:cNvSpPr>
            <a:spLocks noGrp="1"/>
          </p:cNvSpPr>
          <p:nvPr>
            <p:ph type="title" hasCustomPrompt="1"/>
          </p:nvPr>
        </p:nvSpPr>
        <p:spPr>
          <a:xfrm>
            <a:off x="8359110" y="4437112"/>
            <a:ext cx="3647949" cy="515393"/>
          </a:xfrm>
          <a:prstGeom prst="rect">
            <a:avLst/>
          </a:prstGeom>
        </p:spPr>
        <p:txBody>
          <a:bodyPr anchor="b"/>
          <a:lstStyle>
            <a:lvl1pPr>
              <a:defRPr sz="2000" b="1">
                <a:solidFill>
                  <a:schemeClr val="tx1">
                    <a:lumMod val="50000"/>
                  </a:schemeClr>
                </a:solidFill>
              </a:defRPr>
            </a:lvl1pPr>
          </a:lstStyle>
          <a:p>
            <a:r>
              <a:rPr lang="en-GB" dirty="0" err="1"/>
              <a:t>Zwischentitel</a:t>
            </a:r>
            <a:endParaRPr lang="x-none" dirty="0"/>
          </a:p>
        </p:txBody>
      </p:sp>
      <p:sp>
        <p:nvSpPr>
          <p:cNvPr id="8" name="Textplatzhalter 7">
            <a:extLst>
              <a:ext uri="{FF2B5EF4-FFF2-40B4-BE49-F238E27FC236}">
                <a16:creationId xmlns:a16="http://schemas.microsoft.com/office/drawing/2014/main" id="{BAB4F588-57B0-7144-AA4C-524B6EA7ED03}"/>
              </a:ext>
            </a:extLst>
          </p:cNvPr>
          <p:cNvSpPr>
            <a:spLocks noGrp="1"/>
          </p:cNvSpPr>
          <p:nvPr>
            <p:ph type="body" sz="quarter" idx="13" hasCustomPrompt="1"/>
          </p:nvPr>
        </p:nvSpPr>
        <p:spPr>
          <a:xfrm>
            <a:off x="8359109" y="5013176"/>
            <a:ext cx="3647949" cy="964136"/>
          </a:xfrm>
          <a:prstGeom prst="rect">
            <a:avLst/>
          </a:prstGeom>
        </p:spPr>
        <p:txBody>
          <a:bodyPr anchor="t">
            <a:normAutofit/>
          </a:bodyPr>
          <a:lstStyle>
            <a:lvl1pPr>
              <a:defRPr sz="1429" baseline="0">
                <a:solidFill>
                  <a:schemeClr val="tx1">
                    <a:lumMod val="50000"/>
                  </a:schemeClr>
                </a:solidFill>
              </a:defRPr>
            </a:lvl1pPr>
          </a:lstStyle>
          <a:p>
            <a:pPr lvl="0"/>
            <a:r>
              <a:rPr lang="en-US" noProof="0" dirty="0" err="1"/>
              <a:t>Beschreibung</a:t>
            </a:r>
            <a:r>
              <a:rPr lang="en-US" noProof="0" dirty="0"/>
              <a:t> </a:t>
            </a:r>
            <a:r>
              <a:rPr lang="en-US" noProof="0" dirty="0" err="1"/>
              <a:t>Zwischenkapitel</a:t>
            </a:r>
            <a:endParaRPr lang="en-US" noProof="0" dirty="0"/>
          </a:p>
        </p:txBody>
      </p:sp>
      <p:sp>
        <p:nvSpPr>
          <p:cNvPr id="9" name="Bildplatzhalter 3">
            <a:extLst>
              <a:ext uri="{FF2B5EF4-FFF2-40B4-BE49-F238E27FC236}">
                <a16:creationId xmlns:a16="http://schemas.microsoft.com/office/drawing/2014/main" id="{07C16C82-1FFF-4B62-8249-762881019B87}"/>
              </a:ext>
            </a:extLst>
          </p:cNvPr>
          <p:cNvSpPr>
            <a:spLocks noGrp="1"/>
          </p:cNvSpPr>
          <p:nvPr>
            <p:ph type="pic" sz="quarter" idx="23" hasCustomPrompt="1"/>
          </p:nvPr>
        </p:nvSpPr>
        <p:spPr>
          <a:xfrm>
            <a:off x="9006415" y="6114753"/>
            <a:ext cx="1552575" cy="496888"/>
          </a:xfrm>
          <a:prstGeom prst="rect">
            <a:avLst/>
          </a:prstGeom>
        </p:spPr>
        <p:txBody>
          <a:bodyPr/>
          <a:lstStyle>
            <a:lvl1pPr>
              <a:defRPr sz="1400"/>
            </a:lvl1pPr>
          </a:lstStyle>
          <a:p>
            <a:r>
              <a:rPr lang="de-CH" dirty="0"/>
              <a:t>Kundenlogo</a:t>
            </a:r>
          </a:p>
        </p:txBody>
      </p:sp>
      <p:sp>
        <p:nvSpPr>
          <p:cNvPr id="3" name="Text Placeholder 3">
            <a:extLst>
              <a:ext uri="{FF2B5EF4-FFF2-40B4-BE49-F238E27FC236}">
                <a16:creationId xmlns:a16="http://schemas.microsoft.com/office/drawing/2014/main" id="{E595FFEF-A4A2-989D-A3DB-5E05F5E9208D}"/>
              </a:ext>
            </a:extLst>
          </p:cNvPr>
          <p:cNvSpPr>
            <a:spLocks noGrp="1"/>
          </p:cNvSpPr>
          <p:nvPr>
            <p:ph type="body" sz="quarter" idx="24" hasCustomPrompt="1"/>
          </p:nvPr>
        </p:nvSpPr>
        <p:spPr>
          <a:xfrm>
            <a:off x="10800100" y="6220711"/>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24550680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VZ_leer">
    <p:bg>
      <p:bgPr>
        <a:solidFill>
          <a:schemeClr val="bg1"/>
        </a:solidFill>
        <a:effectLst/>
      </p:bgPr>
    </p:bg>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2F8D1B9A-20B2-D546-A411-8EA3FBA3CC41}"/>
              </a:ext>
            </a:extLst>
          </p:cNvPr>
          <p:cNvSpPr>
            <a:spLocks noGrp="1" noChangeAspect="1"/>
          </p:cNvSpPr>
          <p:nvPr>
            <p:ph type="pic" sz="quarter" idx="12"/>
          </p:nvPr>
        </p:nvSpPr>
        <p:spPr>
          <a:xfrm>
            <a:off x="-3883" y="0"/>
            <a:ext cx="7020000" cy="6860990"/>
          </a:xfrm>
          <a:custGeom>
            <a:avLst/>
            <a:gdLst>
              <a:gd name="connsiteX0" fmla="*/ 1310890 w 9823717"/>
              <a:gd name="connsiteY0" fmla="*/ 0 h 9577386"/>
              <a:gd name="connsiteX1" fmla="*/ 9823717 w 9823717"/>
              <a:gd name="connsiteY1" fmla="*/ 0 h 9577386"/>
              <a:gd name="connsiteX2" fmla="*/ 7249529 w 9823717"/>
              <a:gd name="connsiteY2" fmla="*/ 9577386 h 9577386"/>
              <a:gd name="connsiteX3" fmla="*/ 0 w 9823717"/>
              <a:gd name="connsiteY3" fmla="*/ 9577386 h 9577386"/>
              <a:gd name="connsiteX4" fmla="*/ 0 w 9823717"/>
              <a:gd name="connsiteY4" fmla="*/ 4821172 h 9577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23717" h="9577386">
                <a:moveTo>
                  <a:pt x="1310890" y="0"/>
                </a:moveTo>
                <a:lnTo>
                  <a:pt x="9823717" y="0"/>
                </a:lnTo>
                <a:lnTo>
                  <a:pt x="7249529" y="9577386"/>
                </a:lnTo>
                <a:lnTo>
                  <a:pt x="0" y="9577386"/>
                </a:lnTo>
                <a:lnTo>
                  <a:pt x="0" y="4821172"/>
                </a:lnTo>
                <a:close/>
              </a:path>
            </a:pathLst>
          </a:custGeom>
        </p:spPr>
        <p:txBody>
          <a:bodyPr wrap="square">
            <a:noAutofit/>
          </a:bodyPr>
          <a:lstStyle/>
          <a:p>
            <a:r>
              <a:rPr lang="de-DE"/>
              <a:t>Bild durch Klicken auf Symbol hinzufügen</a:t>
            </a:r>
            <a:endParaRPr lang="x-none"/>
          </a:p>
        </p:txBody>
      </p:sp>
      <p:sp>
        <p:nvSpPr>
          <p:cNvPr id="5" name="Title 1">
            <a:extLst>
              <a:ext uri="{FF2B5EF4-FFF2-40B4-BE49-F238E27FC236}">
                <a16:creationId xmlns:a16="http://schemas.microsoft.com/office/drawing/2014/main" id="{308CA94B-8A6D-9D43-8B9C-9B9978053D49}"/>
              </a:ext>
            </a:extLst>
          </p:cNvPr>
          <p:cNvSpPr>
            <a:spLocks noGrp="1"/>
          </p:cNvSpPr>
          <p:nvPr>
            <p:ph type="title" hasCustomPrompt="1"/>
          </p:nvPr>
        </p:nvSpPr>
        <p:spPr>
          <a:xfrm>
            <a:off x="7361584" y="642950"/>
            <a:ext cx="4525616"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Bericht</a:t>
            </a:r>
            <a:endParaRPr lang="de-DE" dirty="0"/>
          </a:p>
        </p:txBody>
      </p:sp>
      <p:sp>
        <p:nvSpPr>
          <p:cNvPr id="10" name="Slide Number Placeholder 3">
            <a:extLst>
              <a:ext uri="{FF2B5EF4-FFF2-40B4-BE49-F238E27FC236}">
                <a16:creationId xmlns:a16="http://schemas.microsoft.com/office/drawing/2014/main" id="{82F64DB9-B56E-2941-8277-8AED61C61249}"/>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2" name="Text Placeholder 3">
            <a:extLst>
              <a:ext uri="{FF2B5EF4-FFF2-40B4-BE49-F238E27FC236}">
                <a16:creationId xmlns:a16="http://schemas.microsoft.com/office/drawing/2014/main" id="{5409D5D3-88D7-632C-D96D-D4296A6EF360}"/>
              </a:ext>
            </a:extLst>
          </p:cNvPr>
          <p:cNvSpPr>
            <a:spLocks noGrp="1"/>
          </p:cNvSpPr>
          <p:nvPr>
            <p:ph type="body" sz="quarter" idx="13" hasCustomPrompt="1"/>
          </p:nvPr>
        </p:nvSpPr>
        <p:spPr>
          <a:xfrm>
            <a:off x="7362048"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35635365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VZ_3_Kapitel">
    <p:bg>
      <p:bgPr>
        <a:solidFill>
          <a:schemeClr val="bg1"/>
        </a:solidFill>
        <a:effectLst/>
      </p:bgPr>
    </p:bg>
    <p:spTree>
      <p:nvGrpSpPr>
        <p:cNvPr id="1" name=""/>
        <p:cNvGrpSpPr/>
        <p:nvPr/>
      </p:nvGrpSpPr>
      <p:grpSpPr>
        <a:xfrm>
          <a:off x="0" y="0"/>
          <a:ext cx="0" cy="0"/>
          <a:chOff x="0" y="0"/>
          <a:chExt cx="0" cy="0"/>
        </a:xfrm>
      </p:grpSpPr>
      <p:sp>
        <p:nvSpPr>
          <p:cNvPr id="51" name="Slide Number Placeholder 3">
            <a:extLst>
              <a:ext uri="{FF2B5EF4-FFF2-40B4-BE49-F238E27FC236}">
                <a16:creationId xmlns:a16="http://schemas.microsoft.com/office/drawing/2014/main" id="{2BC532D3-6D37-404C-A9D9-E69BBE546D05}"/>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52" name="Text Placeholder 2">
            <a:extLst>
              <a:ext uri="{FF2B5EF4-FFF2-40B4-BE49-F238E27FC236}">
                <a16:creationId xmlns:a16="http://schemas.microsoft.com/office/drawing/2014/main" id="{C0233110-11B2-EE4F-8122-487975219D2D}"/>
              </a:ext>
            </a:extLst>
          </p:cNvPr>
          <p:cNvSpPr>
            <a:spLocks noGrp="1"/>
          </p:cNvSpPr>
          <p:nvPr>
            <p:ph type="body" sz="quarter" idx="24" hasCustomPrompt="1"/>
          </p:nvPr>
        </p:nvSpPr>
        <p:spPr>
          <a:xfrm>
            <a:off x="10436062" y="1485255"/>
            <a:ext cx="1165722"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de-CH" noProof="0" dirty="0"/>
              <a:t>Seite XY</a:t>
            </a:r>
          </a:p>
        </p:txBody>
      </p:sp>
      <p:sp>
        <p:nvSpPr>
          <p:cNvPr id="53" name="Text Placeholder 2">
            <a:extLst>
              <a:ext uri="{FF2B5EF4-FFF2-40B4-BE49-F238E27FC236}">
                <a16:creationId xmlns:a16="http://schemas.microsoft.com/office/drawing/2014/main" id="{B95BACE3-1EB9-7744-84CC-71E820D1E851}"/>
              </a:ext>
            </a:extLst>
          </p:cNvPr>
          <p:cNvSpPr>
            <a:spLocks noGrp="1"/>
          </p:cNvSpPr>
          <p:nvPr>
            <p:ph type="body" sz="quarter" idx="25" hasCustomPrompt="1"/>
          </p:nvPr>
        </p:nvSpPr>
        <p:spPr>
          <a:xfrm>
            <a:off x="10083271" y="2798999"/>
            <a:ext cx="1165722"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de-CH" noProof="0"/>
              <a:t>Seite XY</a:t>
            </a:r>
          </a:p>
        </p:txBody>
      </p:sp>
      <p:sp>
        <p:nvSpPr>
          <p:cNvPr id="54" name="Text Placeholder 2">
            <a:extLst>
              <a:ext uri="{FF2B5EF4-FFF2-40B4-BE49-F238E27FC236}">
                <a16:creationId xmlns:a16="http://schemas.microsoft.com/office/drawing/2014/main" id="{1E42D9CC-7492-254A-8B4B-B45629EA0595}"/>
              </a:ext>
            </a:extLst>
          </p:cNvPr>
          <p:cNvSpPr>
            <a:spLocks noGrp="1"/>
          </p:cNvSpPr>
          <p:nvPr>
            <p:ph type="body" sz="quarter" idx="26" hasCustomPrompt="1"/>
          </p:nvPr>
        </p:nvSpPr>
        <p:spPr>
          <a:xfrm>
            <a:off x="9730481" y="4112743"/>
            <a:ext cx="1165722"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de-CH" noProof="0"/>
              <a:t>Seite XY</a:t>
            </a:r>
          </a:p>
        </p:txBody>
      </p:sp>
      <p:sp>
        <p:nvSpPr>
          <p:cNvPr id="28" name="Text Placeholder 2">
            <a:extLst>
              <a:ext uri="{FF2B5EF4-FFF2-40B4-BE49-F238E27FC236}">
                <a16:creationId xmlns:a16="http://schemas.microsoft.com/office/drawing/2014/main" id="{C5111267-742A-354E-ABC5-4A63909C34D3}"/>
              </a:ext>
            </a:extLst>
          </p:cNvPr>
          <p:cNvSpPr>
            <a:spLocks noGrp="1"/>
          </p:cNvSpPr>
          <p:nvPr>
            <p:ph type="body" sz="quarter" idx="14"/>
          </p:nvPr>
        </p:nvSpPr>
        <p:spPr>
          <a:xfrm>
            <a:off x="7096903" y="1485255"/>
            <a:ext cx="3329634"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29" name="Text Placeholder 2">
            <a:extLst>
              <a:ext uri="{FF2B5EF4-FFF2-40B4-BE49-F238E27FC236}">
                <a16:creationId xmlns:a16="http://schemas.microsoft.com/office/drawing/2014/main" id="{A74C6BF3-8FA4-0248-A94E-D9D68C851604}"/>
              </a:ext>
            </a:extLst>
          </p:cNvPr>
          <p:cNvSpPr>
            <a:spLocks noGrp="1"/>
          </p:cNvSpPr>
          <p:nvPr>
            <p:ph type="body" sz="quarter" idx="15"/>
          </p:nvPr>
        </p:nvSpPr>
        <p:spPr>
          <a:xfrm>
            <a:off x="6744401" y="2798999"/>
            <a:ext cx="3329634"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0" name="Text Placeholder 2">
            <a:extLst>
              <a:ext uri="{FF2B5EF4-FFF2-40B4-BE49-F238E27FC236}">
                <a16:creationId xmlns:a16="http://schemas.microsoft.com/office/drawing/2014/main" id="{E309A949-AC62-E048-BB7E-7587547CEB44}"/>
              </a:ext>
            </a:extLst>
          </p:cNvPr>
          <p:cNvSpPr>
            <a:spLocks noGrp="1"/>
          </p:cNvSpPr>
          <p:nvPr>
            <p:ph type="body" sz="quarter" idx="16"/>
          </p:nvPr>
        </p:nvSpPr>
        <p:spPr>
          <a:xfrm>
            <a:off x="6391898" y="4112743"/>
            <a:ext cx="3329634"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3" name="Oval 7">
            <a:extLst>
              <a:ext uri="{FF2B5EF4-FFF2-40B4-BE49-F238E27FC236}">
                <a16:creationId xmlns:a16="http://schemas.microsoft.com/office/drawing/2014/main" id="{722F867A-CC71-8C46-B1A3-37ED76234E1E}"/>
              </a:ext>
            </a:extLst>
          </p:cNvPr>
          <p:cNvSpPr/>
          <p:nvPr userDrawn="1"/>
        </p:nvSpPr>
        <p:spPr>
          <a:xfrm>
            <a:off x="6351542" y="1334941"/>
            <a:ext cx="668646" cy="6686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800" b="1" dirty="0">
                <a:solidFill>
                  <a:schemeClr val="tx1">
                    <a:lumMod val="50000"/>
                  </a:schemeClr>
                </a:solidFill>
                <a:latin typeface="Arial" panose="020B0604020202020204" pitchFamily="34" charset="0"/>
                <a:cs typeface="Arial" panose="020B0604020202020204" pitchFamily="34" charset="0"/>
              </a:rPr>
              <a:t>1</a:t>
            </a:r>
          </a:p>
        </p:txBody>
      </p:sp>
      <p:sp>
        <p:nvSpPr>
          <p:cNvPr id="38" name="Oval 10">
            <a:extLst>
              <a:ext uri="{FF2B5EF4-FFF2-40B4-BE49-F238E27FC236}">
                <a16:creationId xmlns:a16="http://schemas.microsoft.com/office/drawing/2014/main" id="{4A352516-AFC9-1E46-9CDD-403A5765FD21}"/>
              </a:ext>
            </a:extLst>
          </p:cNvPr>
          <p:cNvSpPr/>
          <p:nvPr userDrawn="1"/>
        </p:nvSpPr>
        <p:spPr>
          <a:xfrm>
            <a:off x="5997479" y="2648685"/>
            <a:ext cx="668646" cy="6686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800" b="1" dirty="0">
                <a:solidFill>
                  <a:schemeClr val="tx1">
                    <a:lumMod val="50000"/>
                  </a:schemeClr>
                </a:solidFill>
                <a:latin typeface="Arial" panose="020B0604020202020204" pitchFamily="34" charset="0"/>
                <a:cs typeface="Arial" panose="020B0604020202020204" pitchFamily="34" charset="0"/>
              </a:rPr>
              <a:t>2</a:t>
            </a:r>
          </a:p>
        </p:txBody>
      </p:sp>
      <p:sp>
        <p:nvSpPr>
          <p:cNvPr id="42" name="Oval 13">
            <a:extLst>
              <a:ext uri="{FF2B5EF4-FFF2-40B4-BE49-F238E27FC236}">
                <a16:creationId xmlns:a16="http://schemas.microsoft.com/office/drawing/2014/main" id="{B9BEA92E-A166-724F-8B80-9B8E7754553A}"/>
              </a:ext>
            </a:extLst>
          </p:cNvPr>
          <p:cNvSpPr/>
          <p:nvPr userDrawn="1"/>
        </p:nvSpPr>
        <p:spPr>
          <a:xfrm>
            <a:off x="5643416" y="3962429"/>
            <a:ext cx="668646" cy="6686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800" b="1" dirty="0">
                <a:solidFill>
                  <a:schemeClr val="tx1">
                    <a:lumMod val="50000"/>
                  </a:schemeClr>
                </a:solidFill>
                <a:latin typeface="Arial" panose="020B0604020202020204" pitchFamily="34" charset="0"/>
                <a:cs typeface="Arial" panose="020B0604020202020204" pitchFamily="34" charset="0"/>
              </a:rPr>
              <a:t>3</a:t>
            </a:r>
          </a:p>
        </p:txBody>
      </p:sp>
      <p:sp>
        <p:nvSpPr>
          <p:cNvPr id="43" name="Picture Placeholder 42">
            <a:extLst>
              <a:ext uri="{FF2B5EF4-FFF2-40B4-BE49-F238E27FC236}">
                <a16:creationId xmlns:a16="http://schemas.microsoft.com/office/drawing/2014/main" id="{F6EDB5A3-99E0-4FE2-87EF-610F42C3C73F}"/>
              </a:ext>
            </a:extLst>
          </p:cNvPr>
          <p:cNvSpPr>
            <a:spLocks noGrp="1" noChangeAspect="1"/>
          </p:cNvSpPr>
          <p:nvPr>
            <p:ph type="pic" sz="quarter" idx="12"/>
          </p:nvPr>
        </p:nvSpPr>
        <p:spPr>
          <a:xfrm>
            <a:off x="-3882" y="0"/>
            <a:ext cx="7016941" cy="6858000"/>
          </a:xfrm>
          <a:custGeom>
            <a:avLst/>
            <a:gdLst>
              <a:gd name="connsiteX0" fmla="*/ 936350 w 7016941"/>
              <a:gd name="connsiteY0" fmla="*/ 0 h 6858000"/>
              <a:gd name="connsiteX1" fmla="*/ 7016941 w 7016941"/>
              <a:gd name="connsiteY1" fmla="*/ 0 h 6858000"/>
              <a:gd name="connsiteX2" fmla="*/ 6658175 w 7016941"/>
              <a:gd name="connsiteY2" fmla="*/ 1338124 h 6858000"/>
              <a:gd name="connsiteX3" fmla="*/ 6622370 w 7016941"/>
              <a:gd name="connsiteY3" fmla="*/ 1341734 h 6858000"/>
              <a:gd name="connsiteX4" fmla="*/ 6355424 w 7016941"/>
              <a:gd name="connsiteY4" fmla="*/ 1669264 h 6858000"/>
              <a:gd name="connsiteX5" fmla="*/ 6453345 w 7016941"/>
              <a:gd name="connsiteY5" fmla="*/ 1905666 h 6858000"/>
              <a:gd name="connsiteX6" fmla="*/ 6496471 w 7016941"/>
              <a:gd name="connsiteY6" fmla="*/ 1941248 h 6858000"/>
              <a:gd name="connsiteX7" fmla="*/ 6305997 w 7016941"/>
              <a:gd name="connsiteY7" fmla="*/ 2651678 h 6858000"/>
              <a:gd name="connsiteX8" fmla="*/ 6268307 w 7016941"/>
              <a:gd name="connsiteY8" fmla="*/ 2655478 h 6858000"/>
              <a:gd name="connsiteX9" fmla="*/ 6001361 w 7016941"/>
              <a:gd name="connsiteY9" fmla="*/ 2983008 h 6858000"/>
              <a:gd name="connsiteX10" fmla="*/ 6099282 w 7016941"/>
              <a:gd name="connsiteY10" fmla="*/ 3219410 h 6858000"/>
              <a:gd name="connsiteX11" fmla="*/ 6143910 w 7016941"/>
              <a:gd name="connsiteY11" fmla="*/ 3256231 h 6858000"/>
              <a:gd name="connsiteX12" fmla="*/ 5953819 w 7016941"/>
              <a:gd name="connsiteY12" fmla="*/ 3965232 h 6858000"/>
              <a:gd name="connsiteX13" fmla="*/ 5914244 w 7016941"/>
              <a:gd name="connsiteY13" fmla="*/ 3969221 h 6858000"/>
              <a:gd name="connsiteX14" fmla="*/ 5647298 w 7016941"/>
              <a:gd name="connsiteY14" fmla="*/ 4296752 h 6858000"/>
              <a:gd name="connsiteX15" fmla="*/ 5745219 w 7016941"/>
              <a:gd name="connsiteY15" fmla="*/ 4533154 h 6858000"/>
              <a:gd name="connsiteX16" fmla="*/ 5791348 w 7016941"/>
              <a:gd name="connsiteY16" fmla="*/ 4571214 h 6858000"/>
              <a:gd name="connsiteX17" fmla="*/ 5178235 w 7016941"/>
              <a:gd name="connsiteY17" fmla="*/ 6858000 h 6858000"/>
              <a:gd name="connsiteX18" fmla="*/ 0 w 7016941"/>
              <a:gd name="connsiteY18" fmla="*/ 6858000 h 6858000"/>
              <a:gd name="connsiteX19" fmla="*/ 0 w 7016941"/>
              <a:gd name="connsiteY19" fmla="*/ 34522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016941" h="6858000">
                <a:moveTo>
                  <a:pt x="936350" y="0"/>
                </a:moveTo>
                <a:lnTo>
                  <a:pt x="7016941" y="0"/>
                </a:lnTo>
                <a:lnTo>
                  <a:pt x="6658175" y="1338124"/>
                </a:lnTo>
                <a:lnTo>
                  <a:pt x="6622370" y="1341734"/>
                </a:lnTo>
                <a:cubicBezTo>
                  <a:pt x="6470024" y="1372908"/>
                  <a:pt x="6355424" y="1507703"/>
                  <a:pt x="6355424" y="1669264"/>
                </a:cubicBezTo>
                <a:cubicBezTo>
                  <a:pt x="6355424" y="1761585"/>
                  <a:pt x="6392845" y="1845166"/>
                  <a:pt x="6453345" y="1905666"/>
                </a:cubicBezTo>
                <a:lnTo>
                  <a:pt x="6496471" y="1941248"/>
                </a:lnTo>
                <a:lnTo>
                  <a:pt x="6305997" y="2651678"/>
                </a:lnTo>
                <a:lnTo>
                  <a:pt x="6268307" y="2655478"/>
                </a:lnTo>
                <a:cubicBezTo>
                  <a:pt x="6115962" y="2686652"/>
                  <a:pt x="6001361" y="2821447"/>
                  <a:pt x="6001361" y="2983008"/>
                </a:cubicBezTo>
                <a:cubicBezTo>
                  <a:pt x="6001361" y="3075329"/>
                  <a:pt x="6038782" y="3158910"/>
                  <a:pt x="6099282" y="3219410"/>
                </a:cubicBezTo>
                <a:lnTo>
                  <a:pt x="6143910" y="3256231"/>
                </a:lnTo>
                <a:lnTo>
                  <a:pt x="5953819" y="3965232"/>
                </a:lnTo>
                <a:lnTo>
                  <a:pt x="5914244" y="3969221"/>
                </a:lnTo>
                <a:cubicBezTo>
                  <a:pt x="5761898" y="4000396"/>
                  <a:pt x="5647298" y="4135191"/>
                  <a:pt x="5647298" y="4296752"/>
                </a:cubicBezTo>
                <a:cubicBezTo>
                  <a:pt x="5647298" y="4389073"/>
                  <a:pt x="5684719" y="4472653"/>
                  <a:pt x="5745219" y="4533154"/>
                </a:cubicBezTo>
                <a:lnTo>
                  <a:pt x="5791348" y="4571214"/>
                </a:lnTo>
                <a:lnTo>
                  <a:pt x="5178235" y="6858000"/>
                </a:lnTo>
                <a:lnTo>
                  <a:pt x="0" y="6858000"/>
                </a:lnTo>
                <a:lnTo>
                  <a:pt x="0" y="3452257"/>
                </a:lnTo>
                <a:close/>
              </a:path>
            </a:pathLst>
          </a:custGeom>
        </p:spPr>
        <p:txBody>
          <a:bodyPr wrap="square">
            <a:noAutofit/>
          </a:bodyPr>
          <a:lstStyle/>
          <a:p>
            <a:r>
              <a:rPr lang="de-DE"/>
              <a:t>Bild durch Klicken auf Symbol hinzufügen</a:t>
            </a:r>
            <a:endParaRPr lang="x-none"/>
          </a:p>
        </p:txBody>
      </p:sp>
      <p:sp>
        <p:nvSpPr>
          <p:cNvPr id="3" name="Title 1">
            <a:extLst>
              <a:ext uri="{FF2B5EF4-FFF2-40B4-BE49-F238E27FC236}">
                <a16:creationId xmlns:a16="http://schemas.microsoft.com/office/drawing/2014/main" id="{3FB390B5-ECEC-422A-0D7C-8B8F25BCDDF2}"/>
              </a:ext>
            </a:extLst>
          </p:cNvPr>
          <p:cNvSpPr>
            <a:spLocks noGrp="1"/>
          </p:cNvSpPr>
          <p:nvPr>
            <p:ph type="title" hasCustomPrompt="1"/>
          </p:nvPr>
        </p:nvSpPr>
        <p:spPr>
          <a:xfrm>
            <a:off x="7361584" y="642950"/>
            <a:ext cx="4525616"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Bericht</a:t>
            </a:r>
            <a:endParaRPr lang="de-DE" dirty="0"/>
          </a:p>
        </p:txBody>
      </p:sp>
      <p:sp>
        <p:nvSpPr>
          <p:cNvPr id="4" name="Text Placeholder 3">
            <a:extLst>
              <a:ext uri="{FF2B5EF4-FFF2-40B4-BE49-F238E27FC236}">
                <a16:creationId xmlns:a16="http://schemas.microsoft.com/office/drawing/2014/main" id="{B4CA99DE-161D-D49C-631B-E4BC0163D1AD}"/>
              </a:ext>
            </a:extLst>
          </p:cNvPr>
          <p:cNvSpPr>
            <a:spLocks noGrp="1"/>
          </p:cNvSpPr>
          <p:nvPr>
            <p:ph type="body" sz="quarter" idx="13" hasCustomPrompt="1"/>
          </p:nvPr>
        </p:nvSpPr>
        <p:spPr>
          <a:xfrm>
            <a:off x="7362048"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25894481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IVZ_4_Kapitel">
    <p:bg>
      <p:bgPr>
        <a:solidFill>
          <a:schemeClr val="bg1"/>
        </a:solidFill>
        <a:effectLst/>
      </p:bgPr>
    </p:bg>
    <p:spTree>
      <p:nvGrpSpPr>
        <p:cNvPr id="1" name=""/>
        <p:cNvGrpSpPr/>
        <p:nvPr/>
      </p:nvGrpSpPr>
      <p:grpSpPr>
        <a:xfrm>
          <a:off x="0" y="0"/>
          <a:ext cx="0" cy="0"/>
          <a:chOff x="0" y="0"/>
          <a:chExt cx="0" cy="0"/>
        </a:xfrm>
      </p:grpSpPr>
      <p:sp>
        <p:nvSpPr>
          <p:cNvPr id="31" name="Picture Placeholder 30">
            <a:extLst>
              <a:ext uri="{FF2B5EF4-FFF2-40B4-BE49-F238E27FC236}">
                <a16:creationId xmlns:a16="http://schemas.microsoft.com/office/drawing/2014/main" id="{FADCA3CC-4E98-41A6-BC96-1CF7844F7883}"/>
              </a:ext>
            </a:extLst>
          </p:cNvPr>
          <p:cNvSpPr>
            <a:spLocks noGrp="1" noChangeAspect="1"/>
          </p:cNvSpPr>
          <p:nvPr>
            <p:ph type="pic" sz="quarter" idx="12"/>
          </p:nvPr>
        </p:nvSpPr>
        <p:spPr>
          <a:xfrm>
            <a:off x="-3882" y="0"/>
            <a:ext cx="7016941" cy="6858000"/>
          </a:xfrm>
          <a:custGeom>
            <a:avLst/>
            <a:gdLst>
              <a:gd name="connsiteX0" fmla="*/ 936350 w 7016941"/>
              <a:gd name="connsiteY0" fmla="*/ 0 h 6858000"/>
              <a:gd name="connsiteX1" fmla="*/ 7016941 w 7016941"/>
              <a:gd name="connsiteY1" fmla="*/ 0 h 6858000"/>
              <a:gd name="connsiteX2" fmla="*/ 6658175 w 7016941"/>
              <a:gd name="connsiteY2" fmla="*/ 1338124 h 6858000"/>
              <a:gd name="connsiteX3" fmla="*/ 6622370 w 7016941"/>
              <a:gd name="connsiteY3" fmla="*/ 1341734 h 6858000"/>
              <a:gd name="connsiteX4" fmla="*/ 6355424 w 7016941"/>
              <a:gd name="connsiteY4" fmla="*/ 1669265 h 6858000"/>
              <a:gd name="connsiteX5" fmla="*/ 6453345 w 7016941"/>
              <a:gd name="connsiteY5" fmla="*/ 1905666 h 6858000"/>
              <a:gd name="connsiteX6" fmla="*/ 6496471 w 7016941"/>
              <a:gd name="connsiteY6" fmla="*/ 1941248 h 6858000"/>
              <a:gd name="connsiteX7" fmla="*/ 6305997 w 7016941"/>
              <a:gd name="connsiteY7" fmla="*/ 2651678 h 6858000"/>
              <a:gd name="connsiteX8" fmla="*/ 6268307 w 7016941"/>
              <a:gd name="connsiteY8" fmla="*/ 2655478 h 6858000"/>
              <a:gd name="connsiteX9" fmla="*/ 6001361 w 7016941"/>
              <a:gd name="connsiteY9" fmla="*/ 2983008 h 6858000"/>
              <a:gd name="connsiteX10" fmla="*/ 6099282 w 7016941"/>
              <a:gd name="connsiteY10" fmla="*/ 3219410 h 6858000"/>
              <a:gd name="connsiteX11" fmla="*/ 6143910 w 7016941"/>
              <a:gd name="connsiteY11" fmla="*/ 3256231 h 6858000"/>
              <a:gd name="connsiteX12" fmla="*/ 5953819 w 7016941"/>
              <a:gd name="connsiteY12" fmla="*/ 3965232 h 6858000"/>
              <a:gd name="connsiteX13" fmla="*/ 5914244 w 7016941"/>
              <a:gd name="connsiteY13" fmla="*/ 3969221 h 6858000"/>
              <a:gd name="connsiteX14" fmla="*/ 5647298 w 7016941"/>
              <a:gd name="connsiteY14" fmla="*/ 4296752 h 6858000"/>
              <a:gd name="connsiteX15" fmla="*/ 5745219 w 7016941"/>
              <a:gd name="connsiteY15" fmla="*/ 4533154 h 6858000"/>
              <a:gd name="connsiteX16" fmla="*/ 5791348 w 7016941"/>
              <a:gd name="connsiteY16" fmla="*/ 4571214 h 6858000"/>
              <a:gd name="connsiteX17" fmla="*/ 5601641 w 7016941"/>
              <a:gd name="connsiteY17" fmla="*/ 5278785 h 6858000"/>
              <a:gd name="connsiteX18" fmla="*/ 5560181 w 7016941"/>
              <a:gd name="connsiteY18" fmla="*/ 5282965 h 6858000"/>
              <a:gd name="connsiteX19" fmla="*/ 5293235 w 7016941"/>
              <a:gd name="connsiteY19" fmla="*/ 5610495 h 6858000"/>
              <a:gd name="connsiteX20" fmla="*/ 5391156 w 7016941"/>
              <a:gd name="connsiteY20" fmla="*/ 5846897 h 6858000"/>
              <a:gd name="connsiteX21" fmla="*/ 5438787 w 7016941"/>
              <a:gd name="connsiteY21" fmla="*/ 5886196 h 6858000"/>
              <a:gd name="connsiteX22" fmla="*/ 5178235 w 7016941"/>
              <a:gd name="connsiteY22" fmla="*/ 6858000 h 6858000"/>
              <a:gd name="connsiteX23" fmla="*/ 0 w 7016941"/>
              <a:gd name="connsiteY23" fmla="*/ 6858000 h 6858000"/>
              <a:gd name="connsiteX24" fmla="*/ 0 w 7016941"/>
              <a:gd name="connsiteY24" fmla="*/ 34522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016941" h="6858000">
                <a:moveTo>
                  <a:pt x="936350" y="0"/>
                </a:moveTo>
                <a:lnTo>
                  <a:pt x="7016941" y="0"/>
                </a:lnTo>
                <a:lnTo>
                  <a:pt x="6658175" y="1338124"/>
                </a:lnTo>
                <a:lnTo>
                  <a:pt x="6622370" y="1341734"/>
                </a:lnTo>
                <a:cubicBezTo>
                  <a:pt x="6470024" y="1372908"/>
                  <a:pt x="6355424" y="1507704"/>
                  <a:pt x="6355424" y="1669265"/>
                </a:cubicBezTo>
                <a:cubicBezTo>
                  <a:pt x="6355424" y="1761585"/>
                  <a:pt x="6392845" y="1845166"/>
                  <a:pt x="6453345" y="1905666"/>
                </a:cubicBezTo>
                <a:lnTo>
                  <a:pt x="6496471" y="1941248"/>
                </a:lnTo>
                <a:lnTo>
                  <a:pt x="6305997" y="2651678"/>
                </a:lnTo>
                <a:lnTo>
                  <a:pt x="6268307" y="2655478"/>
                </a:lnTo>
                <a:cubicBezTo>
                  <a:pt x="6115962" y="2686652"/>
                  <a:pt x="6001361" y="2821447"/>
                  <a:pt x="6001361" y="2983008"/>
                </a:cubicBezTo>
                <a:cubicBezTo>
                  <a:pt x="6001361" y="3075329"/>
                  <a:pt x="6038782" y="3158910"/>
                  <a:pt x="6099282" y="3219410"/>
                </a:cubicBezTo>
                <a:lnTo>
                  <a:pt x="6143910" y="3256231"/>
                </a:lnTo>
                <a:lnTo>
                  <a:pt x="5953819" y="3965232"/>
                </a:lnTo>
                <a:lnTo>
                  <a:pt x="5914244" y="3969221"/>
                </a:lnTo>
                <a:cubicBezTo>
                  <a:pt x="5761898" y="4000396"/>
                  <a:pt x="5647298" y="4135191"/>
                  <a:pt x="5647298" y="4296752"/>
                </a:cubicBezTo>
                <a:cubicBezTo>
                  <a:pt x="5647298" y="4389073"/>
                  <a:pt x="5684719" y="4472653"/>
                  <a:pt x="5745219" y="4533154"/>
                </a:cubicBezTo>
                <a:lnTo>
                  <a:pt x="5791348" y="4571214"/>
                </a:lnTo>
                <a:lnTo>
                  <a:pt x="5601641" y="5278785"/>
                </a:lnTo>
                <a:lnTo>
                  <a:pt x="5560181" y="5282965"/>
                </a:lnTo>
                <a:cubicBezTo>
                  <a:pt x="5407836" y="5314139"/>
                  <a:pt x="5293235" y="5448934"/>
                  <a:pt x="5293235" y="5610495"/>
                </a:cubicBezTo>
                <a:cubicBezTo>
                  <a:pt x="5293235" y="5702816"/>
                  <a:pt x="5330656" y="5786397"/>
                  <a:pt x="5391156" y="5846897"/>
                </a:cubicBezTo>
                <a:lnTo>
                  <a:pt x="5438787" y="5886196"/>
                </a:lnTo>
                <a:lnTo>
                  <a:pt x="5178235" y="6858000"/>
                </a:lnTo>
                <a:lnTo>
                  <a:pt x="0" y="6858000"/>
                </a:lnTo>
                <a:lnTo>
                  <a:pt x="0" y="3452257"/>
                </a:lnTo>
                <a:close/>
              </a:path>
            </a:pathLst>
          </a:custGeom>
        </p:spPr>
        <p:txBody>
          <a:bodyPr wrap="square">
            <a:noAutofit/>
          </a:bodyPr>
          <a:lstStyle/>
          <a:p>
            <a:r>
              <a:rPr lang="de-DE"/>
              <a:t>Bild durch Klicken auf Symbol hinzufügen</a:t>
            </a:r>
            <a:endParaRPr lang="x-none"/>
          </a:p>
        </p:txBody>
      </p:sp>
      <p:sp>
        <p:nvSpPr>
          <p:cNvPr id="49" name="Oval 19">
            <a:extLst>
              <a:ext uri="{FF2B5EF4-FFF2-40B4-BE49-F238E27FC236}">
                <a16:creationId xmlns:a16="http://schemas.microsoft.com/office/drawing/2014/main" id="{A066F553-225B-3445-B396-C10509B5B9BE}"/>
              </a:ext>
            </a:extLst>
          </p:cNvPr>
          <p:cNvSpPr/>
          <p:nvPr userDrawn="1"/>
        </p:nvSpPr>
        <p:spPr>
          <a:xfrm>
            <a:off x="5289353" y="5276172"/>
            <a:ext cx="668646" cy="6686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800" b="1" dirty="0">
                <a:solidFill>
                  <a:schemeClr val="tx1">
                    <a:lumMod val="50000"/>
                  </a:schemeClr>
                </a:solidFill>
                <a:latin typeface="Arial" panose="020B0604020202020204" pitchFamily="34" charset="0"/>
                <a:cs typeface="Arial" panose="020B0604020202020204" pitchFamily="34" charset="0"/>
              </a:rPr>
              <a:t>4</a:t>
            </a:r>
            <a:endParaRPr lang="x-none" sz="2800" b="1" dirty="0">
              <a:solidFill>
                <a:schemeClr val="tx1">
                  <a:lumMod val="50000"/>
                </a:schemeClr>
              </a:solidFill>
              <a:latin typeface="Arial" panose="020B0604020202020204" pitchFamily="34" charset="0"/>
              <a:cs typeface="Arial" panose="020B0604020202020204" pitchFamily="34" charset="0"/>
            </a:endParaRPr>
          </a:p>
        </p:txBody>
      </p:sp>
      <p:sp>
        <p:nvSpPr>
          <p:cNvPr id="51" name="Slide Number Placeholder 3">
            <a:extLst>
              <a:ext uri="{FF2B5EF4-FFF2-40B4-BE49-F238E27FC236}">
                <a16:creationId xmlns:a16="http://schemas.microsoft.com/office/drawing/2014/main" id="{2BC532D3-6D37-404C-A9D9-E69BBE546D05}"/>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52" name="Text Placeholder 2">
            <a:extLst>
              <a:ext uri="{FF2B5EF4-FFF2-40B4-BE49-F238E27FC236}">
                <a16:creationId xmlns:a16="http://schemas.microsoft.com/office/drawing/2014/main" id="{C0233110-11B2-EE4F-8122-487975219D2D}"/>
              </a:ext>
            </a:extLst>
          </p:cNvPr>
          <p:cNvSpPr>
            <a:spLocks noGrp="1"/>
          </p:cNvSpPr>
          <p:nvPr>
            <p:ph type="body" sz="quarter" idx="24" hasCustomPrompt="1"/>
          </p:nvPr>
        </p:nvSpPr>
        <p:spPr>
          <a:xfrm>
            <a:off x="10433657" y="1485255"/>
            <a:ext cx="1165722"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de-CH" noProof="0" dirty="0"/>
              <a:t>Seite XY</a:t>
            </a:r>
          </a:p>
        </p:txBody>
      </p:sp>
      <p:sp>
        <p:nvSpPr>
          <p:cNvPr id="53" name="Text Placeholder 2">
            <a:extLst>
              <a:ext uri="{FF2B5EF4-FFF2-40B4-BE49-F238E27FC236}">
                <a16:creationId xmlns:a16="http://schemas.microsoft.com/office/drawing/2014/main" id="{B95BACE3-1EB9-7744-84CC-71E820D1E851}"/>
              </a:ext>
            </a:extLst>
          </p:cNvPr>
          <p:cNvSpPr>
            <a:spLocks noGrp="1"/>
          </p:cNvSpPr>
          <p:nvPr>
            <p:ph type="body" sz="quarter" idx="25" hasCustomPrompt="1"/>
          </p:nvPr>
        </p:nvSpPr>
        <p:spPr>
          <a:xfrm>
            <a:off x="10082069" y="2798999"/>
            <a:ext cx="1165722"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de-CH" noProof="0"/>
              <a:t>Seite XY</a:t>
            </a:r>
          </a:p>
        </p:txBody>
      </p:sp>
      <p:sp>
        <p:nvSpPr>
          <p:cNvPr id="54" name="Text Placeholder 2">
            <a:extLst>
              <a:ext uri="{FF2B5EF4-FFF2-40B4-BE49-F238E27FC236}">
                <a16:creationId xmlns:a16="http://schemas.microsoft.com/office/drawing/2014/main" id="{1E42D9CC-7492-254A-8B4B-B45629EA0595}"/>
              </a:ext>
            </a:extLst>
          </p:cNvPr>
          <p:cNvSpPr>
            <a:spLocks noGrp="1"/>
          </p:cNvSpPr>
          <p:nvPr>
            <p:ph type="body" sz="quarter" idx="26" hasCustomPrompt="1"/>
          </p:nvPr>
        </p:nvSpPr>
        <p:spPr>
          <a:xfrm>
            <a:off x="9730481" y="4112743"/>
            <a:ext cx="1165722"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de-CH" noProof="0"/>
              <a:t>Seite XY</a:t>
            </a:r>
          </a:p>
        </p:txBody>
      </p:sp>
      <p:sp>
        <p:nvSpPr>
          <p:cNvPr id="56" name="Text Placeholder 2">
            <a:extLst>
              <a:ext uri="{FF2B5EF4-FFF2-40B4-BE49-F238E27FC236}">
                <a16:creationId xmlns:a16="http://schemas.microsoft.com/office/drawing/2014/main" id="{14E9DDF9-78CF-F645-8873-80DD0E24C9F9}"/>
              </a:ext>
            </a:extLst>
          </p:cNvPr>
          <p:cNvSpPr>
            <a:spLocks noGrp="1"/>
          </p:cNvSpPr>
          <p:nvPr>
            <p:ph type="body" sz="quarter" idx="28" hasCustomPrompt="1"/>
          </p:nvPr>
        </p:nvSpPr>
        <p:spPr>
          <a:xfrm>
            <a:off x="9378893" y="5426486"/>
            <a:ext cx="1165722"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de-CH" noProof="0" dirty="0"/>
              <a:t>Seite XY</a:t>
            </a:r>
          </a:p>
        </p:txBody>
      </p:sp>
      <p:sp>
        <p:nvSpPr>
          <p:cNvPr id="28" name="Text Placeholder 2">
            <a:extLst>
              <a:ext uri="{FF2B5EF4-FFF2-40B4-BE49-F238E27FC236}">
                <a16:creationId xmlns:a16="http://schemas.microsoft.com/office/drawing/2014/main" id="{C5111267-742A-354E-ABC5-4A63909C34D3}"/>
              </a:ext>
            </a:extLst>
          </p:cNvPr>
          <p:cNvSpPr>
            <a:spLocks noGrp="1"/>
          </p:cNvSpPr>
          <p:nvPr>
            <p:ph type="body" sz="quarter" idx="14"/>
          </p:nvPr>
        </p:nvSpPr>
        <p:spPr>
          <a:xfrm>
            <a:off x="7096903" y="1485255"/>
            <a:ext cx="3329634"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29" name="Text Placeholder 2">
            <a:extLst>
              <a:ext uri="{FF2B5EF4-FFF2-40B4-BE49-F238E27FC236}">
                <a16:creationId xmlns:a16="http://schemas.microsoft.com/office/drawing/2014/main" id="{A74C6BF3-8FA4-0248-A94E-D9D68C851604}"/>
              </a:ext>
            </a:extLst>
          </p:cNvPr>
          <p:cNvSpPr>
            <a:spLocks noGrp="1"/>
          </p:cNvSpPr>
          <p:nvPr>
            <p:ph type="body" sz="quarter" idx="15"/>
          </p:nvPr>
        </p:nvSpPr>
        <p:spPr>
          <a:xfrm>
            <a:off x="6744401" y="2798999"/>
            <a:ext cx="3329634"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0" name="Text Placeholder 2">
            <a:extLst>
              <a:ext uri="{FF2B5EF4-FFF2-40B4-BE49-F238E27FC236}">
                <a16:creationId xmlns:a16="http://schemas.microsoft.com/office/drawing/2014/main" id="{E309A949-AC62-E048-BB7E-7587547CEB44}"/>
              </a:ext>
            </a:extLst>
          </p:cNvPr>
          <p:cNvSpPr>
            <a:spLocks noGrp="1"/>
          </p:cNvSpPr>
          <p:nvPr>
            <p:ph type="body" sz="quarter" idx="16"/>
          </p:nvPr>
        </p:nvSpPr>
        <p:spPr>
          <a:xfrm>
            <a:off x="6391898" y="4112743"/>
            <a:ext cx="3329634"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2" name="Text Placeholder 2">
            <a:extLst>
              <a:ext uri="{FF2B5EF4-FFF2-40B4-BE49-F238E27FC236}">
                <a16:creationId xmlns:a16="http://schemas.microsoft.com/office/drawing/2014/main" id="{2BFB3DE8-6308-0546-B3ED-534829923F9F}"/>
              </a:ext>
            </a:extLst>
          </p:cNvPr>
          <p:cNvSpPr>
            <a:spLocks noGrp="1"/>
          </p:cNvSpPr>
          <p:nvPr>
            <p:ph type="body" sz="quarter" idx="18"/>
          </p:nvPr>
        </p:nvSpPr>
        <p:spPr>
          <a:xfrm>
            <a:off x="6039395" y="5426486"/>
            <a:ext cx="3329634"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3" name="Oval 7">
            <a:extLst>
              <a:ext uri="{FF2B5EF4-FFF2-40B4-BE49-F238E27FC236}">
                <a16:creationId xmlns:a16="http://schemas.microsoft.com/office/drawing/2014/main" id="{722F867A-CC71-8C46-B1A3-37ED76234E1E}"/>
              </a:ext>
            </a:extLst>
          </p:cNvPr>
          <p:cNvSpPr/>
          <p:nvPr userDrawn="1"/>
        </p:nvSpPr>
        <p:spPr>
          <a:xfrm>
            <a:off x="6351542" y="1334941"/>
            <a:ext cx="668646" cy="6686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800" b="1" dirty="0">
                <a:solidFill>
                  <a:schemeClr val="tx1">
                    <a:lumMod val="50000"/>
                  </a:schemeClr>
                </a:solidFill>
                <a:latin typeface="Arial" panose="020B0604020202020204" pitchFamily="34" charset="0"/>
                <a:cs typeface="Arial" panose="020B0604020202020204" pitchFamily="34" charset="0"/>
              </a:rPr>
              <a:t>1</a:t>
            </a:r>
          </a:p>
        </p:txBody>
      </p:sp>
      <p:sp>
        <p:nvSpPr>
          <p:cNvPr id="38" name="Oval 10">
            <a:extLst>
              <a:ext uri="{FF2B5EF4-FFF2-40B4-BE49-F238E27FC236}">
                <a16:creationId xmlns:a16="http://schemas.microsoft.com/office/drawing/2014/main" id="{4A352516-AFC9-1E46-9CDD-403A5765FD21}"/>
              </a:ext>
            </a:extLst>
          </p:cNvPr>
          <p:cNvSpPr/>
          <p:nvPr userDrawn="1"/>
        </p:nvSpPr>
        <p:spPr>
          <a:xfrm>
            <a:off x="5997479" y="2648685"/>
            <a:ext cx="668646" cy="6686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800" b="1" dirty="0">
                <a:solidFill>
                  <a:schemeClr val="tx1">
                    <a:lumMod val="50000"/>
                  </a:schemeClr>
                </a:solidFill>
                <a:latin typeface="Arial" panose="020B0604020202020204" pitchFamily="34" charset="0"/>
                <a:cs typeface="Arial" panose="020B0604020202020204" pitchFamily="34" charset="0"/>
              </a:rPr>
              <a:t>2</a:t>
            </a:r>
          </a:p>
        </p:txBody>
      </p:sp>
      <p:sp>
        <p:nvSpPr>
          <p:cNvPr id="42" name="Oval 13">
            <a:extLst>
              <a:ext uri="{FF2B5EF4-FFF2-40B4-BE49-F238E27FC236}">
                <a16:creationId xmlns:a16="http://schemas.microsoft.com/office/drawing/2014/main" id="{B9BEA92E-A166-724F-8B80-9B8E7754553A}"/>
              </a:ext>
            </a:extLst>
          </p:cNvPr>
          <p:cNvSpPr/>
          <p:nvPr userDrawn="1"/>
        </p:nvSpPr>
        <p:spPr>
          <a:xfrm>
            <a:off x="5643416" y="3962429"/>
            <a:ext cx="668646" cy="6686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800" b="1" dirty="0">
                <a:solidFill>
                  <a:schemeClr val="tx1">
                    <a:lumMod val="50000"/>
                  </a:schemeClr>
                </a:solidFill>
                <a:latin typeface="Arial" panose="020B0604020202020204" pitchFamily="34" charset="0"/>
                <a:cs typeface="Arial" panose="020B0604020202020204" pitchFamily="34" charset="0"/>
              </a:rPr>
              <a:t>3</a:t>
            </a:r>
          </a:p>
        </p:txBody>
      </p:sp>
      <p:sp>
        <p:nvSpPr>
          <p:cNvPr id="3" name="Title 1">
            <a:extLst>
              <a:ext uri="{FF2B5EF4-FFF2-40B4-BE49-F238E27FC236}">
                <a16:creationId xmlns:a16="http://schemas.microsoft.com/office/drawing/2014/main" id="{98C47A05-0846-7B04-B2FD-3F1912AF85D8}"/>
              </a:ext>
            </a:extLst>
          </p:cNvPr>
          <p:cNvSpPr>
            <a:spLocks noGrp="1"/>
          </p:cNvSpPr>
          <p:nvPr>
            <p:ph type="title" hasCustomPrompt="1"/>
          </p:nvPr>
        </p:nvSpPr>
        <p:spPr>
          <a:xfrm>
            <a:off x="7361584" y="642950"/>
            <a:ext cx="4525616"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Bericht</a:t>
            </a:r>
            <a:endParaRPr lang="de-DE" dirty="0"/>
          </a:p>
        </p:txBody>
      </p:sp>
      <p:sp>
        <p:nvSpPr>
          <p:cNvPr id="4" name="Text Placeholder 3">
            <a:extLst>
              <a:ext uri="{FF2B5EF4-FFF2-40B4-BE49-F238E27FC236}">
                <a16:creationId xmlns:a16="http://schemas.microsoft.com/office/drawing/2014/main" id="{14462DAE-CA11-06BC-CCEB-CA4F3306B7B2}"/>
              </a:ext>
            </a:extLst>
          </p:cNvPr>
          <p:cNvSpPr>
            <a:spLocks noGrp="1"/>
          </p:cNvSpPr>
          <p:nvPr>
            <p:ph type="body" sz="quarter" idx="13" hasCustomPrompt="1"/>
          </p:nvPr>
        </p:nvSpPr>
        <p:spPr>
          <a:xfrm>
            <a:off x="7362048"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26181659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VZ_5_Kapitel">
    <p:bg>
      <p:bgPr>
        <a:solidFill>
          <a:schemeClr val="bg1"/>
        </a:solidFill>
        <a:effectLst/>
      </p:bgPr>
    </p:bg>
    <p:spTree>
      <p:nvGrpSpPr>
        <p:cNvPr id="1" name=""/>
        <p:cNvGrpSpPr/>
        <p:nvPr/>
      </p:nvGrpSpPr>
      <p:grpSpPr>
        <a:xfrm>
          <a:off x="0" y="0"/>
          <a:ext cx="0" cy="0"/>
          <a:chOff x="0" y="0"/>
          <a:chExt cx="0" cy="0"/>
        </a:xfrm>
      </p:grpSpPr>
      <p:sp>
        <p:nvSpPr>
          <p:cNvPr id="45" name="Picture Placeholder 44">
            <a:extLst>
              <a:ext uri="{FF2B5EF4-FFF2-40B4-BE49-F238E27FC236}">
                <a16:creationId xmlns:a16="http://schemas.microsoft.com/office/drawing/2014/main" id="{3034AC3C-1C6F-4DF7-AF94-BDFCCF2523BD}"/>
              </a:ext>
            </a:extLst>
          </p:cNvPr>
          <p:cNvSpPr>
            <a:spLocks noGrp="1" noChangeAspect="1"/>
          </p:cNvSpPr>
          <p:nvPr>
            <p:ph type="pic" sz="quarter" idx="12"/>
          </p:nvPr>
        </p:nvSpPr>
        <p:spPr>
          <a:xfrm>
            <a:off x="-3881" y="2"/>
            <a:ext cx="7016940" cy="6857999"/>
          </a:xfrm>
          <a:custGeom>
            <a:avLst/>
            <a:gdLst>
              <a:gd name="connsiteX0" fmla="*/ 936350 w 7016940"/>
              <a:gd name="connsiteY0" fmla="*/ 0 h 6857999"/>
              <a:gd name="connsiteX1" fmla="*/ 7016940 w 7016940"/>
              <a:gd name="connsiteY1" fmla="*/ 0 h 6857999"/>
              <a:gd name="connsiteX2" fmla="*/ 6658174 w 7016940"/>
              <a:gd name="connsiteY2" fmla="*/ 1338123 h 6857999"/>
              <a:gd name="connsiteX3" fmla="*/ 6622369 w 7016940"/>
              <a:gd name="connsiteY3" fmla="*/ 1341733 h 6857999"/>
              <a:gd name="connsiteX4" fmla="*/ 6355423 w 7016940"/>
              <a:gd name="connsiteY4" fmla="*/ 1669264 h 6857999"/>
              <a:gd name="connsiteX5" fmla="*/ 6453344 w 7016940"/>
              <a:gd name="connsiteY5" fmla="*/ 1905666 h 6857999"/>
              <a:gd name="connsiteX6" fmla="*/ 6496470 w 7016940"/>
              <a:gd name="connsiteY6" fmla="*/ 1941248 h 6857999"/>
              <a:gd name="connsiteX7" fmla="*/ 6394041 w 7016940"/>
              <a:gd name="connsiteY7" fmla="*/ 2323288 h 6857999"/>
              <a:gd name="connsiteX8" fmla="*/ 6356821 w 7016940"/>
              <a:gd name="connsiteY8" fmla="*/ 2327041 h 6857999"/>
              <a:gd name="connsiteX9" fmla="*/ 6089875 w 7016940"/>
              <a:gd name="connsiteY9" fmla="*/ 2654572 h 6857999"/>
              <a:gd name="connsiteX10" fmla="*/ 6187796 w 7016940"/>
              <a:gd name="connsiteY10" fmla="*/ 2890973 h 6857999"/>
              <a:gd name="connsiteX11" fmla="*/ 6232049 w 7016940"/>
              <a:gd name="connsiteY11" fmla="*/ 2927485 h 6857999"/>
              <a:gd name="connsiteX12" fmla="*/ 6129907 w 7016940"/>
              <a:gd name="connsiteY12" fmla="*/ 3308454 h 6857999"/>
              <a:gd name="connsiteX13" fmla="*/ 6091274 w 7016940"/>
              <a:gd name="connsiteY13" fmla="*/ 3312349 h 6857999"/>
              <a:gd name="connsiteX14" fmla="*/ 5824328 w 7016940"/>
              <a:gd name="connsiteY14" fmla="*/ 3639879 h 6857999"/>
              <a:gd name="connsiteX15" fmla="*/ 5922249 w 7016940"/>
              <a:gd name="connsiteY15" fmla="*/ 3876281 h 6857999"/>
              <a:gd name="connsiteX16" fmla="*/ 5967628 w 7016940"/>
              <a:gd name="connsiteY16" fmla="*/ 3913722 h 6857999"/>
              <a:gd name="connsiteX17" fmla="*/ 5865773 w 7016940"/>
              <a:gd name="connsiteY17" fmla="*/ 4293620 h 6857999"/>
              <a:gd name="connsiteX18" fmla="*/ 5825727 w 7016940"/>
              <a:gd name="connsiteY18" fmla="*/ 4297657 h 6857999"/>
              <a:gd name="connsiteX19" fmla="*/ 5558781 w 7016940"/>
              <a:gd name="connsiteY19" fmla="*/ 4625187 h 6857999"/>
              <a:gd name="connsiteX20" fmla="*/ 5656702 w 7016940"/>
              <a:gd name="connsiteY20" fmla="*/ 4861589 h 6857999"/>
              <a:gd name="connsiteX21" fmla="*/ 5703207 w 7016940"/>
              <a:gd name="connsiteY21" fmla="*/ 4899959 h 6857999"/>
              <a:gd name="connsiteX22" fmla="*/ 5601639 w 7016940"/>
              <a:gd name="connsiteY22" fmla="*/ 5278784 h 6857999"/>
              <a:gd name="connsiteX23" fmla="*/ 5560180 w 7016940"/>
              <a:gd name="connsiteY23" fmla="*/ 5282964 h 6857999"/>
              <a:gd name="connsiteX24" fmla="*/ 5293234 w 7016940"/>
              <a:gd name="connsiteY24" fmla="*/ 5610494 h 6857999"/>
              <a:gd name="connsiteX25" fmla="*/ 5391155 w 7016940"/>
              <a:gd name="connsiteY25" fmla="*/ 5846896 h 6857999"/>
              <a:gd name="connsiteX26" fmla="*/ 5438786 w 7016940"/>
              <a:gd name="connsiteY26" fmla="*/ 5886195 h 6857999"/>
              <a:gd name="connsiteX27" fmla="*/ 5178234 w 7016940"/>
              <a:gd name="connsiteY27" fmla="*/ 6857999 h 6857999"/>
              <a:gd name="connsiteX28" fmla="*/ 0 w 7016940"/>
              <a:gd name="connsiteY28" fmla="*/ 6857999 h 6857999"/>
              <a:gd name="connsiteX29" fmla="*/ 0 w 7016940"/>
              <a:gd name="connsiteY29" fmla="*/ 345225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016940" h="6857999">
                <a:moveTo>
                  <a:pt x="936350" y="0"/>
                </a:moveTo>
                <a:lnTo>
                  <a:pt x="7016940" y="0"/>
                </a:lnTo>
                <a:lnTo>
                  <a:pt x="6658174" y="1338123"/>
                </a:lnTo>
                <a:lnTo>
                  <a:pt x="6622369" y="1341733"/>
                </a:lnTo>
                <a:cubicBezTo>
                  <a:pt x="6470023" y="1372907"/>
                  <a:pt x="6355423" y="1507703"/>
                  <a:pt x="6355423" y="1669264"/>
                </a:cubicBezTo>
                <a:cubicBezTo>
                  <a:pt x="6355423" y="1761584"/>
                  <a:pt x="6392844" y="1845165"/>
                  <a:pt x="6453344" y="1905666"/>
                </a:cubicBezTo>
                <a:lnTo>
                  <a:pt x="6496470" y="1941248"/>
                </a:lnTo>
                <a:lnTo>
                  <a:pt x="6394041" y="2323288"/>
                </a:lnTo>
                <a:lnTo>
                  <a:pt x="6356821" y="2327041"/>
                </a:lnTo>
                <a:cubicBezTo>
                  <a:pt x="6204476" y="2358215"/>
                  <a:pt x="6089875" y="2493011"/>
                  <a:pt x="6089875" y="2654572"/>
                </a:cubicBezTo>
                <a:cubicBezTo>
                  <a:pt x="6089875" y="2746892"/>
                  <a:pt x="6127296" y="2830473"/>
                  <a:pt x="6187796" y="2890973"/>
                </a:cubicBezTo>
                <a:lnTo>
                  <a:pt x="6232049" y="2927485"/>
                </a:lnTo>
                <a:lnTo>
                  <a:pt x="6129907" y="3308454"/>
                </a:lnTo>
                <a:lnTo>
                  <a:pt x="6091274" y="3312349"/>
                </a:lnTo>
                <a:cubicBezTo>
                  <a:pt x="5938929" y="3343523"/>
                  <a:pt x="5824328" y="3478318"/>
                  <a:pt x="5824328" y="3639879"/>
                </a:cubicBezTo>
                <a:cubicBezTo>
                  <a:pt x="5824328" y="3732200"/>
                  <a:pt x="5861749" y="3815780"/>
                  <a:pt x="5922249" y="3876281"/>
                </a:cubicBezTo>
                <a:lnTo>
                  <a:pt x="5967628" y="3913722"/>
                </a:lnTo>
                <a:lnTo>
                  <a:pt x="5865773" y="4293620"/>
                </a:lnTo>
                <a:lnTo>
                  <a:pt x="5825727" y="4297657"/>
                </a:lnTo>
                <a:cubicBezTo>
                  <a:pt x="5673382" y="4328831"/>
                  <a:pt x="5558781" y="4463626"/>
                  <a:pt x="5558781" y="4625187"/>
                </a:cubicBezTo>
                <a:cubicBezTo>
                  <a:pt x="5558781" y="4717508"/>
                  <a:pt x="5596202" y="4801088"/>
                  <a:pt x="5656702" y="4861589"/>
                </a:cubicBezTo>
                <a:lnTo>
                  <a:pt x="5703207" y="4899959"/>
                </a:lnTo>
                <a:lnTo>
                  <a:pt x="5601639" y="5278784"/>
                </a:lnTo>
                <a:lnTo>
                  <a:pt x="5560180" y="5282964"/>
                </a:lnTo>
                <a:cubicBezTo>
                  <a:pt x="5407835" y="5314138"/>
                  <a:pt x="5293234" y="5448933"/>
                  <a:pt x="5293234" y="5610494"/>
                </a:cubicBezTo>
                <a:cubicBezTo>
                  <a:pt x="5293234" y="5702815"/>
                  <a:pt x="5330655" y="5786395"/>
                  <a:pt x="5391155" y="5846896"/>
                </a:cubicBezTo>
                <a:lnTo>
                  <a:pt x="5438786" y="5886195"/>
                </a:lnTo>
                <a:lnTo>
                  <a:pt x="5178234" y="6857999"/>
                </a:lnTo>
                <a:lnTo>
                  <a:pt x="0" y="6857999"/>
                </a:lnTo>
                <a:lnTo>
                  <a:pt x="0" y="3452256"/>
                </a:lnTo>
                <a:close/>
              </a:path>
            </a:pathLst>
          </a:custGeom>
        </p:spPr>
        <p:txBody>
          <a:bodyPr wrap="square">
            <a:noAutofit/>
          </a:bodyPr>
          <a:lstStyle/>
          <a:p>
            <a:r>
              <a:rPr lang="de-DE"/>
              <a:t>Bild durch Klicken auf Symbol hinzufügen</a:t>
            </a:r>
            <a:endParaRPr lang="x-none" dirty="0"/>
          </a:p>
        </p:txBody>
      </p:sp>
      <p:sp>
        <p:nvSpPr>
          <p:cNvPr id="24" name="Oval 10">
            <a:extLst>
              <a:ext uri="{FF2B5EF4-FFF2-40B4-BE49-F238E27FC236}">
                <a16:creationId xmlns:a16="http://schemas.microsoft.com/office/drawing/2014/main" id="{9A21B8ED-50DA-F644-984C-186E486E5BE9}"/>
              </a:ext>
            </a:extLst>
          </p:cNvPr>
          <p:cNvSpPr/>
          <p:nvPr userDrawn="1"/>
        </p:nvSpPr>
        <p:spPr>
          <a:xfrm>
            <a:off x="6085994" y="2320249"/>
            <a:ext cx="668646" cy="6686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800" b="1" dirty="0">
                <a:solidFill>
                  <a:schemeClr val="tx1">
                    <a:lumMod val="50000"/>
                  </a:schemeClr>
                </a:solidFill>
                <a:latin typeface="Arial" panose="020B0604020202020204" pitchFamily="34" charset="0"/>
                <a:cs typeface="Arial" panose="020B0604020202020204" pitchFamily="34" charset="0"/>
              </a:rPr>
              <a:t>2</a:t>
            </a:r>
          </a:p>
        </p:txBody>
      </p:sp>
      <p:sp>
        <p:nvSpPr>
          <p:cNvPr id="26" name="Oval 13">
            <a:extLst>
              <a:ext uri="{FF2B5EF4-FFF2-40B4-BE49-F238E27FC236}">
                <a16:creationId xmlns:a16="http://schemas.microsoft.com/office/drawing/2014/main" id="{332E3F89-60B1-F745-AECC-80961BBE9D14}"/>
              </a:ext>
            </a:extLst>
          </p:cNvPr>
          <p:cNvSpPr/>
          <p:nvPr userDrawn="1"/>
        </p:nvSpPr>
        <p:spPr>
          <a:xfrm>
            <a:off x="5820447" y="3305557"/>
            <a:ext cx="668646" cy="6686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800" b="1" dirty="0">
                <a:solidFill>
                  <a:schemeClr val="tx1">
                    <a:lumMod val="50000"/>
                  </a:schemeClr>
                </a:solidFill>
                <a:latin typeface="Arial" panose="020B0604020202020204" pitchFamily="34" charset="0"/>
                <a:cs typeface="Arial" panose="020B0604020202020204" pitchFamily="34" charset="0"/>
              </a:rPr>
              <a:t>3</a:t>
            </a:r>
          </a:p>
        </p:txBody>
      </p:sp>
      <p:sp>
        <p:nvSpPr>
          <p:cNvPr id="43" name="Oval 16">
            <a:extLst>
              <a:ext uri="{FF2B5EF4-FFF2-40B4-BE49-F238E27FC236}">
                <a16:creationId xmlns:a16="http://schemas.microsoft.com/office/drawing/2014/main" id="{802A27A8-A319-994F-BD90-2B9DD5E8005F}"/>
              </a:ext>
            </a:extLst>
          </p:cNvPr>
          <p:cNvSpPr/>
          <p:nvPr userDrawn="1"/>
        </p:nvSpPr>
        <p:spPr>
          <a:xfrm>
            <a:off x="5554900" y="4290865"/>
            <a:ext cx="668646" cy="6686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800" b="1">
                <a:solidFill>
                  <a:schemeClr val="tx1">
                    <a:lumMod val="50000"/>
                  </a:schemeClr>
                </a:solidFill>
                <a:latin typeface="Arial" panose="020B0604020202020204" pitchFamily="34" charset="0"/>
                <a:cs typeface="Arial" panose="020B0604020202020204" pitchFamily="34" charset="0"/>
              </a:rPr>
              <a:t>4</a:t>
            </a:r>
          </a:p>
        </p:txBody>
      </p:sp>
      <p:sp>
        <p:nvSpPr>
          <p:cNvPr id="51" name="Slide Number Placeholder 3">
            <a:extLst>
              <a:ext uri="{FF2B5EF4-FFF2-40B4-BE49-F238E27FC236}">
                <a16:creationId xmlns:a16="http://schemas.microsoft.com/office/drawing/2014/main" id="{2BC532D3-6D37-404C-A9D9-E69BBE546D05}"/>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53" name="Text Placeholder 2">
            <a:extLst>
              <a:ext uri="{FF2B5EF4-FFF2-40B4-BE49-F238E27FC236}">
                <a16:creationId xmlns:a16="http://schemas.microsoft.com/office/drawing/2014/main" id="{B95BACE3-1EB9-7744-84CC-71E820D1E851}"/>
              </a:ext>
            </a:extLst>
          </p:cNvPr>
          <p:cNvSpPr>
            <a:spLocks noGrp="1"/>
          </p:cNvSpPr>
          <p:nvPr>
            <p:ph type="body" sz="quarter" idx="25" hasCustomPrompt="1"/>
          </p:nvPr>
        </p:nvSpPr>
        <p:spPr>
          <a:xfrm>
            <a:off x="10169966" y="2470563"/>
            <a:ext cx="1165722"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de-CH" noProof="0"/>
              <a:t>Seite XY</a:t>
            </a:r>
          </a:p>
        </p:txBody>
      </p:sp>
      <p:sp>
        <p:nvSpPr>
          <p:cNvPr id="54" name="Text Placeholder 2">
            <a:extLst>
              <a:ext uri="{FF2B5EF4-FFF2-40B4-BE49-F238E27FC236}">
                <a16:creationId xmlns:a16="http://schemas.microsoft.com/office/drawing/2014/main" id="{1E42D9CC-7492-254A-8B4B-B45629EA0595}"/>
              </a:ext>
            </a:extLst>
          </p:cNvPr>
          <p:cNvSpPr>
            <a:spLocks noGrp="1"/>
          </p:cNvSpPr>
          <p:nvPr>
            <p:ph type="body" sz="quarter" idx="26" hasCustomPrompt="1"/>
          </p:nvPr>
        </p:nvSpPr>
        <p:spPr>
          <a:xfrm>
            <a:off x="9906275" y="3455871"/>
            <a:ext cx="1165722"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de-CH" noProof="0"/>
              <a:t>Seite XY</a:t>
            </a:r>
          </a:p>
        </p:txBody>
      </p:sp>
      <p:sp>
        <p:nvSpPr>
          <p:cNvPr id="55" name="Text Placeholder 2">
            <a:extLst>
              <a:ext uri="{FF2B5EF4-FFF2-40B4-BE49-F238E27FC236}">
                <a16:creationId xmlns:a16="http://schemas.microsoft.com/office/drawing/2014/main" id="{218C2B0E-06E7-2A40-97D4-A31C37FBB906}"/>
              </a:ext>
            </a:extLst>
          </p:cNvPr>
          <p:cNvSpPr>
            <a:spLocks noGrp="1"/>
          </p:cNvSpPr>
          <p:nvPr>
            <p:ph type="body" sz="quarter" idx="27" hasCustomPrompt="1"/>
          </p:nvPr>
        </p:nvSpPr>
        <p:spPr>
          <a:xfrm>
            <a:off x="9642584" y="4441179"/>
            <a:ext cx="1165722"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de-CH" noProof="0"/>
              <a:t>Seite XY</a:t>
            </a:r>
          </a:p>
        </p:txBody>
      </p:sp>
      <p:sp>
        <p:nvSpPr>
          <p:cNvPr id="29" name="Text Placeholder 2">
            <a:extLst>
              <a:ext uri="{FF2B5EF4-FFF2-40B4-BE49-F238E27FC236}">
                <a16:creationId xmlns:a16="http://schemas.microsoft.com/office/drawing/2014/main" id="{A74C6BF3-8FA4-0248-A94E-D9D68C851604}"/>
              </a:ext>
            </a:extLst>
          </p:cNvPr>
          <p:cNvSpPr>
            <a:spLocks noGrp="1"/>
          </p:cNvSpPr>
          <p:nvPr>
            <p:ph type="body" sz="quarter" idx="15"/>
          </p:nvPr>
        </p:nvSpPr>
        <p:spPr>
          <a:xfrm>
            <a:off x="6832526" y="2470563"/>
            <a:ext cx="3329634"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0" name="Text Placeholder 2">
            <a:extLst>
              <a:ext uri="{FF2B5EF4-FFF2-40B4-BE49-F238E27FC236}">
                <a16:creationId xmlns:a16="http://schemas.microsoft.com/office/drawing/2014/main" id="{E309A949-AC62-E048-BB7E-7587547CEB44}"/>
              </a:ext>
            </a:extLst>
          </p:cNvPr>
          <p:cNvSpPr>
            <a:spLocks noGrp="1"/>
          </p:cNvSpPr>
          <p:nvPr>
            <p:ph type="body" sz="quarter" idx="16"/>
          </p:nvPr>
        </p:nvSpPr>
        <p:spPr>
          <a:xfrm>
            <a:off x="6568149" y="3455871"/>
            <a:ext cx="3329634"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1" name="Text Placeholder 2">
            <a:extLst>
              <a:ext uri="{FF2B5EF4-FFF2-40B4-BE49-F238E27FC236}">
                <a16:creationId xmlns:a16="http://schemas.microsoft.com/office/drawing/2014/main" id="{D44D0612-8539-BD45-A709-294CCD87117F}"/>
              </a:ext>
            </a:extLst>
          </p:cNvPr>
          <p:cNvSpPr>
            <a:spLocks noGrp="1"/>
          </p:cNvSpPr>
          <p:nvPr>
            <p:ph type="body" sz="quarter" idx="17"/>
          </p:nvPr>
        </p:nvSpPr>
        <p:spPr>
          <a:xfrm>
            <a:off x="6303772" y="4441179"/>
            <a:ext cx="3329634"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4" name="Oval 19">
            <a:extLst>
              <a:ext uri="{FF2B5EF4-FFF2-40B4-BE49-F238E27FC236}">
                <a16:creationId xmlns:a16="http://schemas.microsoft.com/office/drawing/2014/main" id="{9716E700-3C74-443B-B18C-E1027DAE43A2}"/>
              </a:ext>
            </a:extLst>
          </p:cNvPr>
          <p:cNvSpPr/>
          <p:nvPr userDrawn="1"/>
        </p:nvSpPr>
        <p:spPr>
          <a:xfrm>
            <a:off x="5289353" y="5276172"/>
            <a:ext cx="668646" cy="6686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800" b="1" dirty="0">
                <a:solidFill>
                  <a:schemeClr val="tx1">
                    <a:lumMod val="50000"/>
                  </a:schemeClr>
                </a:solidFill>
                <a:latin typeface="Arial" panose="020B0604020202020204" pitchFamily="34" charset="0"/>
                <a:cs typeface="Arial" panose="020B0604020202020204" pitchFamily="34" charset="0"/>
              </a:rPr>
              <a:t>5</a:t>
            </a:r>
            <a:endParaRPr lang="x-none" sz="2800" b="1" dirty="0">
              <a:solidFill>
                <a:schemeClr val="tx1">
                  <a:lumMod val="50000"/>
                </a:schemeClr>
              </a:solidFill>
              <a:latin typeface="Arial" panose="020B0604020202020204" pitchFamily="34" charset="0"/>
              <a:cs typeface="Arial" panose="020B0604020202020204" pitchFamily="34" charset="0"/>
            </a:endParaRPr>
          </a:p>
        </p:txBody>
      </p:sp>
      <p:sp>
        <p:nvSpPr>
          <p:cNvPr id="35" name="Oval 7">
            <a:extLst>
              <a:ext uri="{FF2B5EF4-FFF2-40B4-BE49-F238E27FC236}">
                <a16:creationId xmlns:a16="http://schemas.microsoft.com/office/drawing/2014/main" id="{06371410-9C61-4831-9E26-99B797E5C96A}"/>
              </a:ext>
            </a:extLst>
          </p:cNvPr>
          <p:cNvSpPr/>
          <p:nvPr userDrawn="1"/>
        </p:nvSpPr>
        <p:spPr>
          <a:xfrm>
            <a:off x="6351542" y="1334941"/>
            <a:ext cx="668646" cy="6686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800" b="1" dirty="0">
                <a:solidFill>
                  <a:schemeClr val="tx1">
                    <a:lumMod val="50000"/>
                  </a:schemeClr>
                </a:solidFill>
                <a:latin typeface="Arial" panose="020B0604020202020204" pitchFamily="34" charset="0"/>
                <a:cs typeface="Arial" panose="020B0604020202020204" pitchFamily="34" charset="0"/>
              </a:rPr>
              <a:t>1</a:t>
            </a:r>
          </a:p>
        </p:txBody>
      </p:sp>
      <p:sp>
        <p:nvSpPr>
          <p:cNvPr id="46" name="Text Placeholder 2">
            <a:extLst>
              <a:ext uri="{FF2B5EF4-FFF2-40B4-BE49-F238E27FC236}">
                <a16:creationId xmlns:a16="http://schemas.microsoft.com/office/drawing/2014/main" id="{A9B75F90-177E-4C7C-B57A-4783199FC811}"/>
              </a:ext>
            </a:extLst>
          </p:cNvPr>
          <p:cNvSpPr>
            <a:spLocks noGrp="1"/>
          </p:cNvSpPr>
          <p:nvPr>
            <p:ph type="body" sz="quarter" idx="24" hasCustomPrompt="1"/>
          </p:nvPr>
        </p:nvSpPr>
        <p:spPr>
          <a:xfrm>
            <a:off x="10433657" y="1485255"/>
            <a:ext cx="1165722"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de-CH" noProof="0" dirty="0"/>
              <a:t>Seite XY</a:t>
            </a:r>
          </a:p>
        </p:txBody>
      </p:sp>
      <p:sp>
        <p:nvSpPr>
          <p:cNvPr id="47" name="Text Placeholder 2">
            <a:extLst>
              <a:ext uri="{FF2B5EF4-FFF2-40B4-BE49-F238E27FC236}">
                <a16:creationId xmlns:a16="http://schemas.microsoft.com/office/drawing/2014/main" id="{A65D82CB-30DC-44F8-AF1F-A7B60A8F727B}"/>
              </a:ext>
            </a:extLst>
          </p:cNvPr>
          <p:cNvSpPr>
            <a:spLocks noGrp="1"/>
          </p:cNvSpPr>
          <p:nvPr>
            <p:ph type="body" sz="quarter" idx="28" hasCustomPrompt="1"/>
          </p:nvPr>
        </p:nvSpPr>
        <p:spPr>
          <a:xfrm>
            <a:off x="9378893" y="5426486"/>
            <a:ext cx="1165722"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de-CH" noProof="0" dirty="0"/>
              <a:t>Seite XY</a:t>
            </a:r>
          </a:p>
        </p:txBody>
      </p:sp>
      <p:sp>
        <p:nvSpPr>
          <p:cNvPr id="50" name="Text Placeholder 2">
            <a:extLst>
              <a:ext uri="{FF2B5EF4-FFF2-40B4-BE49-F238E27FC236}">
                <a16:creationId xmlns:a16="http://schemas.microsoft.com/office/drawing/2014/main" id="{D1CBBE23-945E-470B-9321-98E8BBDC58B1}"/>
              </a:ext>
            </a:extLst>
          </p:cNvPr>
          <p:cNvSpPr>
            <a:spLocks noGrp="1"/>
          </p:cNvSpPr>
          <p:nvPr>
            <p:ph type="body" sz="quarter" idx="14"/>
          </p:nvPr>
        </p:nvSpPr>
        <p:spPr>
          <a:xfrm>
            <a:off x="7096903" y="1485255"/>
            <a:ext cx="3329634"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52" name="Text Placeholder 2">
            <a:extLst>
              <a:ext uri="{FF2B5EF4-FFF2-40B4-BE49-F238E27FC236}">
                <a16:creationId xmlns:a16="http://schemas.microsoft.com/office/drawing/2014/main" id="{37CE965D-BF32-4F66-ACA3-C4BB4CF15B6A}"/>
              </a:ext>
            </a:extLst>
          </p:cNvPr>
          <p:cNvSpPr>
            <a:spLocks noGrp="1"/>
          </p:cNvSpPr>
          <p:nvPr>
            <p:ph type="body" sz="quarter" idx="18"/>
          </p:nvPr>
        </p:nvSpPr>
        <p:spPr>
          <a:xfrm>
            <a:off x="6039395" y="5426486"/>
            <a:ext cx="3329634"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 name="Title 1">
            <a:extLst>
              <a:ext uri="{FF2B5EF4-FFF2-40B4-BE49-F238E27FC236}">
                <a16:creationId xmlns:a16="http://schemas.microsoft.com/office/drawing/2014/main" id="{863B312B-2EE7-7A1E-1FF0-6189D3F72EAC}"/>
              </a:ext>
            </a:extLst>
          </p:cNvPr>
          <p:cNvSpPr>
            <a:spLocks noGrp="1"/>
          </p:cNvSpPr>
          <p:nvPr>
            <p:ph type="title" hasCustomPrompt="1"/>
          </p:nvPr>
        </p:nvSpPr>
        <p:spPr>
          <a:xfrm>
            <a:off x="7361584" y="642950"/>
            <a:ext cx="4525616"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Bericht</a:t>
            </a:r>
            <a:endParaRPr lang="de-DE" dirty="0"/>
          </a:p>
        </p:txBody>
      </p:sp>
      <p:sp>
        <p:nvSpPr>
          <p:cNvPr id="4" name="Text Placeholder 3">
            <a:extLst>
              <a:ext uri="{FF2B5EF4-FFF2-40B4-BE49-F238E27FC236}">
                <a16:creationId xmlns:a16="http://schemas.microsoft.com/office/drawing/2014/main" id="{E45A9967-B3D1-DB63-4141-4A397EE68200}"/>
              </a:ext>
            </a:extLst>
          </p:cNvPr>
          <p:cNvSpPr>
            <a:spLocks noGrp="1"/>
          </p:cNvSpPr>
          <p:nvPr>
            <p:ph type="body" sz="quarter" idx="13" hasCustomPrompt="1"/>
          </p:nvPr>
        </p:nvSpPr>
        <p:spPr>
          <a:xfrm>
            <a:off x="7362048"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18749489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VZ_6_Kapitel">
    <p:bg>
      <p:bgPr>
        <a:solidFill>
          <a:schemeClr val="bg1"/>
        </a:solidFill>
        <a:effectLst/>
      </p:bgPr>
    </p:bg>
    <p:spTree>
      <p:nvGrpSpPr>
        <p:cNvPr id="1" name=""/>
        <p:cNvGrpSpPr/>
        <p:nvPr/>
      </p:nvGrpSpPr>
      <p:grpSpPr>
        <a:xfrm>
          <a:off x="0" y="0"/>
          <a:ext cx="0" cy="0"/>
          <a:chOff x="0" y="0"/>
          <a:chExt cx="0" cy="0"/>
        </a:xfrm>
      </p:grpSpPr>
      <p:sp>
        <p:nvSpPr>
          <p:cNvPr id="52" name="Picture Placeholder 51">
            <a:extLst>
              <a:ext uri="{FF2B5EF4-FFF2-40B4-BE49-F238E27FC236}">
                <a16:creationId xmlns:a16="http://schemas.microsoft.com/office/drawing/2014/main" id="{EFEBED3B-C57F-43AE-991E-AB2137365FE4}"/>
              </a:ext>
            </a:extLst>
          </p:cNvPr>
          <p:cNvSpPr>
            <a:spLocks noGrp="1" noChangeAspect="1"/>
          </p:cNvSpPr>
          <p:nvPr>
            <p:ph type="pic" sz="quarter" idx="12"/>
          </p:nvPr>
        </p:nvSpPr>
        <p:spPr>
          <a:xfrm>
            <a:off x="-3881" y="2"/>
            <a:ext cx="7016940" cy="6857999"/>
          </a:xfrm>
          <a:custGeom>
            <a:avLst/>
            <a:gdLst>
              <a:gd name="connsiteX0" fmla="*/ 936350 w 7016940"/>
              <a:gd name="connsiteY0" fmla="*/ 0 h 6857999"/>
              <a:gd name="connsiteX1" fmla="*/ 7016940 w 7016940"/>
              <a:gd name="connsiteY1" fmla="*/ 0 h 6857999"/>
              <a:gd name="connsiteX2" fmla="*/ 6655837 w 7016940"/>
              <a:gd name="connsiteY2" fmla="*/ 1346843 h 6857999"/>
              <a:gd name="connsiteX3" fmla="*/ 6629354 w 7016940"/>
              <a:gd name="connsiteY3" fmla="*/ 1349513 h 6857999"/>
              <a:gd name="connsiteX4" fmla="*/ 6437162 w 7016940"/>
              <a:gd name="connsiteY4" fmla="*/ 1585324 h 6857999"/>
              <a:gd name="connsiteX5" fmla="*/ 6507662 w 7016940"/>
              <a:gd name="connsiteY5" fmla="*/ 1755525 h 6857999"/>
              <a:gd name="connsiteX6" fmla="*/ 6539272 w 7016940"/>
              <a:gd name="connsiteY6" fmla="*/ 1781605 h 6857999"/>
              <a:gd name="connsiteX7" fmla="*/ 6440431 w 7016940"/>
              <a:gd name="connsiteY7" fmla="*/ 2150261 h 6857999"/>
              <a:gd name="connsiteX8" fmla="*/ 6415126 w 7016940"/>
              <a:gd name="connsiteY8" fmla="*/ 2152812 h 6857999"/>
              <a:gd name="connsiteX9" fmla="*/ 6222934 w 7016940"/>
              <a:gd name="connsiteY9" fmla="*/ 2388623 h 6857999"/>
              <a:gd name="connsiteX10" fmla="*/ 6293434 w 7016940"/>
              <a:gd name="connsiteY10" fmla="*/ 2558824 h 6857999"/>
              <a:gd name="connsiteX11" fmla="*/ 6324106 w 7016940"/>
              <a:gd name="connsiteY11" fmla="*/ 2584130 h 6857999"/>
              <a:gd name="connsiteX12" fmla="*/ 6225026 w 7016940"/>
              <a:gd name="connsiteY12" fmla="*/ 2953678 h 6857999"/>
              <a:gd name="connsiteX13" fmla="*/ 6200897 w 7016940"/>
              <a:gd name="connsiteY13" fmla="*/ 2956110 h 6857999"/>
              <a:gd name="connsiteX14" fmla="*/ 6008705 w 7016940"/>
              <a:gd name="connsiteY14" fmla="*/ 3191921 h 6857999"/>
              <a:gd name="connsiteX15" fmla="*/ 6079205 w 7016940"/>
              <a:gd name="connsiteY15" fmla="*/ 3362122 h 6857999"/>
              <a:gd name="connsiteX16" fmla="*/ 6108940 w 7016940"/>
              <a:gd name="connsiteY16" fmla="*/ 3386656 h 6857999"/>
              <a:gd name="connsiteX17" fmla="*/ 6009621 w 7016940"/>
              <a:gd name="connsiteY17" fmla="*/ 3757095 h 6857999"/>
              <a:gd name="connsiteX18" fmla="*/ 5986668 w 7016940"/>
              <a:gd name="connsiteY18" fmla="*/ 3759409 h 6857999"/>
              <a:gd name="connsiteX19" fmla="*/ 5794476 w 7016940"/>
              <a:gd name="connsiteY19" fmla="*/ 3995220 h 6857999"/>
              <a:gd name="connsiteX20" fmla="*/ 5864976 w 7016940"/>
              <a:gd name="connsiteY20" fmla="*/ 4165421 h 6857999"/>
              <a:gd name="connsiteX21" fmla="*/ 5893774 w 7016940"/>
              <a:gd name="connsiteY21" fmla="*/ 4189181 h 6857999"/>
              <a:gd name="connsiteX22" fmla="*/ 5794216 w 7016940"/>
              <a:gd name="connsiteY22" fmla="*/ 4560513 h 6857999"/>
              <a:gd name="connsiteX23" fmla="*/ 5772439 w 7016940"/>
              <a:gd name="connsiteY23" fmla="*/ 4562708 h 6857999"/>
              <a:gd name="connsiteX24" fmla="*/ 5580247 w 7016940"/>
              <a:gd name="connsiteY24" fmla="*/ 4798519 h 6857999"/>
              <a:gd name="connsiteX25" fmla="*/ 5650747 w 7016940"/>
              <a:gd name="connsiteY25" fmla="*/ 4968720 h 6857999"/>
              <a:gd name="connsiteX26" fmla="*/ 5678608 w 7016940"/>
              <a:gd name="connsiteY26" fmla="*/ 4991707 h 6857999"/>
              <a:gd name="connsiteX27" fmla="*/ 5578810 w 7016940"/>
              <a:gd name="connsiteY27" fmla="*/ 5363932 h 6857999"/>
              <a:gd name="connsiteX28" fmla="*/ 5558210 w 7016940"/>
              <a:gd name="connsiteY28" fmla="*/ 5366008 h 6857999"/>
              <a:gd name="connsiteX29" fmla="*/ 5366018 w 7016940"/>
              <a:gd name="connsiteY29" fmla="*/ 5601819 h 6857999"/>
              <a:gd name="connsiteX30" fmla="*/ 5436518 w 7016940"/>
              <a:gd name="connsiteY30" fmla="*/ 5772020 h 6857999"/>
              <a:gd name="connsiteX31" fmla="*/ 5463441 w 7016940"/>
              <a:gd name="connsiteY31" fmla="*/ 5794234 h 6857999"/>
              <a:gd name="connsiteX32" fmla="*/ 5178234 w 7016940"/>
              <a:gd name="connsiteY32" fmla="*/ 6857999 h 6857999"/>
              <a:gd name="connsiteX33" fmla="*/ 0 w 7016940"/>
              <a:gd name="connsiteY33" fmla="*/ 6857999 h 6857999"/>
              <a:gd name="connsiteX34" fmla="*/ 0 w 7016940"/>
              <a:gd name="connsiteY34" fmla="*/ 345225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016940" h="6857999">
                <a:moveTo>
                  <a:pt x="936350" y="0"/>
                </a:moveTo>
                <a:lnTo>
                  <a:pt x="7016940" y="0"/>
                </a:lnTo>
                <a:lnTo>
                  <a:pt x="6655837" y="1346843"/>
                </a:lnTo>
                <a:lnTo>
                  <a:pt x="6629354" y="1349513"/>
                </a:lnTo>
                <a:cubicBezTo>
                  <a:pt x="6519671" y="1371957"/>
                  <a:pt x="6437162" y="1469006"/>
                  <a:pt x="6437162" y="1585324"/>
                </a:cubicBezTo>
                <a:cubicBezTo>
                  <a:pt x="6437162" y="1651791"/>
                  <a:pt x="6464104" y="1711966"/>
                  <a:pt x="6507662" y="1755525"/>
                </a:cubicBezTo>
                <a:lnTo>
                  <a:pt x="6539272" y="1781605"/>
                </a:lnTo>
                <a:lnTo>
                  <a:pt x="6440431" y="2150261"/>
                </a:lnTo>
                <a:lnTo>
                  <a:pt x="6415126" y="2152812"/>
                </a:lnTo>
                <a:cubicBezTo>
                  <a:pt x="6305443" y="2175256"/>
                  <a:pt x="6222934" y="2272305"/>
                  <a:pt x="6222934" y="2388623"/>
                </a:cubicBezTo>
                <a:cubicBezTo>
                  <a:pt x="6222934" y="2455090"/>
                  <a:pt x="6249876" y="2515265"/>
                  <a:pt x="6293434" y="2558824"/>
                </a:cubicBezTo>
                <a:lnTo>
                  <a:pt x="6324106" y="2584130"/>
                </a:lnTo>
                <a:lnTo>
                  <a:pt x="6225026" y="2953678"/>
                </a:lnTo>
                <a:lnTo>
                  <a:pt x="6200897" y="2956110"/>
                </a:lnTo>
                <a:cubicBezTo>
                  <a:pt x="6091214" y="2978555"/>
                  <a:pt x="6008705" y="3075604"/>
                  <a:pt x="6008705" y="3191921"/>
                </a:cubicBezTo>
                <a:cubicBezTo>
                  <a:pt x="6008705" y="3258389"/>
                  <a:pt x="6035647" y="3318564"/>
                  <a:pt x="6079205" y="3362122"/>
                </a:cubicBezTo>
                <a:lnTo>
                  <a:pt x="6108940" y="3386656"/>
                </a:lnTo>
                <a:lnTo>
                  <a:pt x="6009621" y="3757095"/>
                </a:lnTo>
                <a:lnTo>
                  <a:pt x="5986668" y="3759409"/>
                </a:lnTo>
                <a:cubicBezTo>
                  <a:pt x="5876985" y="3781854"/>
                  <a:pt x="5794476" y="3878902"/>
                  <a:pt x="5794476" y="3995220"/>
                </a:cubicBezTo>
                <a:cubicBezTo>
                  <a:pt x="5794476" y="4061688"/>
                  <a:pt x="5821418" y="4121863"/>
                  <a:pt x="5864976" y="4165421"/>
                </a:cubicBezTo>
                <a:lnTo>
                  <a:pt x="5893774" y="4189181"/>
                </a:lnTo>
                <a:lnTo>
                  <a:pt x="5794216" y="4560513"/>
                </a:lnTo>
                <a:lnTo>
                  <a:pt x="5772439" y="4562708"/>
                </a:lnTo>
                <a:cubicBezTo>
                  <a:pt x="5662756" y="4585153"/>
                  <a:pt x="5580247" y="4682201"/>
                  <a:pt x="5580247" y="4798519"/>
                </a:cubicBezTo>
                <a:cubicBezTo>
                  <a:pt x="5580247" y="4864987"/>
                  <a:pt x="5607189" y="4925162"/>
                  <a:pt x="5650747" y="4968720"/>
                </a:cubicBezTo>
                <a:lnTo>
                  <a:pt x="5678608" y="4991707"/>
                </a:lnTo>
                <a:lnTo>
                  <a:pt x="5578810" y="5363932"/>
                </a:lnTo>
                <a:lnTo>
                  <a:pt x="5558210" y="5366008"/>
                </a:lnTo>
                <a:cubicBezTo>
                  <a:pt x="5448527" y="5388453"/>
                  <a:pt x="5366018" y="5485501"/>
                  <a:pt x="5366018" y="5601819"/>
                </a:cubicBezTo>
                <a:cubicBezTo>
                  <a:pt x="5366018" y="5668287"/>
                  <a:pt x="5392960" y="5728462"/>
                  <a:pt x="5436518" y="5772020"/>
                </a:cubicBezTo>
                <a:lnTo>
                  <a:pt x="5463441" y="5794234"/>
                </a:lnTo>
                <a:lnTo>
                  <a:pt x="5178234" y="6857999"/>
                </a:lnTo>
                <a:lnTo>
                  <a:pt x="0" y="6857999"/>
                </a:lnTo>
                <a:lnTo>
                  <a:pt x="0" y="3452256"/>
                </a:lnTo>
                <a:close/>
              </a:path>
            </a:pathLst>
          </a:custGeom>
        </p:spPr>
        <p:txBody>
          <a:bodyPr wrap="square">
            <a:noAutofit/>
          </a:bodyPr>
          <a:lstStyle/>
          <a:p>
            <a:r>
              <a:rPr lang="de-DE"/>
              <a:t>Bild durch Klicken auf Symbol hinzufügen</a:t>
            </a:r>
            <a:endParaRPr lang="x-none" dirty="0"/>
          </a:p>
        </p:txBody>
      </p:sp>
      <p:sp>
        <p:nvSpPr>
          <p:cNvPr id="22" name="Slide Number Placeholder 3">
            <a:extLst>
              <a:ext uri="{FF2B5EF4-FFF2-40B4-BE49-F238E27FC236}">
                <a16:creationId xmlns:a16="http://schemas.microsoft.com/office/drawing/2014/main" id="{D3BFDA53-858A-9445-ACD8-05499BD9ED20}"/>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35" name="Text Placeholder 2">
            <a:extLst>
              <a:ext uri="{FF2B5EF4-FFF2-40B4-BE49-F238E27FC236}">
                <a16:creationId xmlns:a16="http://schemas.microsoft.com/office/drawing/2014/main" id="{350954DB-4355-C047-9F94-41E05AD0F172}"/>
              </a:ext>
            </a:extLst>
          </p:cNvPr>
          <p:cNvSpPr>
            <a:spLocks noGrp="1"/>
          </p:cNvSpPr>
          <p:nvPr>
            <p:ph type="body" sz="quarter" idx="14"/>
          </p:nvPr>
        </p:nvSpPr>
        <p:spPr>
          <a:xfrm>
            <a:off x="7096903" y="1401314"/>
            <a:ext cx="3350969"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6" name="Text Placeholder 2">
            <a:extLst>
              <a:ext uri="{FF2B5EF4-FFF2-40B4-BE49-F238E27FC236}">
                <a16:creationId xmlns:a16="http://schemas.microsoft.com/office/drawing/2014/main" id="{699942C1-DDEC-9040-9796-B78DB3FF6EE1}"/>
              </a:ext>
            </a:extLst>
          </p:cNvPr>
          <p:cNvSpPr>
            <a:spLocks noGrp="1"/>
          </p:cNvSpPr>
          <p:nvPr>
            <p:ph type="body" sz="quarter" idx="15"/>
          </p:nvPr>
        </p:nvSpPr>
        <p:spPr>
          <a:xfrm>
            <a:off x="6885403" y="2204613"/>
            <a:ext cx="3350969"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7" name="Text Placeholder 2">
            <a:extLst>
              <a:ext uri="{FF2B5EF4-FFF2-40B4-BE49-F238E27FC236}">
                <a16:creationId xmlns:a16="http://schemas.microsoft.com/office/drawing/2014/main" id="{1F8E7C73-77C5-FA48-BB2C-426660B1E288}"/>
              </a:ext>
            </a:extLst>
          </p:cNvPr>
          <p:cNvSpPr>
            <a:spLocks noGrp="1"/>
          </p:cNvSpPr>
          <p:nvPr>
            <p:ph type="body" sz="quarter" idx="16"/>
          </p:nvPr>
        </p:nvSpPr>
        <p:spPr>
          <a:xfrm>
            <a:off x="6673901" y="3007912"/>
            <a:ext cx="3350969"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8" name="Text Placeholder 2">
            <a:extLst>
              <a:ext uri="{FF2B5EF4-FFF2-40B4-BE49-F238E27FC236}">
                <a16:creationId xmlns:a16="http://schemas.microsoft.com/office/drawing/2014/main" id="{40F7C173-D968-3544-BD25-EC199ABF0C93}"/>
              </a:ext>
            </a:extLst>
          </p:cNvPr>
          <p:cNvSpPr>
            <a:spLocks noGrp="1"/>
          </p:cNvSpPr>
          <p:nvPr>
            <p:ph type="body" sz="quarter" idx="17"/>
          </p:nvPr>
        </p:nvSpPr>
        <p:spPr>
          <a:xfrm>
            <a:off x="6462399" y="3811211"/>
            <a:ext cx="3350969"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9" name="Text Placeholder 2">
            <a:extLst>
              <a:ext uri="{FF2B5EF4-FFF2-40B4-BE49-F238E27FC236}">
                <a16:creationId xmlns:a16="http://schemas.microsoft.com/office/drawing/2014/main" id="{435845FB-2C7F-7F47-B6D5-DFE740E7E77B}"/>
              </a:ext>
            </a:extLst>
          </p:cNvPr>
          <p:cNvSpPr>
            <a:spLocks noGrp="1"/>
          </p:cNvSpPr>
          <p:nvPr>
            <p:ph type="body" sz="quarter" idx="18"/>
          </p:nvPr>
        </p:nvSpPr>
        <p:spPr>
          <a:xfrm>
            <a:off x="6250897" y="4614510"/>
            <a:ext cx="3350969"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1" name="Text Placeholder 2">
            <a:extLst>
              <a:ext uri="{FF2B5EF4-FFF2-40B4-BE49-F238E27FC236}">
                <a16:creationId xmlns:a16="http://schemas.microsoft.com/office/drawing/2014/main" id="{00807678-0B25-8947-B28E-96A05263BF25}"/>
              </a:ext>
            </a:extLst>
          </p:cNvPr>
          <p:cNvSpPr>
            <a:spLocks noGrp="1"/>
          </p:cNvSpPr>
          <p:nvPr>
            <p:ph type="body" sz="quarter" idx="24"/>
          </p:nvPr>
        </p:nvSpPr>
        <p:spPr>
          <a:xfrm>
            <a:off x="6039395" y="5417810"/>
            <a:ext cx="3350969" cy="368018"/>
          </a:xfrm>
          <a:prstGeom prst="rect">
            <a:avLst/>
          </a:prstGeom>
        </p:spPr>
        <p:txBody>
          <a:bodyPr lIns="0" tIns="0" bIns="0" anchor="ctr"/>
          <a:lstStyle>
            <a:lvl1pPr>
              <a:defRPr lang="en-GB" sz="20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3" name="Oval 42">
            <a:extLst>
              <a:ext uri="{FF2B5EF4-FFF2-40B4-BE49-F238E27FC236}">
                <a16:creationId xmlns:a16="http://schemas.microsoft.com/office/drawing/2014/main" id="{9D861627-3AA4-804A-97ED-B1AE3EA105D3}"/>
              </a:ext>
            </a:extLst>
          </p:cNvPr>
          <p:cNvSpPr/>
          <p:nvPr userDrawn="1"/>
        </p:nvSpPr>
        <p:spPr>
          <a:xfrm>
            <a:off x="6433281" y="1344623"/>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800" b="1" dirty="0">
                <a:solidFill>
                  <a:schemeClr val="tx1">
                    <a:lumMod val="50000"/>
                  </a:schemeClr>
                </a:solidFill>
                <a:latin typeface="Arial" panose="020B0604020202020204" pitchFamily="34" charset="0"/>
                <a:cs typeface="Arial" panose="020B0604020202020204" pitchFamily="34" charset="0"/>
              </a:rPr>
              <a:t>1</a:t>
            </a:r>
          </a:p>
        </p:txBody>
      </p:sp>
      <p:sp>
        <p:nvSpPr>
          <p:cNvPr id="45" name="Oval 44">
            <a:extLst>
              <a:ext uri="{FF2B5EF4-FFF2-40B4-BE49-F238E27FC236}">
                <a16:creationId xmlns:a16="http://schemas.microsoft.com/office/drawing/2014/main" id="{51405A26-7E73-D743-9348-5741740AFA05}"/>
              </a:ext>
            </a:extLst>
          </p:cNvPr>
          <p:cNvSpPr/>
          <p:nvPr userDrawn="1"/>
        </p:nvSpPr>
        <p:spPr>
          <a:xfrm>
            <a:off x="6219053" y="2147922"/>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800" b="1">
                <a:solidFill>
                  <a:schemeClr val="tx1">
                    <a:lumMod val="50000"/>
                  </a:schemeClr>
                </a:solidFill>
                <a:latin typeface="Arial" panose="020B0604020202020204" pitchFamily="34" charset="0"/>
                <a:cs typeface="Arial" panose="020B0604020202020204" pitchFamily="34" charset="0"/>
              </a:rPr>
              <a:t>2</a:t>
            </a:r>
          </a:p>
        </p:txBody>
      </p:sp>
      <p:sp>
        <p:nvSpPr>
          <p:cNvPr id="47" name="Oval 13">
            <a:extLst>
              <a:ext uri="{FF2B5EF4-FFF2-40B4-BE49-F238E27FC236}">
                <a16:creationId xmlns:a16="http://schemas.microsoft.com/office/drawing/2014/main" id="{9D24682B-D711-504B-B46D-42F9E86BC541}"/>
              </a:ext>
            </a:extLst>
          </p:cNvPr>
          <p:cNvSpPr/>
          <p:nvPr userDrawn="1"/>
        </p:nvSpPr>
        <p:spPr>
          <a:xfrm>
            <a:off x="6004824" y="2951221"/>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800" b="1">
                <a:solidFill>
                  <a:schemeClr val="tx1">
                    <a:lumMod val="50000"/>
                  </a:schemeClr>
                </a:solidFill>
                <a:latin typeface="Arial" panose="020B0604020202020204" pitchFamily="34" charset="0"/>
                <a:cs typeface="Arial" panose="020B0604020202020204" pitchFamily="34" charset="0"/>
              </a:rPr>
              <a:t>3</a:t>
            </a:r>
          </a:p>
        </p:txBody>
      </p:sp>
      <p:sp>
        <p:nvSpPr>
          <p:cNvPr id="49" name="Oval 16">
            <a:extLst>
              <a:ext uri="{FF2B5EF4-FFF2-40B4-BE49-F238E27FC236}">
                <a16:creationId xmlns:a16="http://schemas.microsoft.com/office/drawing/2014/main" id="{703EDA56-778E-1F4F-973E-EF8634554515}"/>
              </a:ext>
            </a:extLst>
          </p:cNvPr>
          <p:cNvSpPr/>
          <p:nvPr userDrawn="1"/>
        </p:nvSpPr>
        <p:spPr>
          <a:xfrm>
            <a:off x="5790595" y="3754520"/>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800" b="1" dirty="0">
                <a:solidFill>
                  <a:schemeClr val="tx1">
                    <a:lumMod val="50000"/>
                  </a:schemeClr>
                </a:solidFill>
                <a:latin typeface="Arial" panose="020B0604020202020204" pitchFamily="34" charset="0"/>
                <a:cs typeface="Arial" panose="020B0604020202020204" pitchFamily="34" charset="0"/>
              </a:rPr>
              <a:t>4</a:t>
            </a:r>
          </a:p>
        </p:txBody>
      </p:sp>
      <p:sp>
        <p:nvSpPr>
          <p:cNvPr id="51" name="Oval 19">
            <a:extLst>
              <a:ext uri="{FF2B5EF4-FFF2-40B4-BE49-F238E27FC236}">
                <a16:creationId xmlns:a16="http://schemas.microsoft.com/office/drawing/2014/main" id="{9E272E15-55CB-0840-B0F7-53E4BFC48995}"/>
              </a:ext>
            </a:extLst>
          </p:cNvPr>
          <p:cNvSpPr/>
          <p:nvPr userDrawn="1"/>
        </p:nvSpPr>
        <p:spPr>
          <a:xfrm>
            <a:off x="5576366" y="4557819"/>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800" b="1" dirty="0">
                <a:solidFill>
                  <a:schemeClr val="tx1">
                    <a:lumMod val="50000"/>
                  </a:schemeClr>
                </a:solidFill>
                <a:latin typeface="Arial" panose="020B0604020202020204" pitchFamily="34" charset="0"/>
                <a:cs typeface="Arial" panose="020B0604020202020204" pitchFamily="34" charset="0"/>
              </a:rPr>
              <a:t>5</a:t>
            </a:r>
          </a:p>
        </p:txBody>
      </p:sp>
      <p:sp>
        <p:nvSpPr>
          <p:cNvPr id="54" name="Text Placeholder 2">
            <a:extLst>
              <a:ext uri="{FF2B5EF4-FFF2-40B4-BE49-F238E27FC236}">
                <a16:creationId xmlns:a16="http://schemas.microsoft.com/office/drawing/2014/main" id="{CA7E7BA5-014B-334A-85F1-6BBCA3D6CAD8}"/>
              </a:ext>
            </a:extLst>
          </p:cNvPr>
          <p:cNvSpPr>
            <a:spLocks noGrp="1"/>
          </p:cNvSpPr>
          <p:nvPr>
            <p:ph type="body" sz="quarter" idx="25" hasCustomPrompt="1"/>
          </p:nvPr>
        </p:nvSpPr>
        <p:spPr>
          <a:xfrm>
            <a:off x="10452707" y="1401314"/>
            <a:ext cx="1144387"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55" name="Text Placeholder 2">
            <a:extLst>
              <a:ext uri="{FF2B5EF4-FFF2-40B4-BE49-F238E27FC236}">
                <a16:creationId xmlns:a16="http://schemas.microsoft.com/office/drawing/2014/main" id="{DD0040AE-89FB-214F-84E5-606073E0990B}"/>
              </a:ext>
            </a:extLst>
          </p:cNvPr>
          <p:cNvSpPr>
            <a:spLocks noGrp="1"/>
          </p:cNvSpPr>
          <p:nvPr>
            <p:ph type="body" sz="quarter" idx="26" hasCustomPrompt="1"/>
          </p:nvPr>
        </p:nvSpPr>
        <p:spPr>
          <a:xfrm>
            <a:off x="10240651" y="2204613"/>
            <a:ext cx="1144387"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56" name="Text Placeholder 2">
            <a:extLst>
              <a:ext uri="{FF2B5EF4-FFF2-40B4-BE49-F238E27FC236}">
                <a16:creationId xmlns:a16="http://schemas.microsoft.com/office/drawing/2014/main" id="{0424B5B2-7A51-BF4A-965D-A02B881B5082}"/>
              </a:ext>
            </a:extLst>
          </p:cNvPr>
          <p:cNvSpPr>
            <a:spLocks noGrp="1"/>
          </p:cNvSpPr>
          <p:nvPr>
            <p:ph type="body" sz="quarter" idx="27" hasCustomPrompt="1"/>
          </p:nvPr>
        </p:nvSpPr>
        <p:spPr>
          <a:xfrm>
            <a:off x="10028595" y="3007912"/>
            <a:ext cx="1144387"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57" name="Text Placeholder 2">
            <a:extLst>
              <a:ext uri="{FF2B5EF4-FFF2-40B4-BE49-F238E27FC236}">
                <a16:creationId xmlns:a16="http://schemas.microsoft.com/office/drawing/2014/main" id="{D7AB20FB-912B-854D-A968-D03C764DE3BD}"/>
              </a:ext>
            </a:extLst>
          </p:cNvPr>
          <p:cNvSpPr>
            <a:spLocks noGrp="1"/>
          </p:cNvSpPr>
          <p:nvPr>
            <p:ph type="body" sz="quarter" idx="28" hasCustomPrompt="1"/>
          </p:nvPr>
        </p:nvSpPr>
        <p:spPr>
          <a:xfrm>
            <a:off x="9816539" y="3811211"/>
            <a:ext cx="1144387"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58" name="Text Placeholder 2">
            <a:extLst>
              <a:ext uri="{FF2B5EF4-FFF2-40B4-BE49-F238E27FC236}">
                <a16:creationId xmlns:a16="http://schemas.microsoft.com/office/drawing/2014/main" id="{F9A970A3-A340-2E48-8E05-263608723EDB}"/>
              </a:ext>
            </a:extLst>
          </p:cNvPr>
          <p:cNvSpPr>
            <a:spLocks noGrp="1"/>
          </p:cNvSpPr>
          <p:nvPr>
            <p:ph type="body" sz="quarter" idx="29" hasCustomPrompt="1"/>
          </p:nvPr>
        </p:nvSpPr>
        <p:spPr>
          <a:xfrm>
            <a:off x="9604483" y="4614510"/>
            <a:ext cx="1144387"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59" name="Text Placeholder 2">
            <a:extLst>
              <a:ext uri="{FF2B5EF4-FFF2-40B4-BE49-F238E27FC236}">
                <a16:creationId xmlns:a16="http://schemas.microsoft.com/office/drawing/2014/main" id="{282927CF-77E9-EB42-BA00-77CFC9158803}"/>
              </a:ext>
            </a:extLst>
          </p:cNvPr>
          <p:cNvSpPr>
            <a:spLocks noGrp="1"/>
          </p:cNvSpPr>
          <p:nvPr>
            <p:ph type="body" sz="quarter" idx="30" hasCustomPrompt="1"/>
          </p:nvPr>
        </p:nvSpPr>
        <p:spPr>
          <a:xfrm>
            <a:off x="9392427" y="5417810"/>
            <a:ext cx="1144387" cy="368018"/>
          </a:xfrm>
          <a:prstGeom prst="rect">
            <a:avLst/>
          </a:prstGeom>
        </p:spPr>
        <p:txBody>
          <a:bodyPr lIns="0" tIns="0" bIns="0" anchor="ctr"/>
          <a:lstStyle>
            <a:lvl1pPr algn="r">
              <a:defRPr lang="en-GB" sz="20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4" name="Oval 19">
            <a:extLst>
              <a:ext uri="{FF2B5EF4-FFF2-40B4-BE49-F238E27FC236}">
                <a16:creationId xmlns:a16="http://schemas.microsoft.com/office/drawing/2014/main" id="{D797BA02-7B9B-48D3-A229-76EE99C63F8B}"/>
              </a:ext>
            </a:extLst>
          </p:cNvPr>
          <p:cNvSpPr/>
          <p:nvPr userDrawn="1"/>
        </p:nvSpPr>
        <p:spPr>
          <a:xfrm>
            <a:off x="5362137" y="5361119"/>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lumMod val="50000"/>
                  </a:schemeClr>
                </a:solidFill>
                <a:latin typeface="Arial" panose="020B0604020202020204" pitchFamily="34" charset="0"/>
                <a:cs typeface="Arial" panose="020B0604020202020204" pitchFamily="34" charset="0"/>
              </a:rPr>
              <a:t>6</a:t>
            </a:r>
            <a:endParaRPr lang="x-none" sz="2800" b="1" dirty="0">
              <a:solidFill>
                <a:schemeClr val="tx1">
                  <a:lumMod val="50000"/>
                </a:schemeClr>
              </a:solidFill>
              <a:latin typeface="Arial" panose="020B0604020202020204" pitchFamily="34" charset="0"/>
              <a:cs typeface="Arial" panose="020B0604020202020204" pitchFamily="34" charset="0"/>
            </a:endParaRPr>
          </a:p>
        </p:txBody>
      </p:sp>
      <p:sp>
        <p:nvSpPr>
          <p:cNvPr id="3" name="Title 1">
            <a:extLst>
              <a:ext uri="{FF2B5EF4-FFF2-40B4-BE49-F238E27FC236}">
                <a16:creationId xmlns:a16="http://schemas.microsoft.com/office/drawing/2014/main" id="{77E438D6-BC6A-74F8-569A-18EB1FB3160B}"/>
              </a:ext>
            </a:extLst>
          </p:cNvPr>
          <p:cNvSpPr>
            <a:spLocks noGrp="1"/>
          </p:cNvSpPr>
          <p:nvPr>
            <p:ph type="title" hasCustomPrompt="1"/>
          </p:nvPr>
        </p:nvSpPr>
        <p:spPr>
          <a:xfrm>
            <a:off x="7361584" y="642950"/>
            <a:ext cx="4525616"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Bericht</a:t>
            </a:r>
            <a:endParaRPr lang="de-DE" dirty="0"/>
          </a:p>
        </p:txBody>
      </p:sp>
      <p:sp>
        <p:nvSpPr>
          <p:cNvPr id="4" name="Text Placeholder 3">
            <a:extLst>
              <a:ext uri="{FF2B5EF4-FFF2-40B4-BE49-F238E27FC236}">
                <a16:creationId xmlns:a16="http://schemas.microsoft.com/office/drawing/2014/main" id="{060D0FBC-45AF-FD3B-380C-7E389B3802BA}"/>
              </a:ext>
            </a:extLst>
          </p:cNvPr>
          <p:cNvSpPr>
            <a:spLocks noGrp="1"/>
          </p:cNvSpPr>
          <p:nvPr>
            <p:ph type="body" sz="quarter" idx="13" hasCustomPrompt="1"/>
          </p:nvPr>
        </p:nvSpPr>
        <p:spPr>
          <a:xfrm>
            <a:off x="7362048"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34229648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VZ_7_Kapitel">
    <p:bg>
      <p:bgPr>
        <a:solidFill>
          <a:schemeClr val="bg1"/>
        </a:solidFill>
        <a:effectLst/>
      </p:bgPr>
    </p:bg>
    <p:spTree>
      <p:nvGrpSpPr>
        <p:cNvPr id="1" name=""/>
        <p:cNvGrpSpPr/>
        <p:nvPr/>
      </p:nvGrpSpPr>
      <p:grpSpPr>
        <a:xfrm>
          <a:off x="0" y="0"/>
          <a:ext cx="0" cy="0"/>
          <a:chOff x="0" y="0"/>
          <a:chExt cx="0" cy="0"/>
        </a:xfrm>
      </p:grpSpPr>
      <p:sp>
        <p:nvSpPr>
          <p:cNvPr id="68" name="Picture Placeholder 67">
            <a:extLst>
              <a:ext uri="{FF2B5EF4-FFF2-40B4-BE49-F238E27FC236}">
                <a16:creationId xmlns:a16="http://schemas.microsoft.com/office/drawing/2014/main" id="{055B242E-39F0-40B4-A300-662828C47224}"/>
              </a:ext>
            </a:extLst>
          </p:cNvPr>
          <p:cNvSpPr>
            <a:spLocks noGrp="1" noChangeAspect="1"/>
          </p:cNvSpPr>
          <p:nvPr>
            <p:ph type="pic" sz="quarter" idx="12"/>
          </p:nvPr>
        </p:nvSpPr>
        <p:spPr>
          <a:xfrm>
            <a:off x="-3881" y="2"/>
            <a:ext cx="7016940" cy="6857999"/>
          </a:xfrm>
          <a:custGeom>
            <a:avLst/>
            <a:gdLst>
              <a:gd name="connsiteX0" fmla="*/ 936350 w 7016940"/>
              <a:gd name="connsiteY0" fmla="*/ 0 h 6857999"/>
              <a:gd name="connsiteX1" fmla="*/ 7016940 w 7016940"/>
              <a:gd name="connsiteY1" fmla="*/ 0 h 6857999"/>
              <a:gd name="connsiteX2" fmla="*/ 6655837 w 7016940"/>
              <a:gd name="connsiteY2" fmla="*/ 1346843 h 6857999"/>
              <a:gd name="connsiteX3" fmla="*/ 6629354 w 7016940"/>
              <a:gd name="connsiteY3" fmla="*/ 1349513 h 6857999"/>
              <a:gd name="connsiteX4" fmla="*/ 6437162 w 7016940"/>
              <a:gd name="connsiteY4" fmla="*/ 1585324 h 6857999"/>
              <a:gd name="connsiteX5" fmla="*/ 6507662 w 7016940"/>
              <a:gd name="connsiteY5" fmla="*/ 1755525 h 6857999"/>
              <a:gd name="connsiteX6" fmla="*/ 6539272 w 7016940"/>
              <a:gd name="connsiteY6" fmla="*/ 1781606 h 6857999"/>
              <a:gd name="connsiteX7" fmla="*/ 6476332 w 7016940"/>
              <a:gd name="connsiteY7" fmla="*/ 2016358 h 6857999"/>
              <a:gd name="connsiteX8" fmla="*/ 6450830 w 7016940"/>
              <a:gd name="connsiteY8" fmla="*/ 2018929 h 6857999"/>
              <a:gd name="connsiteX9" fmla="*/ 6258638 w 7016940"/>
              <a:gd name="connsiteY9" fmla="*/ 2254739 h 6857999"/>
              <a:gd name="connsiteX10" fmla="*/ 6329138 w 7016940"/>
              <a:gd name="connsiteY10" fmla="*/ 2424941 h 6857999"/>
              <a:gd name="connsiteX11" fmla="*/ 6359967 w 7016940"/>
              <a:gd name="connsiteY11" fmla="*/ 2450377 h 6857999"/>
              <a:gd name="connsiteX12" fmla="*/ 6296828 w 7016940"/>
              <a:gd name="connsiteY12" fmla="*/ 2685873 h 6857999"/>
              <a:gd name="connsiteX13" fmla="*/ 6272306 w 7016940"/>
              <a:gd name="connsiteY13" fmla="*/ 2688345 h 6857999"/>
              <a:gd name="connsiteX14" fmla="*/ 6080114 w 7016940"/>
              <a:gd name="connsiteY14" fmla="*/ 2924156 h 6857999"/>
              <a:gd name="connsiteX15" fmla="*/ 6150614 w 7016940"/>
              <a:gd name="connsiteY15" fmla="*/ 3094357 h 6857999"/>
              <a:gd name="connsiteX16" fmla="*/ 6180662 w 7016940"/>
              <a:gd name="connsiteY16" fmla="*/ 3119149 h 6857999"/>
              <a:gd name="connsiteX17" fmla="*/ 6117323 w 7016940"/>
              <a:gd name="connsiteY17" fmla="*/ 3355388 h 6857999"/>
              <a:gd name="connsiteX18" fmla="*/ 6093782 w 7016940"/>
              <a:gd name="connsiteY18" fmla="*/ 3357761 h 6857999"/>
              <a:gd name="connsiteX19" fmla="*/ 5901590 w 7016940"/>
              <a:gd name="connsiteY19" fmla="*/ 3593571 h 6857999"/>
              <a:gd name="connsiteX20" fmla="*/ 5972090 w 7016940"/>
              <a:gd name="connsiteY20" fmla="*/ 3763772 h 6857999"/>
              <a:gd name="connsiteX21" fmla="*/ 6001357 w 7016940"/>
              <a:gd name="connsiteY21" fmla="*/ 3787919 h 6857999"/>
              <a:gd name="connsiteX22" fmla="*/ 5937819 w 7016940"/>
              <a:gd name="connsiteY22" fmla="*/ 4024902 h 6857999"/>
              <a:gd name="connsiteX23" fmla="*/ 5915258 w 7016940"/>
              <a:gd name="connsiteY23" fmla="*/ 4027176 h 6857999"/>
              <a:gd name="connsiteX24" fmla="*/ 5723066 w 7016940"/>
              <a:gd name="connsiteY24" fmla="*/ 4262987 h 6857999"/>
              <a:gd name="connsiteX25" fmla="*/ 5793566 w 7016940"/>
              <a:gd name="connsiteY25" fmla="*/ 4433188 h 6857999"/>
              <a:gd name="connsiteX26" fmla="*/ 5822052 w 7016940"/>
              <a:gd name="connsiteY26" fmla="*/ 4456691 h 6857999"/>
              <a:gd name="connsiteX27" fmla="*/ 5758315 w 7016940"/>
              <a:gd name="connsiteY27" fmla="*/ 4694417 h 6857999"/>
              <a:gd name="connsiteX28" fmla="*/ 5736734 w 7016940"/>
              <a:gd name="connsiteY28" fmla="*/ 4696592 h 6857999"/>
              <a:gd name="connsiteX29" fmla="*/ 5544542 w 7016940"/>
              <a:gd name="connsiteY29" fmla="*/ 4932403 h 6857999"/>
              <a:gd name="connsiteX30" fmla="*/ 5615042 w 7016940"/>
              <a:gd name="connsiteY30" fmla="*/ 5102604 h 6857999"/>
              <a:gd name="connsiteX31" fmla="*/ 5642747 w 7016940"/>
              <a:gd name="connsiteY31" fmla="*/ 5125463 h 6857999"/>
              <a:gd name="connsiteX32" fmla="*/ 5578811 w 7016940"/>
              <a:gd name="connsiteY32" fmla="*/ 5363932 h 6857999"/>
              <a:gd name="connsiteX33" fmla="*/ 5558210 w 7016940"/>
              <a:gd name="connsiteY33" fmla="*/ 5366008 h 6857999"/>
              <a:gd name="connsiteX34" fmla="*/ 5366018 w 7016940"/>
              <a:gd name="connsiteY34" fmla="*/ 5601819 h 6857999"/>
              <a:gd name="connsiteX35" fmla="*/ 5436518 w 7016940"/>
              <a:gd name="connsiteY35" fmla="*/ 5772020 h 6857999"/>
              <a:gd name="connsiteX36" fmla="*/ 5463442 w 7016940"/>
              <a:gd name="connsiteY36" fmla="*/ 5794234 h 6857999"/>
              <a:gd name="connsiteX37" fmla="*/ 5178234 w 7016940"/>
              <a:gd name="connsiteY37" fmla="*/ 6857999 h 6857999"/>
              <a:gd name="connsiteX38" fmla="*/ 0 w 7016940"/>
              <a:gd name="connsiteY38" fmla="*/ 6857999 h 6857999"/>
              <a:gd name="connsiteX39" fmla="*/ 0 w 7016940"/>
              <a:gd name="connsiteY39" fmla="*/ 345225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016940" h="6857999">
                <a:moveTo>
                  <a:pt x="936350" y="0"/>
                </a:moveTo>
                <a:lnTo>
                  <a:pt x="7016940" y="0"/>
                </a:lnTo>
                <a:lnTo>
                  <a:pt x="6655837" y="1346843"/>
                </a:lnTo>
                <a:lnTo>
                  <a:pt x="6629354" y="1349513"/>
                </a:lnTo>
                <a:cubicBezTo>
                  <a:pt x="6519671" y="1371957"/>
                  <a:pt x="6437162" y="1469006"/>
                  <a:pt x="6437162" y="1585324"/>
                </a:cubicBezTo>
                <a:cubicBezTo>
                  <a:pt x="6437162" y="1651791"/>
                  <a:pt x="6464104" y="1711967"/>
                  <a:pt x="6507662" y="1755525"/>
                </a:cubicBezTo>
                <a:lnTo>
                  <a:pt x="6539272" y="1781606"/>
                </a:lnTo>
                <a:lnTo>
                  <a:pt x="6476332" y="2016358"/>
                </a:lnTo>
                <a:lnTo>
                  <a:pt x="6450830" y="2018929"/>
                </a:lnTo>
                <a:cubicBezTo>
                  <a:pt x="6341147" y="2041373"/>
                  <a:pt x="6258638" y="2138421"/>
                  <a:pt x="6258638" y="2254739"/>
                </a:cubicBezTo>
                <a:cubicBezTo>
                  <a:pt x="6258638" y="2321207"/>
                  <a:pt x="6285580" y="2381383"/>
                  <a:pt x="6329138" y="2424941"/>
                </a:cubicBezTo>
                <a:lnTo>
                  <a:pt x="6359967" y="2450377"/>
                </a:lnTo>
                <a:lnTo>
                  <a:pt x="6296828" y="2685873"/>
                </a:lnTo>
                <a:lnTo>
                  <a:pt x="6272306" y="2688345"/>
                </a:lnTo>
                <a:cubicBezTo>
                  <a:pt x="6162623" y="2710789"/>
                  <a:pt x="6080114" y="2807837"/>
                  <a:pt x="6080114" y="2924156"/>
                </a:cubicBezTo>
                <a:cubicBezTo>
                  <a:pt x="6080114" y="2990623"/>
                  <a:pt x="6107056" y="3050798"/>
                  <a:pt x="6150614" y="3094357"/>
                </a:cubicBezTo>
                <a:lnTo>
                  <a:pt x="6180662" y="3119149"/>
                </a:lnTo>
                <a:lnTo>
                  <a:pt x="6117323" y="3355388"/>
                </a:lnTo>
                <a:lnTo>
                  <a:pt x="6093782" y="3357761"/>
                </a:lnTo>
                <a:cubicBezTo>
                  <a:pt x="5984099" y="3380205"/>
                  <a:pt x="5901590" y="3477253"/>
                  <a:pt x="5901590" y="3593571"/>
                </a:cubicBezTo>
                <a:cubicBezTo>
                  <a:pt x="5901590" y="3660039"/>
                  <a:pt x="5928532" y="3720214"/>
                  <a:pt x="5972090" y="3763772"/>
                </a:cubicBezTo>
                <a:lnTo>
                  <a:pt x="6001357" y="3787919"/>
                </a:lnTo>
                <a:lnTo>
                  <a:pt x="5937819" y="4024902"/>
                </a:lnTo>
                <a:lnTo>
                  <a:pt x="5915258" y="4027176"/>
                </a:lnTo>
                <a:cubicBezTo>
                  <a:pt x="5805575" y="4049621"/>
                  <a:pt x="5723066" y="4146669"/>
                  <a:pt x="5723066" y="4262987"/>
                </a:cubicBezTo>
                <a:cubicBezTo>
                  <a:pt x="5723066" y="4329455"/>
                  <a:pt x="5750008" y="4389630"/>
                  <a:pt x="5793566" y="4433188"/>
                </a:cubicBezTo>
                <a:lnTo>
                  <a:pt x="5822052" y="4456691"/>
                </a:lnTo>
                <a:lnTo>
                  <a:pt x="5758315" y="4694417"/>
                </a:lnTo>
                <a:lnTo>
                  <a:pt x="5736734" y="4696592"/>
                </a:lnTo>
                <a:cubicBezTo>
                  <a:pt x="5627051" y="4719037"/>
                  <a:pt x="5544542" y="4816085"/>
                  <a:pt x="5544542" y="4932403"/>
                </a:cubicBezTo>
                <a:cubicBezTo>
                  <a:pt x="5544542" y="4998871"/>
                  <a:pt x="5571484" y="5059046"/>
                  <a:pt x="5615042" y="5102604"/>
                </a:cubicBezTo>
                <a:lnTo>
                  <a:pt x="5642747" y="5125463"/>
                </a:lnTo>
                <a:lnTo>
                  <a:pt x="5578811" y="5363932"/>
                </a:lnTo>
                <a:lnTo>
                  <a:pt x="5558210" y="5366008"/>
                </a:lnTo>
                <a:cubicBezTo>
                  <a:pt x="5448527" y="5388453"/>
                  <a:pt x="5366018" y="5485501"/>
                  <a:pt x="5366018" y="5601819"/>
                </a:cubicBezTo>
                <a:cubicBezTo>
                  <a:pt x="5366018" y="5668287"/>
                  <a:pt x="5392960" y="5728462"/>
                  <a:pt x="5436518" y="5772020"/>
                </a:cubicBezTo>
                <a:lnTo>
                  <a:pt x="5463442" y="5794234"/>
                </a:lnTo>
                <a:lnTo>
                  <a:pt x="5178234" y="6857999"/>
                </a:lnTo>
                <a:lnTo>
                  <a:pt x="0" y="6857999"/>
                </a:lnTo>
                <a:lnTo>
                  <a:pt x="0" y="3452256"/>
                </a:lnTo>
                <a:close/>
              </a:path>
            </a:pathLst>
          </a:custGeom>
        </p:spPr>
        <p:txBody>
          <a:bodyPr wrap="square">
            <a:noAutofit/>
          </a:bodyPr>
          <a:lstStyle/>
          <a:p>
            <a:r>
              <a:rPr lang="de-DE"/>
              <a:t>Bild durch Klicken auf Symbol hinzufügen</a:t>
            </a:r>
            <a:endParaRPr lang="x-none"/>
          </a:p>
        </p:txBody>
      </p:sp>
      <p:sp>
        <p:nvSpPr>
          <p:cNvPr id="22" name="Slide Number Placeholder 3">
            <a:extLst>
              <a:ext uri="{FF2B5EF4-FFF2-40B4-BE49-F238E27FC236}">
                <a16:creationId xmlns:a16="http://schemas.microsoft.com/office/drawing/2014/main" id="{D3BFDA53-858A-9445-ACD8-05499BD9ED20}"/>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35" name="Text Placeholder 2">
            <a:extLst>
              <a:ext uri="{FF2B5EF4-FFF2-40B4-BE49-F238E27FC236}">
                <a16:creationId xmlns:a16="http://schemas.microsoft.com/office/drawing/2014/main" id="{350954DB-4355-C047-9F94-41E05AD0F172}"/>
              </a:ext>
            </a:extLst>
          </p:cNvPr>
          <p:cNvSpPr>
            <a:spLocks noGrp="1"/>
          </p:cNvSpPr>
          <p:nvPr>
            <p:ph type="body" sz="quarter" idx="14"/>
          </p:nvPr>
        </p:nvSpPr>
        <p:spPr>
          <a:xfrm>
            <a:off x="7096903" y="1401314"/>
            <a:ext cx="3321822"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6" name="Text Placeholder 2">
            <a:extLst>
              <a:ext uri="{FF2B5EF4-FFF2-40B4-BE49-F238E27FC236}">
                <a16:creationId xmlns:a16="http://schemas.microsoft.com/office/drawing/2014/main" id="{699942C1-DDEC-9040-9796-B78DB3FF6EE1}"/>
              </a:ext>
            </a:extLst>
          </p:cNvPr>
          <p:cNvSpPr>
            <a:spLocks noGrp="1"/>
          </p:cNvSpPr>
          <p:nvPr>
            <p:ph type="body" sz="quarter" idx="15"/>
          </p:nvPr>
        </p:nvSpPr>
        <p:spPr>
          <a:xfrm>
            <a:off x="6920650" y="2070730"/>
            <a:ext cx="3321822"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7" name="Text Placeholder 2">
            <a:extLst>
              <a:ext uri="{FF2B5EF4-FFF2-40B4-BE49-F238E27FC236}">
                <a16:creationId xmlns:a16="http://schemas.microsoft.com/office/drawing/2014/main" id="{1F8E7C73-77C5-FA48-BB2C-426660B1E288}"/>
              </a:ext>
            </a:extLst>
          </p:cNvPr>
          <p:cNvSpPr>
            <a:spLocks noGrp="1"/>
          </p:cNvSpPr>
          <p:nvPr>
            <p:ph type="body" sz="quarter" idx="16"/>
          </p:nvPr>
        </p:nvSpPr>
        <p:spPr>
          <a:xfrm>
            <a:off x="6744399" y="2740146"/>
            <a:ext cx="3321822"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8" name="Text Placeholder 2">
            <a:extLst>
              <a:ext uri="{FF2B5EF4-FFF2-40B4-BE49-F238E27FC236}">
                <a16:creationId xmlns:a16="http://schemas.microsoft.com/office/drawing/2014/main" id="{40F7C173-D968-3544-BD25-EC199ABF0C93}"/>
              </a:ext>
            </a:extLst>
          </p:cNvPr>
          <p:cNvSpPr>
            <a:spLocks noGrp="1"/>
          </p:cNvSpPr>
          <p:nvPr>
            <p:ph type="body" sz="quarter" idx="17"/>
          </p:nvPr>
        </p:nvSpPr>
        <p:spPr>
          <a:xfrm>
            <a:off x="6568148" y="3409562"/>
            <a:ext cx="3321822"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9" name="Text Placeholder 2">
            <a:extLst>
              <a:ext uri="{FF2B5EF4-FFF2-40B4-BE49-F238E27FC236}">
                <a16:creationId xmlns:a16="http://schemas.microsoft.com/office/drawing/2014/main" id="{435845FB-2C7F-7F47-B6D5-DFE740E7E77B}"/>
              </a:ext>
            </a:extLst>
          </p:cNvPr>
          <p:cNvSpPr>
            <a:spLocks noGrp="1"/>
          </p:cNvSpPr>
          <p:nvPr>
            <p:ph type="body" sz="quarter" idx="18"/>
          </p:nvPr>
        </p:nvSpPr>
        <p:spPr>
          <a:xfrm>
            <a:off x="6391897" y="4078978"/>
            <a:ext cx="3321822"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1" name="Text Placeholder 2">
            <a:extLst>
              <a:ext uri="{FF2B5EF4-FFF2-40B4-BE49-F238E27FC236}">
                <a16:creationId xmlns:a16="http://schemas.microsoft.com/office/drawing/2014/main" id="{00807678-0B25-8947-B28E-96A05263BF25}"/>
              </a:ext>
            </a:extLst>
          </p:cNvPr>
          <p:cNvSpPr>
            <a:spLocks noGrp="1"/>
          </p:cNvSpPr>
          <p:nvPr>
            <p:ph type="body" sz="quarter" idx="24"/>
          </p:nvPr>
        </p:nvSpPr>
        <p:spPr>
          <a:xfrm>
            <a:off x="6039395" y="5417810"/>
            <a:ext cx="3321822"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2" name="Text Placeholder 2">
            <a:extLst>
              <a:ext uri="{FF2B5EF4-FFF2-40B4-BE49-F238E27FC236}">
                <a16:creationId xmlns:a16="http://schemas.microsoft.com/office/drawing/2014/main" id="{692EEB15-E171-1C4F-A6CC-4834563C39B9}"/>
              </a:ext>
            </a:extLst>
          </p:cNvPr>
          <p:cNvSpPr>
            <a:spLocks noGrp="1"/>
          </p:cNvSpPr>
          <p:nvPr>
            <p:ph type="body" sz="quarter" idx="25"/>
          </p:nvPr>
        </p:nvSpPr>
        <p:spPr>
          <a:xfrm>
            <a:off x="6215646" y="4748394"/>
            <a:ext cx="3321822"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51" name="Oval 50">
            <a:extLst>
              <a:ext uri="{FF2B5EF4-FFF2-40B4-BE49-F238E27FC236}">
                <a16:creationId xmlns:a16="http://schemas.microsoft.com/office/drawing/2014/main" id="{C5D761EE-FA66-8243-BE6F-3AB8841B8C12}"/>
              </a:ext>
            </a:extLst>
          </p:cNvPr>
          <p:cNvSpPr/>
          <p:nvPr userDrawn="1"/>
        </p:nvSpPr>
        <p:spPr>
          <a:xfrm>
            <a:off x="6254757" y="2014039"/>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600" b="1">
                <a:solidFill>
                  <a:schemeClr val="tx1">
                    <a:lumMod val="50000"/>
                  </a:schemeClr>
                </a:solidFill>
                <a:latin typeface="Arial" panose="020B0604020202020204" pitchFamily="34" charset="0"/>
                <a:cs typeface="Arial" panose="020B0604020202020204" pitchFamily="34" charset="0"/>
              </a:rPr>
              <a:t>2</a:t>
            </a:r>
          </a:p>
        </p:txBody>
      </p:sp>
      <p:sp>
        <p:nvSpPr>
          <p:cNvPr id="52" name="Oval 13">
            <a:extLst>
              <a:ext uri="{FF2B5EF4-FFF2-40B4-BE49-F238E27FC236}">
                <a16:creationId xmlns:a16="http://schemas.microsoft.com/office/drawing/2014/main" id="{00C7CEB8-370F-1746-ADE0-868585DD76A1}"/>
              </a:ext>
            </a:extLst>
          </p:cNvPr>
          <p:cNvSpPr/>
          <p:nvPr userDrawn="1"/>
        </p:nvSpPr>
        <p:spPr>
          <a:xfrm>
            <a:off x="6076233" y="2683455"/>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600" b="1">
                <a:solidFill>
                  <a:schemeClr val="tx1">
                    <a:lumMod val="50000"/>
                  </a:schemeClr>
                </a:solidFill>
                <a:latin typeface="Arial" panose="020B0604020202020204" pitchFamily="34" charset="0"/>
                <a:cs typeface="Arial" panose="020B0604020202020204" pitchFamily="34" charset="0"/>
              </a:rPr>
              <a:t>3</a:t>
            </a:r>
          </a:p>
        </p:txBody>
      </p:sp>
      <p:sp>
        <p:nvSpPr>
          <p:cNvPr id="53" name="Oval 16">
            <a:extLst>
              <a:ext uri="{FF2B5EF4-FFF2-40B4-BE49-F238E27FC236}">
                <a16:creationId xmlns:a16="http://schemas.microsoft.com/office/drawing/2014/main" id="{FA40F499-3924-D543-A534-F8781F5746C4}"/>
              </a:ext>
            </a:extLst>
          </p:cNvPr>
          <p:cNvSpPr/>
          <p:nvPr userDrawn="1"/>
        </p:nvSpPr>
        <p:spPr>
          <a:xfrm>
            <a:off x="5897709" y="3352871"/>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600" b="1" dirty="0">
                <a:solidFill>
                  <a:schemeClr val="tx1">
                    <a:lumMod val="50000"/>
                  </a:schemeClr>
                </a:solidFill>
                <a:latin typeface="Arial" panose="020B0604020202020204" pitchFamily="34" charset="0"/>
                <a:cs typeface="Arial" panose="020B0604020202020204" pitchFamily="34" charset="0"/>
              </a:rPr>
              <a:t>4</a:t>
            </a:r>
          </a:p>
        </p:txBody>
      </p:sp>
      <p:sp>
        <p:nvSpPr>
          <p:cNvPr id="54" name="Oval 19">
            <a:extLst>
              <a:ext uri="{FF2B5EF4-FFF2-40B4-BE49-F238E27FC236}">
                <a16:creationId xmlns:a16="http://schemas.microsoft.com/office/drawing/2014/main" id="{095DD1C2-4C76-C640-93F1-E4821A6B6936}"/>
              </a:ext>
            </a:extLst>
          </p:cNvPr>
          <p:cNvSpPr/>
          <p:nvPr userDrawn="1"/>
        </p:nvSpPr>
        <p:spPr>
          <a:xfrm>
            <a:off x="5719185" y="4022287"/>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600" b="1">
                <a:solidFill>
                  <a:schemeClr val="tx1">
                    <a:lumMod val="50000"/>
                  </a:schemeClr>
                </a:solidFill>
                <a:latin typeface="Arial" panose="020B0604020202020204" pitchFamily="34" charset="0"/>
                <a:cs typeface="Arial" panose="020B0604020202020204" pitchFamily="34" charset="0"/>
              </a:rPr>
              <a:t>5</a:t>
            </a:r>
          </a:p>
        </p:txBody>
      </p:sp>
      <p:sp>
        <p:nvSpPr>
          <p:cNvPr id="56" name="Oval 19">
            <a:extLst>
              <a:ext uri="{FF2B5EF4-FFF2-40B4-BE49-F238E27FC236}">
                <a16:creationId xmlns:a16="http://schemas.microsoft.com/office/drawing/2014/main" id="{5F9C10B9-17BC-2847-8245-8EBE2E47D91B}"/>
              </a:ext>
            </a:extLst>
          </p:cNvPr>
          <p:cNvSpPr/>
          <p:nvPr userDrawn="1"/>
        </p:nvSpPr>
        <p:spPr>
          <a:xfrm>
            <a:off x="5540661" y="4691703"/>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solidFill>
                  <a:schemeClr val="tx1">
                    <a:lumMod val="50000"/>
                  </a:schemeClr>
                </a:solidFill>
                <a:latin typeface="Arial" panose="020B0604020202020204" pitchFamily="34" charset="0"/>
                <a:cs typeface="Arial" panose="020B0604020202020204" pitchFamily="34" charset="0"/>
              </a:rPr>
              <a:t>6</a:t>
            </a:r>
            <a:endParaRPr lang="x-none" sz="2600" b="1" dirty="0">
              <a:solidFill>
                <a:schemeClr val="tx1">
                  <a:lumMod val="50000"/>
                </a:schemeClr>
              </a:solidFill>
              <a:latin typeface="Arial" panose="020B0604020202020204" pitchFamily="34" charset="0"/>
              <a:cs typeface="Arial" panose="020B0604020202020204" pitchFamily="34" charset="0"/>
            </a:endParaRPr>
          </a:p>
        </p:txBody>
      </p:sp>
      <p:sp>
        <p:nvSpPr>
          <p:cNvPr id="57" name="Text Placeholder 2">
            <a:extLst>
              <a:ext uri="{FF2B5EF4-FFF2-40B4-BE49-F238E27FC236}">
                <a16:creationId xmlns:a16="http://schemas.microsoft.com/office/drawing/2014/main" id="{231F178D-0B64-8940-926F-C0BE54B7642F}"/>
              </a:ext>
            </a:extLst>
          </p:cNvPr>
          <p:cNvSpPr>
            <a:spLocks noGrp="1"/>
          </p:cNvSpPr>
          <p:nvPr>
            <p:ph type="body" sz="quarter" idx="26" hasCustomPrompt="1"/>
          </p:nvPr>
        </p:nvSpPr>
        <p:spPr>
          <a:xfrm>
            <a:off x="10428250" y="1401314"/>
            <a:ext cx="1173533"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58" name="Text Placeholder 2">
            <a:extLst>
              <a:ext uri="{FF2B5EF4-FFF2-40B4-BE49-F238E27FC236}">
                <a16:creationId xmlns:a16="http://schemas.microsoft.com/office/drawing/2014/main" id="{93591F2C-AFCB-E34E-BC3A-07B3EDAF277A}"/>
              </a:ext>
            </a:extLst>
          </p:cNvPr>
          <p:cNvSpPr>
            <a:spLocks noGrp="1"/>
          </p:cNvSpPr>
          <p:nvPr>
            <p:ph type="body" sz="quarter" idx="27" hasCustomPrompt="1"/>
          </p:nvPr>
        </p:nvSpPr>
        <p:spPr>
          <a:xfrm>
            <a:off x="10250852" y="2070730"/>
            <a:ext cx="1173533"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59" name="Text Placeholder 2">
            <a:extLst>
              <a:ext uri="{FF2B5EF4-FFF2-40B4-BE49-F238E27FC236}">
                <a16:creationId xmlns:a16="http://schemas.microsoft.com/office/drawing/2014/main" id="{C2A6FE39-E4CB-0348-90CA-7CAEEEC16DC3}"/>
              </a:ext>
            </a:extLst>
          </p:cNvPr>
          <p:cNvSpPr>
            <a:spLocks noGrp="1"/>
          </p:cNvSpPr>
          <p:nvPr>
            <p:ph type="body" sz="quarter" idx="28" hasCustomPrompt="1"/>
          </p:nvPr>
        </p:nvSpPr>
        <p:spPr>
          <a:xfrm>
            <a:off x="10073452" y="2740146"/>
            <a:ext cx="1173533"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60" name="Text Placeholder 2">
            <a:extLst>
              <a:ext uri="{FF2B5EF4-FFF2-40B4-BE49-F238E27FC236}">
                <a16:creationId xmlns:a16="http://schemas.microsoft.com/office/drawing/2014/main" id="{55052F1F-6E21-4F47-B7FA-5DDAF30C6181}"/>
              </a:ext>
            </a:extLst>
          </p:cNvPr>
          <p:cNvSpPr>
            <a:spLocks noGrp="1"/>
          </p:cNvSpPr>
          <p:nvPr>
            <p:ph type="body" sz="quarter" idx="29" hasCustomPrompt="1"/>
          </p:nvPr>
        </p:nvSpPr>
        <p:spPr>
          <a:xfrm>
            <a:off x="9896052" y="3409562"/>
            <a:ext cx="1173533"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61" name="Text Placeholder 2">
            <a:extLst>
              <a:ext uri="{FF2B5EF4-FFF2-40B4-BE49-F238E27FC236}">
                <a16:creationId xmlns:a16="http://schemas.microsoft.com/office/drawing/2014/main" id="{901F4B4E-44E1-E049-A14A-B744098A2093}"/>
              </a:ext>
            </a:extLst>
          </p:cNvPr>
          <p:cNvSpPr>
            <a:spLocks noGrp="1"/>
          </p:cNvSpPr>
          <p:nvPr>
            <p:ph type="body" sz="quarter" idx="30" hasCustomPrompt="1"/>
          </p:nvPr>
        </p:nvSpPr>
        <p:spPr>
          <a:xfrm>
            <a:off x="9718652" y="4078978"/>
            <a:ext cx="1173533"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62" name="Text Placeholder 2">
            <a:extLst>
              <a:ext uri="{FF2B5EF4-FFF2-40B4-BE49-F238E27FC236}">
                <a16:creationId xmlns:a16="http://schemas.microsoft.com/office/drawing/2014/main" id="{5B3D2989-77A3-6243-A167-873273924242}"/>
              </a:ext>
            </a:extLst>
          </p:cNvPr>
          <p:cNvSpPr>
            <a:spLocks noGrp="1"/>
          </p:cNvSpPr>
          <p:nvPr>
            <p:ph type="body" sz="quarter" idx="31" hasCustomPrompt="1"/>
          </p:nvPr>
        </p:nvSpPr>
        <p:spPr>
          <a:xfrm>
            <a:off x="9363852" y="5417810"/>
            <a:ext cx="1173533"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63" name="Text Placeholder 2">
            <a:extLst>
              <a:ext uri="{FF2B5EF4-FFF2-40B4-BE49-F238E27FC236}">
                <a16:creationId xmlns:a16="http://schemas.microsoft.com/office/drawing/2014/main" id="{08702030-BEE9-684E-B31E-DD0F7B58D26B}"/>
              </a:ext>
            </a:extLst>
          </p:cNvPr>
          <p:cNvSpPr>
            <a:spLocks noGrp="1"/>
          </p:cNvSpPr>
          <p:nvPr>
            <p:ph type="body" sz="quarter" idx="32" hasCustomPrompt="1"/>
          </p:nvPr>
        </p:nvSpPr>
        <p:spPr>
          <a:xfrm>
            <a:off x="9541252" y="4748394"/>
            <a:ext cx="1173533"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2" name="Oval 31">
            <a:extLst>
              <a:ext uri="{FF2B5EF4-FFF2-40B4-BE49-F238E27FC236}">
                <a16:creationId xmlns:a16="http://schemas.microsoft.com/office/drawing/2014/main" id="{59F40DDC-1CF1-41AB-96FA-86B06B94ABCB}"/>
              </a:ext>
            </a:extLst>
          </p:cNvPr>
          <p:cNvSpPr/>
          <p:nvPr userDrawn="1"/>
        </p:nvSpPr>
        <p:spPr>
          <a:xfrm>
            <a:off x="6433281" y="1344623"/>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600" b="1" dirty="0">
                <a:solidFill>
                  <a:schemeClr val="tx1">
                    <a:lumMod val="50000"/>
                  </a:schemeClr>
                </a:solidFill>
                <a:latin typeface="Arial" panose="020B0604020202020204" pitchFamily="34" charset="0"/>
                <a:cs typeface="Arial" panose="020B0604020202020204" pitchFamily="34" charset="0"/>
              </a:rPr>
              <a:t>1</a:t>
            </a:r>
          </a:p>
        </p:txBody>
      </p:sp>
      <p:sp>
        <p:nvSpPr>
          <p:cNvPr id="33" name="Oval 19">
            <a:extLst>
              <a:ext uri="{FF2B5EF4-FFF2-40B4-BE49-F238E27FC236}">
                <a16:creationId xmlns:a16="http://schemas.microsoft.com/office/drawing/2014/main" id="{66869CB8-93E5-4A01-9B5F-6918DE40EFED}"/>
              </a:ext>
            </a:extLst>
          </p:cNvPr>
          <p:cNvSpPr/>
          <p:nvPr userDrawn="1"/>
        </p:nvSpPr>
        <p:spPr>
          <a:xfrm>
            <a:off x="5362137" y="5361119"/>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solidFill>
                  <a:schemeClr val="tx1">
                    <a:lumMod val="50000"/>
                  </a:schemeClr>
                </a:solidFill>
                <a:latin typeface="Arial" panose="020B0604020202020204" pitchFamily="34" charset="0"/>
                <a:cs typeface="Arial" panose="020B0604020202020204" pitchFamily="34" charset="0"/>
              </a:rPr>
              <a:t>7</a:t>
            </a:r>
            <a:endParaRPr lang="x-none" sz="2600" b="1" dirty="0">
              <a:solidFill>
                <a:schemeClr val="tx1">
                  <a:lumMod val="50000"/>
                </a:schemeClr>
              </a:solidFill>
              <a:latin typeface="Arial" panose="020B0604020202020204" pitchFamily="34" charset="0"/>
              <a:cs typeface="Arial" panose="020B0604020202020204" pitchFamily="34" charset="0"/>
            </a:endParaRPr>
          </a:p>
        </p:txBody>
      </p:sp>
      <p:sp>
        <p:nvSpPr>
          <p:cNvPr id="3" name="Title 1">
            <a:extLst>
              <a:ext uri="{FF2B5EF4-FFF2-40B4-BE49-F238E27FC236}">
                <a16:creationId xmlns:a16="http://schemas.microsoft.com/office/drawing/2014/main" id="{984829F8-3316-4452-7BD3-B21257276EDE}"/>
              </a:ext>
            </a:extLst>
          </p:cNvPr>
          <p:cNvSpPr>
            <a:spLocks noGrp="1"/>
          </p:cNvSpPr>
          <p:nvPr>
            <p:ph type="title" hasCustomPrompt="1"/>
          </p:nvPr>
        </p:nvSpPr>
        <p:spPr>
          <a:xfrm>
            <a:off x="7361584" y="642950"/>
            <a:ext cx="4525616"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Bericht</a:t>
            </a:r>
            <a:endParaRPr lang="de-DE" dirty="0"/>
          </a:p>
        </p:txBody>
      </p:sp>
      <p:sp>
        <p:nvSpPr>
          <p:cNvPr id="4" name="Text Placeholder 3">
            <a:extLst>
              <a:ext uri="{FF2B5EF4-FFF2-40B4-BE49-F238E27FC236}">
                <a16:creationId xmlns:a16="http://schemas.microsoft.com/office/drawing/2014/main" id="{323DF35B-B545-81C1-9FEC-2D5FA103FB9D}"/>
              </a:ext>
            </a:extLst>
          </p:cNvPr>
          <p:cNvSpPr>
            <a:spLocks noGrp="1"/>
          </p:cNvSpPr>
          <p:nvPr>
            <p:ph type="body" sz="quarter" idx="13" hasCustomPrompt="1"/>
          </p:nvPr>
        </p:nvSpPr>
        <p:spPr>
          <a:xfrm>
            <a:off x="7362048"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22216685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VZ_8_Kapitel">
    <p:bg>
      <p:bgPr>
        <a:solidFill>
          <a:schemeClr val="bg1"/>
        </a:solidFill>
        <a:effectLst/>
      </p:bgPr>
    </p:bg>
    <p:spTree>
      <p:nvGrpSpPr>
        <p:cNvPr id="1" name=""/>
        <p:cNvGrpSpPr/>
        <p:nvPr/>
      </p:nvGrpSpPr>
      <p:grpSpPr>
        <a:xfrm>
          <a:off x="0" y="0"/>
          <a:ext cx="0" cy="0"/>
          <a:chOff x="0" y="0"/>
          <a:chExt cx="0" cy="0"/>
        </a:xfrm>
      </p:grpSpPr>
      <p:sp>
        <p:nvSpPr>
          <p:cNvPr id="73" name="Picture Placeholder 72">
            <a:extLst>
              <a:ext uri="{FF2B5EF4-FFF2-40B4-BE49-F238E27FC236}">
                <a16:creationId xmlns:a16="http://schemas.microsoft.com/office/drawing/2014/main" id="{0B7730F5-C2BC-44F0-B6AE-DAC2C17B00A4}"/>
              </a:ext>
            </a:extLst>
          </p:cNvPr>
          <p:cNvSpPr>
            <a:spLocks noGrp="1" noChangeAspect="1"/>
          </p:cNvSpPr>
          <p:nvPr>
            <p:ph type="pic" sz="quarter" idx="12"/>
          </p:nvPr>
        </p:nvSpPr>
        <p:spPr>
          <a:xfrm>
            <a:off x="-3881" y="2"/>
            <a:ext cx="7016940" cy="6857999"/>
          </a:xfrm>
          <a:custGeom>
            <a:avLst/>
            <a:gdLst>
              <a:gd name="connsiteX0" fmla="*/ 936350 w 7016940"/>
              <a:gd name="connsiteY0" fmla="*/ 0 h 6857999"/>
              <a:gd name="connsiteX1" fmla="*/ 7016940 w 7016940"/>
              <a:gd name="connsiteY1" fmla="*/ 0 h 6857999"/>
              <a:gd name="connsiteX2" fmla="*/ 6655837 w 7016940"/>
              <a:gd name="connsiteY2" fmla="*/ 1346844 h 6857999"/>
              <a:gd name="connsiteX3" fmla="*/ 6629354 w 7016940"/>
              <a:gd name="connsiteY3" fmla="*/ 1349513 h 6857999"/>
              <a:gd name="connsiteX4" fmla="*/ 6437162 w 7016940"/>
              <a:gd name="connsiteY4" fmla="*/ 1585324 h 6857999"/>
              <a:gd name="connsiteX5" fmla="*/ 6507662 w 7016940"/>
              <a:gd name="connsiteY5" fmla="*/ 1755525 h 6857999"/>
              <a:gd name="connsiteX6" fmla="*/ 6539272 w 7016940"/>
              <a:gd name="connsiteY6" fmla="*/ 1781606 h 6857999"/>
              <a:gd name="connsiteX7" fmla="*/ 6501975 w 7016940"/>
              <a:gd name="connsiteY7" fmla="*/ 1920713 h 6857999"/>
              <a:gd name="connsiteX8" fmla="*/ 6476336 w 7016940"/>
              <a:gd name="connsiteY8" fmla="*/ 1923298 h 6857999"/>
              <a:gd name="connsiteX9" fmla="*/ 6284144 w 7016940"/>
              <a:gd name="connsiteY9" fmla="*/ 2159109 h 6857999"/>
              <a:gd name="connsiteX10" fmla="*/ 6354644 w 7016940"/>
              <a:gd name="connsiteY10" fmla="*/ 2329310 h 6857999"/>
              <a:gd name="connsiteX11" fmla="*/ 6385582 w 7016940"/>
              <a:gd name="connsiteY11" fmla="*/ 2354837 h 6857999"/>
              <a:gd name="connsiteX12" fmla="*/ 6348115 w 7016940"/>
              <a:gd name="connsiteY12" fmla="*/ 2494583 h 6857999"/>
              <a:gd name="connsiteX13" fmla="*/ 6323315 w 7016940"/>
              <a:gd name="connsiteY13" fmla="*/ 2497083 h 6857999"/>
              <a:gd name="connsiteX14" fmla="*/ 6131123 w 7016940"/>
              <a:gd name="connsiteY14" fmla="*/ 2732894 h 6857999"/>
              <a:gd name="connsiteX15" fmla="*/ 6201623 w 7016940"/>
              <a:gd name="connsiteY15" fmla="*/ 2903095 h 6857999"/>
              <a:gd name="connsiteX16" fmla="*/ 6231892 w 7016940"/>
              <a:gd name="connsiteY16" fmla="*/ 2928069 h 6857999"/>
              <a:gd name="connsiteX17" fmla="*/ 6194254 w 7016940"/>
              <a:gd name="connsiteY17" fmla="*/ 3068452 h 6857999"/>
              <a:gd name="connsiteX18" fmla="*/ 6170294 w 7016940"/>
              <a:gd name="connsiteY18" fmla="*/ 3070868 h 6857999"/>
              <a:gd name="connsiteX19" fmla="*/ 5978102 w 7016940"/>
              <a:gd name="connsiteY19" fmla="*/ 3306678 h 6857999"/>
              <a:gd name="connsiteX20" fmla="*/ 6048602 w 7016940"/>
              <a:gd name="connsiteY20" fmla="*/ 3476879 h 6857999"/>
              <a:gd name="connsiteX21" fmla="*/ 6078202 w 7016940"/>
              <a:gd name="connsiteY21" fmla="*/ 3501302 h 6857999"/>
              <a:gd name="connsiteX22" fmla="*/ 6040393 w 7016940"/>
              <a:gd name="connsiteY22" fmla="*/ 3642322 h 6857999"/>
              <a:gd name="connsiteX23" fmla="*/ 6017273 w 7016940"/>
              <a:gd name="connsiteY23" fmla="*/ 3644652 h 6857999"/>
              <a:gd name="connsiteX24" fmla="*/ 5825081 w 7016940"/>
              <a:gd name="connsiteY24" fmla="*/ 3880463 h 6857999"/>
              <a:gd name="connsiteX25" fmla="*/ 5895581 w 7016940"/>
              <a:gd name="connsiteY25" fmla="*/ 4050664 h 6857999"/>
              <a:gd name="connsiteX26" fmla="*/ 5924512 w 7016940"/>
              <a:gd name="connsiteY26" fmla="*/ 4074535 h 6857999"/>
              <a:gd name="connsiteX27" fmla="*/ 5886532 w 7016940"/>
              <a:gd name="connsiteY27" fmla="*/ 4216191 h 6857999"/>
              <a:gd name="connsiteX28" fmla="*/ 5864252 w 7016940"/>
              <a:gd name="connsiteY28" fmla="*/ 4218437 h 6857999"/>
              <a:gd name="connsiteX29" fmla="*/ 5672060 w 7016940"/>
              <a:gd name="connsiteY29" fmla="*/ 4454248 h 6857999"/>
              <a:gd name="connsiteX30" fmla="*/ 5742560 w 7016940"/>
              <a:gd name="connsiteY30" fmla="*/ 4624449 h 6857999"/>
              <a:gd name="connsiteX31" fmla="*/ 5770822 w 7016940"/>
              <a:gd name="connsiteY31" fmla="*/ 4647768 h 6857999"/>
              <a:gd name="connsiteX32" fmla="*/ 5732672 w 7016940"/>
              <a:gd name="connsiteY32" fmla="*/ 4790061 h 6857999"/>
              <a:gd name="connsiteX33" fmla="*/ 5711231 w 7016940"/>
              <a:gd name="connsiteY33" fmla="*/ 4792222 h 6857999"/>
              <a:gd name="connsiteX34" fmla="*/ 5519039 w 7016940"/>
              <a:gd name="connsiteY34" fmla="*/ 5028033 h 6857999"/>
              <a:gd name="connsiteX35" fmla="*/ 5589539 w 7016940"/>
              <a:gd name="connsiteY35" fmla="*/ 5198234 h 6857999"/>
              <a:gd name="connsiteX36" fmla="*/ 5617132 w 7016940"/>
              <a:gd name="connsiteY36" fmla="*/ 5221001 h 6857999"/>
              <a:gd name="connsiteX37" fmla="*/ 5578811 w 7016940"/>
              <a:gd name="connsiteY37" fmla="*/ 5363932 h 6857999"/>
              <a:gd name="connsiteX38" fmla="*/ 5558210 w 7016940"/>
              <a:gd name="connsiteY38" fmla="*/ 5366008 h 6857999"/>
              <a:gd name="connsiteX39" fmla="*/ 5366018 w 7016940"/>
              <a:gd name="connsiteY39" fmla="*/ 5601819 h 6857999"/>
              <a:gd name="connsiteX40" fmla="*/ 5436518 w 7016940"/>
              <a:gd name="connsiteY40" fmla="*/ 5772020 h 6857999"/>
              <a:gd name="connsiteX41" fmla="*/ 5463442 w 7016940"/>
              <a:gd name="connsiteY41" fmla="*/ 5794234 h 6857999"/>
              <a:gd name="connsiteX42" fmla="*/ 5178234 w 7016940"/>
              <a:gd name="connsiteY42" fmla="*/ 6857999 h 6857999"/>
              <a:gd name="connsiteX43" fmla="*/ 0 w 7016940"/>
              <a:gd name="connsiteY43" fmla="*/ 6857999 h 6857999"/>
              <a:gd name="connsiteX44" fmla="*/ 0 w 7016940"/>
              <a:gd name="connsiteY44" fmla="*/ 345225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016940" h="6857999">
                <a:moveTo>
                  <a:pt x="936350" y="0"/>
                </a:moveTo>
                <a:lnTo>
                  <a:pt x="7016940" y="0"/>
                </a:lnTo>
                <a:lnTo>
                  <a:pt x="6655837" y="1346844"/>
                </a:lnTo>
                <a:lnTo>
                  <a:pt x="6629354" y="1349513"/>
                </a:lnTo>
                <a:cubicBezTo>
                  <a:pt x="6519671" y="1371958"/>
                  <a:pt x="6437162" y="1469006"/>
                  <a:pt x="6437162" y="1585324"/>
                </a:cubicBezTo>
                <a:cubicBezTo>
                  <a:pt x="6437162" y="1651792"/>
                  <a:pt x="6464104" y="1711967"/>
                  <a:pt x="6507662" y="1755525"/>
                </a:cubicBezTo>
                <a:lnTo>
                  <a:pt x="6539272" y="1781606"/>
                </a:lnTo>
                <a:lnTo>
                  <a:pt x="6501975" y="1920713"/>
                </a:lnTo>
                <a:lnTo>
                  <a:pt x="6476336" y="1923298"/>
                </a:lnTo>
                <a:cubicBezTo>
                  <a:pt x="6366653" y="1945743"/>
                  <a:pt x="6284144" y="2042791"/>
                  <a:pt x="6284144" y="2159109"/>
                </a:cubicBezTo>
                <a:cubicBezTo>
                  <a:pt x="6284144" y="2225577"/>
                  <a:pt x="6311086" y="2285752"/>
                  <a:pt x="6354644" y="2329310"/>
                </a:cubicBezTo>
                <a:lnTo>
                  <a:pt x="6385582" y="2354837"/>
                </a:lnTo>
                <a:lnTo>
                  <a:pt x="6348115" y="2494583"/>
                </a:lnTo>
                <a:lnTo>
                  <a:pt x="6323315" y="2497083"/>
                </a:lnTo>
                <a:cubicBezTo>
                  <a:pt x="6213632" y="2519527"/>
                  <a:pt x="6131123" y="2616576"/>
                  <a:pt x="6131123" y="2732894"/>
                </a:cubicBezTo>
                <a:cubicBezTo>
                  <a:pt x="6131123" y="2799361"/>
                  <a:pt x="6158065" y="2859536"/>
                  <a:pt x="6201623" y="2903095"/>
                </a:cubicBezTo>
                <a:lnTo>
                  <a:pt x="6231892" y="2928069"/>
                </a:lnTo>
                <a:lnTo>
                  <a:pt x="6194254" y="3068452"/>
                </a:lnTo>
                <a:lnTo>
                  <a:pt x="6170294" y="3070868"/>
                </a:lnTo>
                <a:cubicBezTo>
                  <a:pt x="6060611" y="3093313"/>
                  <a:pt x="5978102" y="3190361"/>
                  <a:pt x="5978102" y="3306678"/>
                </a:cubicBezTo>
                <a:cubicBezTo>
                  <a:pt x="5978102" y="3373146"/>
                  <a:pt x="6005044" y="3433321"/>
                  <a:pt x="6048602" y="3476879"/>
                </a:cubicBezTo>
                <a:lnTo>
                  <a:pt x="6078202" y="3501302"/>
                </a:lnTo>
                <a:lnTo>
                  <a:pt x="6040393" y="3642322"/>
                </a:lnTo>
                <a:lnTo>
                  <a:pt x="6017273" y="3644652"/>
                </a:lnTo>
                <a:cubicBezTo>
                  <a:pt x="5907590" y="3667097"/>
                  <a:pt x="5825081" y="3764145"/>
                  <a:pt x="5825081" y="3880463"/>
                </a:cubicBezTo>
                <a:cubicBezTo>
                  <a:pt x="5825081" y="3946931"/>
                  <a:pt x="5852023" y="4007106"/>
                  <a:pt x="5895581" y="4050664"/>
                </a:cubicBezTo>
                <a:lnTo>
                  <a:pt x="5924512" y="4074535"/>
                </a:lnTo>
                <a:lnTo>
                  <a:pt x="5886532" y="4216191"/>
                </a:lnTo>
                <a:lnTo>
                  <a:pt x="5864252" y="4218437"/>
                </a:lnTo>
                <a:cubicBezTo>
                  <a:pt x="5754569" y="4240882"/>
                  <a:pt x="5672060" y="4337930"/>
                  <a:pt x="5672060" y="4454248"/>
                </a:cubicBezTo>
                <a:cubicBezTo>
                  <a:pt x="5672060" y="4520716"/>
                  <a:pt x="5699002" y="4580891"/>
                  <a:pt x="5742560" y="4624449"/>
                </a:cubicBezTo>
                <a:lnTo>
                  <a:pt x="5770822" y="4647768"/>
                </a:lnTo>
                <a:lnTo>
                  <a:pt x="5732672" y="4790061"/>
                </a:lnTo>
                <a:lnTo>
                  <a:pt x="5711231" y="4792222"/>
                </a:lnTo>
                <a:cubicBezTo>
                  <a:pt x="5601548" y="4814667"/>
                  <a:pt x="5519039" y="4911715"/>
                  <a:pt x="5519039" y="5028033"/>
                </a:cubicBezTo>
                <a:cubicBezTo>
                  <a:pt x="5519039" y="5094501"/>
                  <a:pt x="5545981" y="5154676"/>
                  <a:pt x="5589539" y="5198234"/>
                </a:cubicBezTo>
                <a:lnTo>
                  <a:pt x="5617132" y="5221001"/>
                </a:lnTo>
                <a:lnTo>
                  <a:pt x="5578811" y="5363932"/>
                </a:lnTo>
                <a:lnTo>
                  <a:pt x="5558210" y="5366008"/>
                </a:lnTo>
                <a:cubicBezTo>
                  <a:pt x="5448527" y="5388453"/>
                  <a:pt x="5366018" y="5485501"/>
                  <a:pt x="5366018" y="5601819"/>
                </a:cubicBezTo>
                <a:cubicBezTo>
                  <a:pt x="5366018" y="5668287"/>
                  <a:pt x="5392960" y="5728462"/>
                  <a:pt x="5436518" y="5772020"/>
                </a:cubicBezTo>
                <a:lnTo>
                  <a:pt x="5463442" y="5794234"/>
                </a:lnTo>
                <a:lnTo>
                  <a:pt x="5178234" y="6857999"/>
                </a:lnTo>
                <a:lnTo>
                  <a:pt x="0" y="6857999"/>
                </a:lnTo>
                <a:lnTo>
                  <a:pt x="0" y="3452256"/>
                </a:lnTo>
                <a:close/>
              </a:path>
            </a:pathLst>
          </a:custGeom>
        </p:spPr>
        <p:txBody>
          <a:bodyPr wrap="square">
            <a:noAutofit/>
          </a:bodyPr>
          <a:lstStyle/>
          <a:p>
            <a:r>
              <a:rPr lang="de-DE"/>
              <a:t>Bild durch Klicken auf Symbol hinzufügen</a:t>
            </a:r>
            <a:endParaRPr lang="x-none" dirty="0"/>
          </a:p>
        </p:txBody>
      </p:sp>
      <p:sp>
        <p:nvSpPr>
          <p:cNvPr id="44" name="Oval 43">
            <a:extLst>
              <a:ext uri="{FF2B5EF4-FFF2-40B4-BE49-F238E27FC236}">
                <a16:creationId xmlns:a16="http://schemas.microsoft.com/office/drawing/2014/main" id="{93F8018C-94E4-4E0A-AD47-3475A64B29EF}"/>
              </a:ext>
            </a:extLst>
          </p:cNvPr>
          <p:cNvSpPr/>
          <p:nvPr userDrawn="1"/>
        </p:nvSpPr>
        <p:spPr>
          <a:xfrm>
            <a:off x="6433281" y="1344623"/>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600" b="1" dirty="0">
                <a:solidFill>
                  <a:schemeClr val="tx1">
                    <a:lumMod val="50000"/>
                  </a:schemeClr>
                </a:solidFill>
                <a:latin typeface="Arial" panose="020B0604020202020204" pitchFamily="34" charset="0"/>
                <a:cs typeface="Arial" panose="020B0604020202020204" pitchFamily="34" charset="0"/>
              </a:rPr>
              <a:t>1</a:t>
            </a:r>
          </a:p>
        </p:txBody>
      </p:sp>
      <p:sp>
        <p:nvSpPr>
          <p:cNvPr id="46" name="Oval 19">
            <a:extLst>
              <a:ext uri="{FF2B5EF4-FFF2-40B4-BE49-F238E27FC236}">
                <a16:creationId xmlns:a16="http://schemas.microsoft.com/office/drawing/2014/main" id="{C8E37838-15F5-47F9-9E82-9C0D1D2D61B8}"/>
              </a:ext>
            </a:extLst>
          </p:cNvPr>
          <p:cNvSpPr/>
          <p:nvPr userDrawn="1"/>
        </p:nvSpPr>
        <p:spPr>
          <a:xfrm>
            <a:off x="5362137" y="5361119"/>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solidFill>
                  <a:schemeClr val="tx1">
                    <a:lumMod val="50000"/>
                  </a:schemeClr>
                </a:solidFill>
                <a:latin typeface="Arial" panose="020B0604020202020204" pitchFamily="34" charset="0"/>
                <a:cs typeface="Arial" panose="020B0604020202020204" pitchFamily="34" charset="0"/>
              </a:rPr>
              <a:t>8</a:t>
            </a:r>
            <a:endParaRPr lang="x-none" sz="2600" b="1" dirty="0">
              <a:solidFill>
                <a:schemeClr val="tx1">
                  <a:lumMod val="50000"/>
                </a:schemeClr>
              </a:solidFill>
              <a:latin typeface="Arial" panose="020B0604020202020204" pitchFamily="34" charset="0"/>
              <a:cs typeface="Arial" panose="020B0604020202020204" pitchFamily="34" charset="0"/>
            </a:endParaRPr>
          </a:p>
        </p:txBody>
      </p:sp>
      <p:sp>
        <p:nvSpPr>
          <p:cNvPr id="22" name="Slide Number Placeholder 3">
            <a:extLst>
              <a:ext uri="{FF2B5EF4-FFF2-40B4-BE49-F238E27FC236}">
                <a16:creationId xmlns:a16="http://schemas.microsoft.com/office/drawing/2014/main" id="{D3BFDA53-858A-9445-ACD8-05499BD9ED20}"/>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35" name="Text Placeholder 2">
            <a:extLst>
              <a:ext uri="{FF2B5EF4-FFF2-40B4-BE49-F238E27FC236}">
                <a16:creationId xmlns:a16="http://schemas.microsoft.com/office/drawing/2014/main" id="{350954DB-4355-C047-9F94-41E05AD0F172}"/>
              </a:ext>
            </a:extLst>
          </p:cNvPr>
          <p:cNvSpPr>
            <a:spLocks noGrp="1"/>
          </p:cNvSpPr>
          <p:nvPr>
            <p:ph type="body" sz="quarter" idx="14"/>
          </p:nvPr>
        </p:nvSpPr>
        <p:spPr>
          <a:xfrm>
            <a:off x="7096903" y="1401314"/>
            <a:ext cx="3381243"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6" name="Text Placeholder 2">
            <a:extLst>
              <a:ext uri="{FF2B5EF4-FFF2-40B4-BE49-F238E27FC236}">
                <a16:creationId xmlns:a16="http://schemas.microsoft.com/office/drawing/2014/main" id="{699942C1-DDEC-9040-9796-B78DB3FF6EE1}"/>
              </a:ext>
            </a:extLst>
          </p:cNvPr>
          <p:cNvSpPr>
            <a:spLocks noGrp="1"/>
          </p:cNvSpPr>
          <p:nvPr>
            <p:ph type="body" sz="quarter" idx="15"/>
          </p:nvPr>
        </p:nvSpPr>
        <p:spPr>
          <a:xfrm>
            <a:off x="6945833" y="1975099"/>
            <a:ext cx="3381243"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7" name="Text Placeholder 2">
            <a:extLst>
              <a:ext uri="{FF2B5EF4-FFF2-40B4-BE49-F238E27FC236}">
                <a16:creationId xmlns:a16="http://schemas.microsoft.com/office/drawing/2014/main" id="{1F8E7C73-77C5-FA48-BB2C-426660B1E288}"/>
              </a:ext>
            </a:extLst>
          </p:cNvPr>
          <p:cNvSpPr>
            <a:spLocks noGrp="1"/>
          </p:cNvSpPr>
          <p:nvPr>
            <p:ph type="body" sz="quarter" idx="16"/>
          </p:nvPr>
        </p:nvSpPr>
        <p:spPr>
          <a:xfrm>
            <a:off x="6794760" y="2548884"/>
            <a:ext cx="3381243"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8" name="Text Placeholder 2">
            <a:extLst>
              <a:ext uri="{FF2B5EF4-FFF2-40B4-BE49-F238E27FC236}">
                <a16:creationId xmlns:a16="http://schemas.microsoft.com/office/drawing/2014/main" id="{40F7C173-D968-3544-BD25-EC199ABF0C93}"/>
              </a:ext>
            </a:extLst>
          </p:cNvPr>
          <p:cNvSpPr>
            <a:spLocks noGrp="1"/>
          </p:cNvSpPr>
          <p:nvPr>
            <p:ph type="body" sz="quarter" idx="17"/>
          </p:nvPr>
        </p:nvSpPr>
        <p:spPr>
          <a:xfrm>
            <a:off x="6643687" y="3122669"/>
            <a:ext cx="3381243"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9" name="Text Placeholder 2">
            <a:extLst>
              <a:ext uri="{FF2B5EF4-FFF2-40B4-BE49-F238E27FC236}">
                <a16:creationId xmlns:a16="http://schemas.microsoft.com/office/drawing/2014/main" id="{435845FB-2C7F-7F47-B6D5-DFE740E7E77B}"/>
              </a:ext>
            </a:extLst>
          </p:cNvPr>
          <p:cNvSpPr>
            <a:spLocks noGrp="1"/>
          </p:cNvSpPr>
          <p:nvPr>
            <p:ph type="body" sz="quarter" idx="18"/>
          </p:nvPr>
        </p:nvSpPr>
        <p:spPr>
          <a:xfrm>
            <a:off x="6492614" y="3696454"/>
            <a:ext cx="3381243"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1" name="Text Placeholder 2">
            <a:extLst>
              <a:ext uri="{FF2B5EF4-FFF2-40B4-BE49-F238E27FC236}">
                <a16:creationId xmlns:a16="http://schemas.microsoft.com/office/drawing/2014/main" id="{00807678-0B25-8947-B28E-96A05263BF25}"/>
              </a:ext>
            </a:extLst>
          </p:cNvPr>
          <p:cNvSpPr>
            <a:spLocks noGrp="1"/>
          </p:cNvSpPr>
          <p:nvPr>
            <p:ph type="body" sz="quarter" idx="24"/>
          </p:nvPr>
        </p:nvSpPr>
        <p:spPr>
          <a:xfrm>
            <a:off x="6039395" y="5417810"/>
            <a:ext cx="3381243"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2" name="Text Placeholder 2">
            <a:extLst>
              <a:ext uri="{FF2B5EF4-FFF2-40B4-BE49-F238E27FC236}">
                <a16:creationId xmlns:a16="http://schemas.microsoft.com/office/drawing/2014/main" id="{692EEB15-E171-1C4F-A6CC-4834563C39B9}"/>
              </a:ext>
            </a:extLst>
          </p:cNvPr>
          <p:cNvSpPr>
            <a:spLocks noGrp="1"/>
          </p:cNvSpPr>
          <p:nvPr>
            <p:ph type="body" sz="quarter" idx="25"/>
          </p:nvPr>
        </p:nvSpPr>
        <p:spPr>
          <a:xfrm>
            <a:off x="6341541" y="4270239"/>
            <a:ext cx="3381243"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5" name="Text Placeholder 2">
            <a:extLst>
              <a:ext uri="{FF2B5EF4-FFF2-40B4-BE49-F238E27FC236}">
                <a16:creationId xmlns:a16="http://schemas.microsoft.com/office/drawing/2014/main" id="{E8CBDFF9-842A-EF4A-8B4A-95893B02A5F3}"/>
              </a:ext>
            </a:extLst>
          </p:cNvPr>
          <p:cNvSpPr>
            <a:spLocks noGrp="1"/>
          </p:cNvSpPr>
          <p:nvPr>
            <p:ph type="body" sz="quarter" idx="26"/>
          </p:nvPr>
        </p:nvSpPr>
        <p:spPr>
          <a:xfrm>
            <a:off x="6190468" y="4844024"/>
            <a:ext cx="3381243"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55" name="Oval 54">
            <a:extLst>
              <a:ext uri="{FF2B5EF4-FFF2-40B4-BE49-F238E27FC236}">
                <a16:creationId xmlns:a16="http://schemas.microsoft.com/office/drawing/2014/main" id="{C44A9463-EAF5-B74D-9D9B-976C1B8B401D}"/>
              </a:ext>
            </a:extLst>
          </p:cNvPr>
          <p:cNvSpPr/>
          <p:nvPr userDrawn="1"/>
        </p:nvSpPr>
        <p:spPr>
          <a:xfrm>
            <a:off x="6280263" y="1918408"/>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600" b="1">
                <a:solidFill>
                  <a:schemeClr val="tx1">
                    <a:lumMod val="50000"/>
                  </a:schemeClr>
                </a:solidFill>
                <a:latin typeface="Arial" panose="020B0604020202020204" pitchFamily="34" charset="0"/>
                <a:cs typeface="Arial" panose="020B0604020202020204" pitchFamily="34" charset="0"/>
              </a:rPr>
              <a:t>2</a:t>
            </a:r>
          </a:p>
        </p:txBody>
      </p:sp>
      <p:sp>
        <p:nvSpPr>
          <p:cNvPr id="56" name="Oval 13">
            <a:extLst>
              <a:ext uri="{FF2B5EF4-FFF2-40B4-BE49-F238E27FC236}">
                <a16:creationId xmlns:a16="http://schemas.microsoft.com/office/drawing/2014/main" id="{BDA4A6A4-C2FF-2E4E-AB40-D1B24A1983A7}"/>
              </a:ext>
            </a:extLst>
          </p:cNvPr>
          <p:cNvSpPr/>
          <p:nvPr userDrawn="1"/>
        </p:nvSpPr>
        <p:spPr>
          <a:xfrm>
            <a:off x="6127242" y="2492193"/>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600" b="1">
                <a:solidFill>
                  <a:schemeClr val="tx1">
                    <a:lumMod val="50000"/>
                  </a:schemeClr>
                </a:solidFill>
                <a:latin typeface="Arial" panose="020B0604020202020204" pitchFamily="34" charset="0"/>
                <a:cs typeface="Arial" panose="020B0604020202020204" pitchFamily="34" charset="0"/>
              </a:rPr>
              <a:t>3</a:t>
            </a:r>
          </a:p>
        </p:txBody>
      </p:sp>
      <p:sp>
        <p:nvSpPr>
          <p:cNvPr id="57" name="Oval 16">
            <a:extLst>
              <a:ext uri="{FF2B5EF4-FFF2-40B4-BE49-F238E27FC236}">
                <a16:creationId xmlns:a16="http://schemas.microsoft.com/office/drawing/2014/main" id="{7C8D882B-E83A-8D4F-9A69-0D45172076E8}"/>
              </a:ext>
            </a:extLst>
          </p:cNvPr>
          <p:cNvSpPr/>
          <p:nvPr userDrawn="1"/>
        </p:nvSpPr>
        <p:spPr>
          <a:xfrm>
            <a:off x="5974221" y="3065978"/>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600" b="1">
                <a:solidFill>
                  <a:schemeClr val="tx1">
                    <a:lumMod val="50000"/>
                  </a:schemeClr>
                </a:solidFill>
                <a:latin typeface="Arial" panose="020B0604020202020204" pitchFamily="34" charset="0"/>
                <a:cs typeface="Arial" panose="020B0604020202020204" pitchFamily="34" charset="0"/>
              </a:rPr>
              <a:t>4</a:t>
            </a:r>
          </a:p>
        </p:txBody>
      </p:sp>
      <p:sp>
        <p:nvSpPr>
          <p:cNvPr id="58" name="Oval 19">
            <a:extLst>
              <a:ext uri="{FF2B5EF4-FFF2-40B4-BE49-F238E27FC236}">
                <a16:creationId xmlns:a16="http://schemas.microsoft.com/office/drawing/2014/main" id="{7CA63C1C-A56B-E341-B7AF-43C57F434E39}"/>
              </a:ext>
            </a:extLst>
          </p:cNvPr>
          <p:cNvSpPr/>
          <p:nvPr userDrawn="1"/>
        </p:nvSpPr>
        <p:spPr>
          <a:xfrm>
            <a:off x="5821200" y="3639763"/>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600" b="1">
                <a:solidFill>
                  <a:schemeClr val="tx1">
                    <a:lumMod val="50000"/>
                  </a:schemeClr>
                </a:solidFill>
                <a:latin typeface="Arial" panose="020B0604020202020204" pitchFamily="34" charset="0"/>
                <a:cs typeface="Arial" panose="020B0604020202020204" pitchFamily="34" charset="0"/>
              </a:rPr>
              <a:t>5</a:t>
            </a:r>
          </a:p>
        </p:txBody>
      </p:sp>
      <p:sp>
        <p:nvSpPr>
          <p:cNvPr id="60" name="Oval 19">
            <a:extLst>
              <a:ext uri="{FF2B5EF4-FFF2-40B4-BE49-F238E27FC236}">
                <a16:creationId xmlns:a16="http://schemas.microsoft.com/office/drawing/2014/main" id="{04EC1F97-838D-C144-83A1-1DFE6B4D6C61}"/>
              </a:ext>
            </a:extLst>
          </p:cNvPr>
          <p:cNvSpPr/>
          <p:nvPr userDrawn="1"/>
        </p:nvSpPr>
        <p:spPr>
          <a:xfrm>
            <a:off x="5668179" y="4213548"/>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solidFill>
                  <a:schemeClr val="tx1">
                    <a:lumMod val="50000"/>
                  </a:schemeClr>
                </a:solidFill>
                <a:latin typeface="Arial" panose="020B0604020202020204" pitchFamily="34" charset="0"/>
                <a:cs typeface="Arial" panose="020B0604020202020204" pitchFamily="34" charset="0"/>
              </a:rPr>
              <a:t>6</a:t>
            </a:r>
            <a:endParaRPr lang="x-none" sz="2600" b="1">
              <a:solidFill>
                <a:schemeClr val="tx1">
                  <a:lumMod val="50000"/>
                </a:schemeClr>
              </a:solidFill>
              <a:latin typeface="Arial" panose="020B0604020202020204" pitchFamily="34" charset="0"/>
              <a:cs typeface="Arial" panose="020B0604020202020204" pitchFamily="34" charset="0"/>
            </a:endParaRPr>
          </a:p>
        </p:txBody>
      </p:sp>
      <p:sp>
        <p:nvSpPr>
          <p:cNvPr id="61" name="Oval 19">
            <a:extLst>
              <a:ext uri="{FF2B5EF4-FFF2-40B4-BE49-F238E27FC236}">
                <a16:creationId xmlns:a16="http://schemas.microsoft.com/office/drawing/2014/main" id="{B8E2375C-5C6D-074D-92B9-550297FFD5EB}"/>
              </a:ext>
            </a:extLst>
          </p:cNvPr>
          <p:cNvSpPr/>
          <p:nvPr userDrawn="1"/>
        </p:nvSpPr>
        <p:spPr>
          <a:xfrm>
            <a:off x="5515158" y="4787333"/>
            <a:ext cx="481401" cy="48140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solidFill>
                  <a:schemeClr val="tx1">
                    <a:lumMod val="50000"/>
                  </a:schemeClr>
                </a:solidFill>
                <a:latin typeface="Arial" panose="020B0604020202020204" pitchFamily="34" charset="0"/>
                <a:cs typeface="Arial" panose="020B0604020202020204" pitchFamily="34" charset="0"/>
              </a:rPr>
              <a:t>7</a:t>
            </a:r>
            <a:endParaRPr lang="x-none" sz="2600" b="1">
              <a:solidFill>
                <a:schemeClr val="tx1">
                  <a:lumMod val="50000"/>
                </a:schemeClr>
              </a:solidFill>
              <a:latin typeface="Arial" panose="020B0604020202020204" pitchFamily="34" charset="0"/>
              <a:cs typeface="Arial" panose="020B0604020202020204" pitchFamily="34" charset="0"/>
            </a:endParaRPr>
          </a:p>
        </p:txBody>
      </p:sp>
      <p:sp>
        <p:nvSpPr>
          <p:cNvPr id="62" name="Text Placeholder 2">
            <a:extLst>
              <a:ext uri="{FF2B5EF4-FFF2-40B4-BE49-F238E27FC236}">
                <a16:creationId xmlns:a16="http://schemas.microsoft.com/office/drawing/2014/main" id="{10974930-7AD1-A844-B1AE-236F12D6367F}"/>
              </a:ext>
            </a:extLst>
          </p:cNvPr>
          <p:cNvSpPr>
            <a:spLocks noGrp="1"/>
          </p:cNvSpPr>
          <p:nvPr>
            <p:ph type="body" sz="quarter" idx="27" hasCustomPrompt="1"/>
          </p:nvPr>
        </p:nvSpPr>
        <p:spPr>
          <a:xfrm>
            <a:off x="10490807" y="1401314"/>
            <a:ext cx="1114112"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63" name="Text Placeholder 2">
            <a:extLst>
              <a:ext uri="{FF2B5EF4-FFF2-40B4-BE49-F238E27FC236}">
                <a16:creationId xmlns:a16="http://schemas.microsoft.com/office/drawing/2014/main" id="{3DE21737-2EA6-6743-9ABE-A3BA421D0233}"/>
              </a:ext>
            </a:extLst>
          </p:cNvPr>
          <p:cNvSpPr>
            <a:spLocks noGrp="1"/>
          </p:cNvSpPr>
          <p:nvPr>
            <p:ph type="body" sz="quarter" idx="28" hasCustomPrompt="1"/>
          </p:nvPr>
        </p:nvSpPr>
        <p:spPr>
          <a:xfrm>
            <a:off x="10339341" y="1975099"/>
            <a:ext cx="1114112"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64" name="Text Placeholder 2">
            <a:extLst>
              <a:ext uri="{FF2B5EF4-FFF2-40B4-BE49-F238E27FC236}">
                <a16:creationId xmlns:a16="http://schemas.microsoft.com/office/drawing/2014/main" id="{750DF8C5-8472-B34F-AF41-401141C6686A}"/>
              </a:ext>
            </a:extLst>
          </p:cNvPr>
          <p:cNvSpPr>
            <a:spLocks noGrp="1"/>
          </p:cNvSpPr>
          <p:nvPr>
            <p:ph type="body" sz="quarter" idx="29" hasCustomPrompt="1"/>
          </p:nvPr>
        </p:nvSpPr>
        <p:spPr>
          <a:xfrm>
            <a:off x="10187872" y="2548884"/>
            <a:ext cx="1114112"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65" name="Text Placeholder 2">
            <a:extLst>
              <a:ext uri="{FF2B5EF4-FFF2-40B4-BE49-F238E27FC236}">
                <a16:creationId xmlns:a16="http://schemas.microsoft.com/office/drawing/2014/main" id="{C7F92554-6B9B-D34A-AE92-F0F30EF336F2}"/>
              </a:ext>
            </a:extLst>
          </p:cNvPr>
          <p:cNvSpPr>
            <a:spLocks noGrp="1"/>
          </p:cNvSpPr>
          <p:nvPr>
            <p:ph type="body" sz="quarter" idx="30" hasCustomPrompt="1"/>
          </p:nvPr>
        </p:nvSpPr>
        <p:spPr>
          <a:xfrm>
            <a:off x="10036403" y="3122669"/>
            <a:ext cx="1114112"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66" name="Text Placeholder 2">
            <a:extLst>
              <a:ext uri="{FF2B5EF4-FFF2-40B4-BE49-F238E27FC236}">
                <a16:creationId xmlns:a16="http://schemas.microsoft.com/office/drawing/2014/main" id="{A5813BF1-7729-F64A-845D-7A68052626A9}"/>
              </a:ext>
            </a:extLst>
          </p:cNvPr>
          <p:cNvSpPr>
            <a:spLocks noGrp="1"/>
          </p:cNvSpPr>
          <p:nvPr>
            <p:ph type="body" sz="quarter" idx="31" hasCustomPrompt="1"/>
          </p:nvPr>
        </p:nvSpPr>
        <p:spPr>
          <a:xfrm>
            <a:off x="9884934" y="3696454"/>
            <a:ext cx="1114112"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67" name="Text Placeholder 2">
            <a:extLst>
              <a:ext uri="{FF2B5EF4-FFF2-40B4-BE49-F238E27FC236}">
                <a16:creationId xmlns:a16="http://schemas.microsoft.com/office/drawing/2014/main" id="{99AD5F7A-F61E-054E-85E2-C92E5C719A74}"/>
              </a:ext>
            </a:extLst>
          </p:cNvPr>
          <p:cNvSpPr>
            <a:spLocks noGrp="1"/>
          </p:cNvSpPr>
          <p:nvPr>
            <p:ph type="body" sz="quarter" idx="32" hasCustomPrompt="1"/>
          </p:nvPr>
        </p:nvSpPr>
        <p:spPr>
          <a:xfrm>
            <a:off x="9430527" y="5417810"/>
            <a:ext cx="1114112"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68" name="Text Placeholder 2">
            <a:extLst>
              <a:ext uri="{FF2B5EF4-FFF2-40B4-BE49-F238E27FC236}">
                <a16:creationId xmlns:a16="http://schemas.microsoft.com/office/drawing/2014/main" id="{78F8E215-8CCE-F344-BEC7-AC7208162322}"/>
              </a:ext>
            </a:extLst>
          </p:cNvPr>
          <p:cNvSpPr>
            <a:spLocks noGrp="1"/>
          </p:cNvSpPr>
          <p:nvPr>
            <p:ph type="body" sz="quarter" idx="33" hasCustomPrompt="1"/>
          </p:nvPr>
        </p:nvSpPr>
        <p:spPr>
          <a:xfrm>
            <a:off x="9733465" y="4270239"/>
            <a:ext cx="1114112"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69" name="Text Placeholder 2">
            <a:extLst>
              <a:ext uri="{FF2B5EF4-FFF2-40B4-BE49-F238E27FC236}">
                <a16:creationId xmlns:a16="http://schemas.microsoft.com/office/drawing/2014/main" id="{6815B365-D4D2-4641-AC6E-9276DA3A7AB1}"/>
              </a:ext>
            </a:extLst>
          </p:cNvPr>
          <p:cNvSpPr>
            <a:spLocks noGrp="1"/>
          </p:cNvSpPr>
          <p:nvPr>
            <p:ph type="body" sz="quarter" idx="34" hasCustomPrompt="1"/>
          </p:nvPr>
        </p:nvSpPr>
        <p:spPr>
          <a:xfrm>
            <a:off x="9581996" y="4844024"/>
            <a:ext cx="1114112"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 name="Title 1">
            <a:extLst>
              <a:ext uri="{FF2B5EF4-FFF2-40B4-BE49-F238E27FC236}">
                <a16:creationId xmlns:a16="http://schemas.microsoft.com/office/drawing/2014/main" id="{5DBDAA32-27C2-A715-01A4-2EC78D230AFE}"/>
              </a:ext>
            </a:extLst>
          </p:cNvPr>
          <p:cNvSpPr>
            <a:spLocks noGrp="1"/>
          </p:cNvSpPr>
          <p:nvPr>
            <p:ph type="title" hasCustomPrompt="1"/>
          </p:nvPr>
        </p:nvSpPr>
        <p:spPr>
          <a:xfrm>
            <a:off x="7361584" y="642950"/>
            <a:ext cx="4525616"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Bericht</a:t>
            </a:r>
            <a:endParaRPr lang="de-DE" dirty="0"/>
          </a:p>
        </p:txBody>
      </p:sp>
      <p:sp>
        <p:nvSpPr>
          <p:cNvPr id="4" name="Text Placeholder 3">
            <a:extLst>
              <a:ext uri="{FF2B5EF4-FFF2-40B4-BE49-F238E27FC236}">
                <a16:creationId xmlns:a16="http://schemas.microsoft.com/office/drawing/2014/main" id="{7110C982-401A-36FD-8B58-D2D00673F682}"/>
              </a:ext>
            </a:extLst>
          </p:cNvPr>
          <p:cNvSpPr>
            <a:spLocks noGrp="1"/>
          </p:cNvSpPr>
          <p:nvPr>
            <p:ph type="body" sz="quarter" idx="13" hasCustomPrompt="1"/>
          </p:nvPr>
        </p:nvSpPr>
        <p:spPr>
          <a:xfrm>
            <a:off x="7362048"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30933737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VZ_9_Kapitel">
    <p:bg>
      <p:bgPr>
        <a:solidFill>
          <a:schemeClr val="bg1"/>
        </a:solidFill>
        <a:effectLst/>
      </p:bgPr>
    </p:bg>
    <p:spTree>
      <p:nvGrpSpPr>
        <p:cNvPr id="1" name=""/>
        <p:cNvGrpSpPr/>
        <p:nvPr/>
      </p:nvGrpSpPr>
      <p:grpSpPr>
        <a:xfrm>
          <a:off x="0" y="0"/>
          <a:ext cx="0" cy="0"/>
          <a:chOff x="0" y="0"/>
          <a:chExt cx="0" cy="0"/>
        </a:xfrm>
      </p:grpSpPr>
      <p:sp>
        <p:nvSpPr>
          <p:cNvPr id="22" name="Slide Number Placeholder 3">
            <a:extLst>
              <a:ext uri="{FF2B5EF4-FFF2-40B4-BE49-F238E27FC236}">
                <a16:creationId xmlns:a16="http://schemas.microsoft.com/office/drawing/2014/main" id="{D3BFDA53-858A-9445-ACD8-05499BD9ED20}"/>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35" name="Text Placeholder 2">
            <a:extLst>
              <a:ext uri="{FF2B5EF4-FFF2-40B4-BE49-F238E27FC236}">
                <a16:creationId xmlns:a16="http://schemas.microsoft.com/office/drawing/2014/main" id="{350954DB-4355-C047-9F94-41E05AD0F172}"/>
              </a:ext>
            </a:extLst>
          </p:cNvPr>
          <p:cNvSpPr>
            <a:spLocks noGrp="1"/>
          </p:cNvSpPr>
          <p:nvPr>
            <p:ph type="body" sz="quarter" idx="14"/>
          </p:nvPr>
        </p:nvSpPr>
        <p:spPr>
          <a:xfrm>
            <a:off x="7096903" y="1401314"/>
            <a:ext cx="3345377"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6" name="Text Placeholder 2">
            <a:extLst>
              <a:ext uri="{FF2B5EF4-FFF2-40B4-BE49-F238E27FC236}">
                <a16:creationId xmlns:a16="http://schemas.microsoft.com/office/drawing/2014/main" id="{699942C1-DDEC-9040-9796-B78DB3FF6EE1}"/>
              </a:ext>
            </a:extLst>
          </p:cNvPr>
          <p:cNvSpPr>
            <a:spLocks noGrp="1"/>
          </p:cNvSpPr>
          <p:nvPr>
            <p:ph type="body" sz="quarter" idx="15"/>
          </p:nvPr>
        </p:nvSpPr>
        <p:spPr>
          <a:xfrm>
            <a:off x="6948583" y="1966082"/>
            <a:ext cx="3345377"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7" name="Text Placeholder 2">
            <a:extLst>
              <a:ext uri="{FF2B5EF4-FFF2-40B4-BE49-F238E27FC236}">
                <a16:creationId xmlns:a16="http://schemas.microsoft.com/office/drawing/2014/main" id="{1F8E7C73-77C5-FA48-BB2C-426660B1E288}"/>
              </a:ext>
            </a:extLst>
          </p:cNvPr>
          <p:cNvSpPr>
            <a:spLocks noGrp="1"/>
          </p:cNvSpPr>
          <p:nvPr>
            <p:ph type="body" sz="quarter" idx="16"/>
          </p:nvPr>
        </p:nvSpPr>
        <p:spPr>
          <a:xfrm>
            <a:off x="6800263" y="2530850"/>
            <a:ext cx="3345377"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8" name="Text Placeholder 2">
            <a:extLst>
              <a:ext uri="{FF2B5EF4-FFF2-40B4-BE49-F238E27FC236}">
                <a16:creationId xmlns:a16="http://schemas.microsoft.com/office/drawing/2014/main" id="{40F7C173-D968-3544-BD25-EC199ABF0C93}"/>
              </a:ext>
            </a:extLst>
          </p:cNvPr>
          <p:cNvSpPr>
            <a:spLocks noGrp="1"/>
          </p:cNvSpPr>
          <p:nvPr>
            <p:ph type="body" sz="quarter" idx="17"/>
          </p:nvPr>
        </p:nvSpPr>
        <p:spPr>
          <a:xfrm>
            <a:off x="6651943" y="3095618"/>
            <a:ext cx="3345377"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9" name="Text Placeholder 2">
            <a:extLst>
              <a:ext uri="{FF2B5EF4-FFF2-40B4-BE49-F238E27FC236}">
                <a16:creationId xmlns:a16="http://schemas.microsoft.com/office/drawing/2014/main" id="{435845FB-2C7F-7F47-B6D5-DFE740E7E77B}"/>
              </a:ext>
            </a:extLst>
          </p:cNvPr>
          <p:cNvSpPr>
            <a:spLocks noGrp="1"/>
          </p:cNvSpPr>
          <p:nvPr>
            <p:ph type="body" sz="quarter" idx="18"/>
          </p:nvPr>
        </p:nvSpPr>
        <p:spPr>
          <a:xfrm>
            <a:off x="6503623" y="3660386"/>
            <a:ext cx="3345377"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1" name="Text Placeholder 2">
            <a:extLst>
              <a:ext uri="{FF2B5EF4-FFF2-40B4-BE49-F238E27FC236}">
                <a16:creationId xmlns:a16="http://schemas.microsoft.com/office/drawing/2014/main" id="{00807678-0B25-8947-B28E-96A05263BF25}"/>
              </a:ext>
            </a:extLst>
          </p:cNvPr>
          <p:cNvSpPr>
            <a:spLocks noGrp="1"/>
          </p:cNvSpPr>
          <p:nvPr>
            <p:ph type="body" sz="quarter" idx="24"/>
          </p:nvPr>
        </p:nvSpPr>
        <p:spPr>
          <a:xfrm>
            <a:off x="6058663" y="5354690"/>
            <a:ext cx="3345377"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2" name="Text Placeholder 2">
            <a:extLst>
              <a:ext uri="{FF2B5EF4-FFF2-40B4-BE49-F238E27FC236}">
                <a16:creationId xmlns:a16="http://schemas.microsoft.com/office/drawing/2014/main" id="{692EEB15-E171-1C4F-A6CC-4834563C39B9}"/>
              </a:ext>
            </a:extLst>
          </p:cNvPr>
          <p:cNvSpPr>
            <a:spLocks noGrp="1"/>
          </p:cNvSpPr>
          <p:nvPr>
            <p:ph type="body" sz="quarter" idx="25"/>
          </p:nvPr>
        </p:nvSpPr>
        <p:spPr>
          <a:xfrm>
            <a:off x="6355303" y="4225154"/>
            <a:ext cx="3345377"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5" name="Text Placeholder 2">
            <a:extLst>
              <a:ext uri="{FF2B5EF4-FFF2-40B4-BE49-F238E27FC236}">
                <a16:creationId xmlns:a16="http://schemas.microsoft.com/office/drawing/2014/main" id="{E8CBDFF9-842A-EF4A-8B4A-95893B02A5F3}"/>
              </a:ext>
            </a:extLst>
          </p:cNvPr>
          <p:cNvSpPr>
            <a:spLocks noGrp="1"/>
          </p:cNvSpPr>
          <p:nvPr>
            <p:ph type="body" sz="quarter" idx="26"/>
          </p:nvPr>
        </p:nvSpPr>
        <p:spPr>
          <a:xfrm>
            <a:off x="6206983" y="4789922"/>
            <a:ext cx="3345377"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8" name="Text Placeholder 2">
            <a:extLst>
              <a:ext uri="{FF2B5EF4-FFF2-40B4-BE49-F238E27FC236}">
                <a16:creationId xmlns:a16="http://schemas.microsoft.com/office/drawing/2014/main" id="{5F9367D8-8CF4-8A41-B507-7DDE32DE1F26}"/>
              </a:ext>
            </a:extLst>
          </p:cNvPr>
          <p:cNvSpPr>
            <a:spLocks noGrp="1"/>
          </p:cNvSpPr>
          <p:nvPr>
            <p:ph type="body" sz="quarter" idx="27"/>
          </p:nvPr>
        </p:nvSpPr>
        <p:spPr>
          <a:xfrm>
            <a:off x="5910343" y="5919460"/>
            <a:ext cx="3345377"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87" name="Oval 86">
            <a:extLst>
              <a:ext uri="{FF2B5EF4-FFF2-40B4-BE49-F238E27FC236}">
                <a16:creationId xmlns:a16="http://schemas.microsoft.com/office/drawing/2014/main" id="{E973690C-8D55-C641-9EBC-DA30548C2408}"/>
              </a:ext>
            </a:extLst>
          </p:cNvPr>
          <p:cNvSpPr>
            <a:spLocks noChangeAspect="1"/>
          </p:cNvSpPr>
          <p:nvPr userDrawn="1"/>
        </p:nvSpPr>
        <p:spPr>
          <a:xfrm>
            <a:off x="6455787" y="1375023"/>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2400" b="1" dirty="0">
                <a:solidFill>
                  <a:schemeClr val="tx1">
                    <a:lumMod val="50000"/>
                  </a:schemeClr>
                </a:solidFill>
                <a:latin typeface="Arial" panose="020B0604020202020204" pitchFamily="34" charset="0"/>
                <a:cs typeface="Arial" panose="020B0604020202020204" pitchFamily="34" charset="0"/>
              </a:rPr>
              <a:t>1</a:t>
            </a:r>
          </a:p>
        </p:txBody>
      </p:sp>
      <p:sp>
        <p:nvSpPr>
          <p:cNvPr id="88" name="Oval 87">
            <a:extLst>
              <a:ext uri="{FF2B5EF4-FFF2-40B4-BE49-F238E27FC236}">
                <a16:creationId xmlns:a16="http://schemas.microsoft.com/office/drawing/2014/main" id="{4A0F1926-90B2-2C44-B732-B62EF3F01D52}"/>
              </a:ext>
            </a:extLst>
          </p:cNvPr>
          <p:cNvSpPr>
            <a:spLocks noChangeAspect="1"/>
          </p:cNvSpPr>
          <p:nvPr userDrawn="1"/>
        </p:nvSpPr>
        <p:spPr>
          <a:xfrm>
            <a:off x="6302452" y="1939791"/>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2400" b="1">
                <a:solidFill>
                  <a:schemeClr val="tx1">
                    <a:lumMod val="50000"/>
                  </a:schemeClr>
                </a:solidFill>
                <a:latin typeface="Arial" panose="020B0604020202020204" pitchFamily="34" charset="0"/>
                <a:cs typeface="Arial" panose="020B0604020202020204" pitchFamily="34" charset="0"/>
              </a:rPr>
              <a:t>2</a:t>
            </a:r>
          </a:p>
        </p:txBody>
      </p:sp>
      <p:sp>
        <p:nvSpPr>
          <p:cNvPr id="89" name="Oval 13">
            <a:extLst>
              <a:ext uri="{FF2B5EF4-FFF2-40B4-BE49-F238E27FC236}">
                <a16:creationId xmlns:a16="http://schemas.microsoft.com/office/drawing/2014/main" id="{E2D49893-7DA2-0147-BE70-E995A3C029B7}"/>
              </a:ext>
            </a:extLst>
          </p:cNvPr>
          <p:cNvSpPr>
            <a:spLocks noChangeAspect="1"/>
          </p:cNvSpPr>
          <p:nvPr userDrawn="1"/>
        </p:nvSpPr>
        <p:spPr>
          <a:xfrm>
            <a:off x="6149118" y="2504559"/>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2400" b="1">
                <a:solidFill>
                  <a:schemeClr val="tx1">
                    <a:lumMod val="50000"/>
                  </a:schemeClr>
                </a:solidFill>
                <a:latin typeface="Arial" panose="020B0604020202020204" pitchFamily="34" charset="0"/>
                <a:cs typeface="Arial" panose="020B0604020202020204" pitchFamily="34" charset="0"/>
              </a:rPr>
              <a:t>3</a:t>
            </a:r>
          </a:p>
        </p:txBody>
      </p:sp>
      <p:sp>
        <p:nvSpPr>
          <p:cNvPr id="90" name="Oval 16">
            <a:extLst>
              <a:ext uri="{FF2B5EF4-FFF2-40B4-BE49-F238E27FC236}">
                <a16:creationId xmlns:a16="http://schemas.microsoft.com/office/drawing/2014/main" id="{F831630D-23A3-B645-B468-7D085E596296}"/>
              </a:ext>
            </a:extLst>
          </p:cNvPr>
          <p:cNvSpPr>
            <a:spLocks noChangeAspect="1"/>
          </p:cNvSpPr>
          <p:nvPr userDrawn="1"/>
        </p:nvSpPr>
        <p:spPr>
          <a:xfrm>
            <a:off x="5995784" y="3069327"/>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2400" b="1">
                <a:solidFill>
                  <a:schemeClr val="tx1">
                    <a:lumMod val="50000"/>
                  </a:schemeClr>
                </a:solidFill>
                <a:latin typeface="Arial" panose="020B0604020202020204" pitchFamily="34" charset="0"/>
                <a:cs typeface="Arial" panose="020B0604020202020204" pitchFamily="34" charset="0"/>
              </a:rPr>
              <a:t>4</a:t>
            </a:r>
          </a:p>
        </p:txBody>
      </p:sp>
      <p:sp>
        <p:nvSpPr>
          <p:cNvPr id="91" name="Oval 19">
            <a:extLst>
              <a:ext uri="{FF2B5EF4-FFF2-40B4-BE49-F238E27FC236}">
                <a16:creationId xmlns:a16="http://schemas.microsoft.com/office/drawing/2014/main" id="{81B1E1A1-DC0B-724B-9EC9-868B06373DDB}"/>
              </a:ext>
            </a:extLst>
          </p:cNvPr>
          <p:cNvSpPr>
            <a:spLocks noChangeAspect="1"/>
          </p:cNvSpPr>
          <p:nvPr userDrawn="1"/>
        </p:nvSpPr>
        <p:spPr>
          <a:xfrm>
            <a:off x="5842450" y="3634095"/>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2400" b="1">
                <a:solidFill>
                  <a:schemeClr val="tx1">
                    <a:lumMod val="50000"/>
                  </a:schemeClr>
                </a:solidFill>
                <a:latin typeface="Arial" panose="020B0604020202020204" pitchFamily="34" charset="0"/>
                <a:cs typeface="Arial" panose="020B0604020202020204" pitchFamily="34" charset="0"/>
              </a:rPr>
              <a:t>5</a:t>
            </a:r>
          </a:p>
        </p:txBody>
      </p:sp>
      <p:sp>
        <p:nvSpPr>
          <p:cNvPr id="92" name="Oval 19">
            <a:extLst>
              <a:ext uri="{FF2B5EF4-FFF2-40B4-BE49-F238E27FC236}">
                <a16:creationId xmlns:a16="http://schemas.microsoft.com/office/drawing/2014/main" id="{74F7AD04-18CB-5144-AE3F-A38EA20A41AE}"/>
              </a:ext>
            </a:extLst>
          </p:cNvPr>
          <p:cNvSpPr>
            <a:spLocks noChangeAspect="1"/>
          </p:cNvSpPr>
          <p:nvPr userDrawn="1"/>
        </p:nvSpPr>
        <p:spPr>
          <a:xfrm>
            <a:off x="5382448" y="5328399"/>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chemeClr val="tx1">
                    <a:lumMod val="50000"/>
                  </a:schemeClr>
                </a:solidFill>
                <a:latin typeface="Arial" panose="020B0604020202020204" pitchFamily="34" charset="0"/>
                <a:cs typeface="Arial" panose="020B0604020202020204" pitchFamily="34" charset="0"/>
              </a:rPr>
              <a:t>8</a:t>
            </a:r>
            <a:endParaRPr lang="x-none" sz="2400" b="1">
              <a:solidFill>
                <a:schemeClr val="tx1">
                  <a:lumMod val="50000"/>
                </a:schemeClr>
              </a:solidFill>
              <a:latin typeface="Arial" panose="020B0604020202020204" pitchFamily="34" charset="0"/>
              <a:cs typeface="Arial" panose="020B0604020202020204" pitchFamily="34" charset="0"/>
            </a:endParaRPr>
          </a:p>
        </p:txBody>
      </p:sp>
      <p:sp>
        <p:nvSpPr>
          <p:cNvPr id="93" name="Oval 19">
            <a:extLst>
              <a:ext uri="{FF2B5EF4-FFF2-40B4-BE49-F238E27FC236}">
                <a16:creationId xmlns:a16="http://schemas.microsoft.com/office/drawing/2014/main" id="{939E8975-B199-C549-9E06-93E45ADE0333}"/>
              </a:ext>
            </a:extLst>
          </p:cNvPr>
          <p:cNvSpPr>
            <a:spLocks noChangeAspect="1"/>
          </p:cNvSpPr>
          <p:nvPr userDrawn="1"/>
        </p:nvSpPr>
        <p:spPr>
          <a:xfrm>
            <a:off x="5689116" y="4198863"/>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chemeClr val="tx1">
                    <a:lumMod val="50000"/>
                  </a:schemeClr>
                </a:solidFill>
                <a:latin typeface="Arial" panose="020B0604020202020204" pitchFamily="34" charset="0"/>
                <a:cs typeface="Arial" panose="020B0604020202020204" pitchFamily="34" charset="0"/>
              </a:rPr>
              <a:t>6</a:t>
            </a:r>
            <a:endParaRPr lang="x-none" sz="2400" b="1">
              <a:solidFill>
                <a:schemeClr val="tx1">
                  <a:lumMod val="50000"/>
                </a:schemeClr>
              </a:solidFill>
              <a:latin typeface="Arial" panose="020B0604020202020204" pitchFamily="34" charset="0"/>
              <a:cs typeface="Arial" panose="020B0604020202020204" pitchFamily="34" charset="0"/>
            </a:endParaRPr>
          </a:p>
        </p:txBody>
      </p:sp>
      <p:sp>
        <p:nvSpPr>
          <p:cNvPr id="94" name="Oval 19">
            <a:extLst>
              <a:ext uri="{FF2B5EF4-FFF2-40B4-BE49-F238E27FC236}">
                <a16:creationId xmlns:a16="http://schemas.microsoft.com/office/drawing/2014/main" id="{C45733DC-33E5-6C43-9ECB-B2100904829E}"/>
              </a:ext>
            </a:extLst>
          </p:cNvPr>
          <p:cNvSpPr>
            <a:spLocks noChangeAspect="1"/>
          </p:cNvSpPr>
          <p:nvPr userDrawn="1"/>
        </p:nvSpPr>
        <p:spPr>
          <a:xfrm>
            <a:off x="5535782" y="4763631"/>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chemeClr val="tx1">
                    <a:lumMod val="50000"/>
                  </a:schemeClr>
                </a:solidFill>
                <a:latin typeface="Arial" panose="020B0604020202020204" pitchFamily="34" charset="0"/>
                <a:cs typeface="Arial" panose="020B0604020202020204" pitchFamily="34" charset="0"/>
              </a:rPr>
              <a:t>7</a:t>
            </a:r>
            <a:endParaRPr lang="x-none" sz="2400" b="1" dirty="0">
              <a:solidFill>
                <a:schemeClr val="tx1">
                  <a:lumMod val="50000"/>
                </a:schemeClr>
              </a:solidFill>
              <a:latin typeface="Arial" panose="020B0604020202020204" pitchFamily="34" charset="0"/>
              <a:cs typeface="Arial" panose="020B0604020202020204" pitchFamily="34" charset="0"/>
            </a:endParaRPr>
          </a:p>
        </p:txBody>
      </p:sp>
      <p:sp>
        <p:nvSpPr>
          <p:cNvPr id="95" name="Oval 19">
            <a:extLst>
              <a:ext uri="{FF2B5EF4-FFF2-40B4-BE49-F238E27FC236}">
                <a16:creationId xmlns:a16="http://schemas.microsoft.com/office/drawing/2014/main" id="{F982B71F-90E9-1349-82E9-C1CBF0DC2A00}"/>
              </a:ext>
            </a:extLst>
          </p:cNvPr>
          <p:cNvSpPr>
            <a:spLocks noChangeAspect="1"/>
          </p:cNvSpPr>
          <p:nvPr userDrawn="1"/>
        </p:nvSpPr>
        <p:spPr>
          <a:xfrm>
            <a:off x="5229114" y="5893169"/>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a:solidFill>
                  <a:schemeClr val="tx1">
                    <a:lumMod val="50000"/>
                  </a:schemeClr>
                </a:solidFill>
                <a:latin typeface="Arial" panose="020B0604020202020204" pitchFamily="34" charset="0"/>
                <a:cs typeface="Arial" panose="020B0604020202020204" pitchFamily="34" charset="0"/>
              </a:rPr>
              <a:t>9</a:t>
            </a:r>
            <a:endParaRPr lang="x-none" sz="2400" b="1" dirty="0">
              <a:solidFill>
                <a:schemeClr val="tx1">
                  <a:lumMod val="50000"/>
                </a:schemeClr>
              </a:solidFill>
              <a:latin typeface="Arial" panose="020B0604020202020204" pitchFamily="34" charset="0"/>
              <a:cs typeface="Arial" panose="020B0604020202020204" pitchFamily="34" charset="0"/>
            </a:endParaRPr>
          </a:p>
        </p:txBody>
      </p:sp>
      <p:sp>
        <p:nvSpPr>
          <p:cNvPr id="96" name="Text Placeholder 2">
            <a:extLst>
              <a:ext uri="{FF2B5EF4-FFF2-40B4-BE49-F238E27FC236}">
                <a16:creationId xmlns:a16="http://schemas.microsoft.com/office/drawing/2014/main" id="{DF29416B-A392-5C46-B124-2F03DC345D26}"/>
              </a:ext>
            </a:extLst>
          </p:cNvPr>
          <p:cNvSpPr>
            <a:spLocks noGrp="1"/>
          </p:cNvSpPr>
          <p:nvPr>
            <p:ph type="body" sz="quarter" idx="28" hasCustomPrompt="1"/>
          </p:nvPr>
        </p:nvSpPr>
        <p:spPr>
          <a:xfrm>
            <a:off x="10452707" y="1401314"/>
            <a:ext cx="112767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97" name="Text Placeholder 2">
            <a:extLst>
              <a:ext uri="{FF2B5EF4-FFF2-40B4-BE49-F238E27FC236}">
                <a16:creationId xmlns:a16="http://schemas.microsoft.com/office/drawing/2014/main" id="{87AD09F4-D860-CF4E-844B-0CB922BA8DBA}"/>
              </a:ext>
            </a:extLst>
          </p:cNvPr>
          <p:cNvSpPr>
            <a:spLocks noGrp="1"/>
          </p:cNvSpPr>
          <p:nvPr>
            <p:ph type="body" sz="quarter" idx="29" hasCustomPrompt="1"/>
          </p:nvPr>
        </p:nvSpPr>
        <p:spPr>
          <a:xfrm>
            <a:off x="10304548" y="1966082"/>
            <a:ext cx="112767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98" name="Text Placeholder 2">
            <a:extLst>
              <a:ext uri="{FF2B5EF4-FFF2-40B4-BE49-F238E27FC236}">
                <a16:creationId xmlns:a16="http://schemas.microsoft.com/office/drawing/2014/main" id="{7E6963AA-0856-B647-AB83-2A1D49E997A8}"/>
              </a:ext>
            </a:extLst>
          </p:cNvPr>
          <p:cNvSpPr>
            <a:spLocks noGrp="1"/>
          </p:cNvSpPr>
          <p:nvPr>
            <p:ph type="body" sz="quarter" idx="30" hasCustomPrompt="1"/>
          </p:nvPr>
        </p:nvSpPr>
        <p:spPr>
          <a:xfrm>
            <a:off x="10156390" y="2530850"/>
            <a:ext cx="112767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99" name="Text Placeholder 2">
            <a:extLst>
              <a:ext uri="{FF2B5EF4-FFF2-40B4-BE49-F238E27FC236}">
                <a16:creationId xmlns:a16="http://schemas.microsoft.com/office/drawing/2014/main" id="{5AA6B97F-A2BC-6F46-9491-4AEA1AEDC89E}"/>
              </a:ext>
            </a:extLst>
          </p:cNvPr>
          <p:cNvSpPr>
            <a:spLocks noGrp="1"/>
          </p:cNvSpPr>
          <p:nvPr>
            <p:ph type="body" sz="quarter" idx="31" hasCustomPrompt="1"/>
          </p:nvPr>
        </p:nvSpPr>
        <p:spPr>
          <a:xfrm>
            <a:off x="10008232" y="3095618"/>
            <a:ext cx="112767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100" name="Text Placeholder 2">
            <a:extLst>
              <a:ext uri="{FF2B5EF4-FFF2-40B4-BE49-F238E27FC236}">
                <a16:creationId xmlns:a16="http://schemas.microsoft.com/office/drawing/2014/main" id="{3CD213FA-7E68-3A41-BA32-2A6442A89107}"/>
              </a:ext>
            </a:extLst>
          </p:cNvPr>
          <p:cNvSpPr>
            <a:spLocks noGrp="1"/>
          </p:cNvSpPr>
          <p:nvPr>
            <p:ph type="body" sz="quarter" idx="32" hasCustomPrompt="1"/>
          </p:nvPr>
        </p:nvSpPr>
        <p:spPr>
          <a:xfrm>
            <a:off x="9860074" y="3660386"/>
            <a:ext cx="112767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101" name="Text Placeholder 2">
            <a:extLst>
              <a:ext uri="{FF2B5EF4-FFF2-40B4-BE49-F238E27FC236}">
                <a16:creationId xmlns:a16="http://schemas.microsoft.com/office/drawing/2014/main" id="{4510072C-0F4F-0746-ADE1-BE374B9A67B6}"/>
              </a:ext>
            </a:extLst>
          </p:cNvPr>
          <p:cNvSpPr>
            <a:spLocks noGrp="1"/>
          </p:cNvSpPr>
          <p:nvPr>
            <p:ph type="body" sz="quarter" idx="33" hasCustomPrompt="1"/>
          </p:nvPr>
        </p:nvSpPr>
        <p:spPr>
          <a:xfrm>
            <a:off x="9415600" y="5354690"/>
            <a:ext cx="112767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102" name="Text Placeholder 2">
            <a:extLst>
              <a:ext uri="{FF2B5EF4-FFF2-40B4-BE49-F238E27FC236}">
                <a16:creationId xmlns:a16="http://schemas.microsoft.com/office/drawing/2014/main" id="{D8AD1399-63D1-B941-89F0-6B5399E3C3C3}"/>
              </a:ext>
            </a:extLst>
          </p:cNvPr>
          <p:cNvSpPr>
            <a:spLocks noGrp="1"/>
          </p:cNvSpPr>
          <p:nvPr>
            <p:ph type="body" sz="quarter" idx="34" hasCustomPrompt="1"/>
          </p:nvPr>
        </p:nvSpPr>
        <p:spPr>
          <a:xfrm>
            <a:off x="9711916" y="4225154"/>
            <a:ext cx="112767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103" name="Text Placeholder 2">
            <a:extLst>
              <a:ext uri="{FF2B5EF4-FFF2-40B4-BE49-F238E27FC236}">
                <a16:creationId xmlns:a16="http://schemas.microsoft.com/office/drawing/2014/main" id="{06417E7A-696C-444B-B11E-1BBD9583C519}"/>
              </a:ext>
            </a:extLst>
          </p:cNvPr>
          <p:cNvSpPr>
            <a:spLocks noGrp="1"/>
          </p:cNvSpPr>
          <p:nvPr>
            <p:ph type="body" sz="quarter" idx="35" hasCustomPrompt="1"/>
          </p:nvPr>
        </p:nvSpPr>
        <p:spPr>
          <a:xfrm>
            <a:off x="9563758" y="4789922"/>
            <a:ext cx="112767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104" name="Text Placeholder 2">
            <a:extLst>
              <a:ext uri="{FF2B5EF4-FFF2-40B4-BE49-F238E27FC236}">
                <a16:creationId xmlns:a16="http://schemas.microsoft.com/office/drawing/2014/main" id="{6A8FBA86-A0A2-2B49-A101-D29F428EA8DF}"/>
              </a:ext>
            </a:extLst>
          </p:cNvPr>
          <p:cNvSpPr>
            <a:spLocks noGrp="1"/>
          </p:cNvSpPr>
          <p:nvPr>
            <p:ph type="body" sz="quarter" idx="36" hasCustomPrompt="1"/>
          </p:nvPr>
        </p:nvSpPr>
        <p:spPr>
          <a:xfrm>
            <a:off x="9267442" y="5919460"/>
            <a:ext cx="112767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74" name="Picture Placeholder 73">
            <a:extLst>
              <a:ext uri="{FF2B5EF4-FFF2-40B4-BE49-F238E27FC236}">
                <a16:creationId xmlns:a16="http://schemas.microsoft.com/office/drawing/2014/main" id="{0349A1EB-DDA0-47A9-876D-382CD6200D4E}"/>
              </a:ext>
            </a:extLst>
          </p:cNvPr>
          <p:cNvSpPr>
            <a:spLocks noGrp="1" noChangeAspect="1"/>
          </p:cNvSpPr>
          <p:nvPr>
            <p:ph type="pic" sz="quarter" idx="12"/>
          </p:nvPr>
        </p:nvSpPr>
        <p:spPr>
          <a:xfrm>
            <a:off x="-3881" y="2"/>
            <a:ext cx="7016940" cy="6857999"/>
          </a:xfrm>
          <a:custGeom>
            <a:avLst/>
            <a:gdLst>
              <a:gd name="connsiteX0" fmla="*/ 936350 w 7016940"/>
              <a:gd name="connsiteY0" fmla="*/ 0 h 6857999"/>
              <a:gd name="connsiteX1" fmla="*/ 7016940 w 7016940"/>
              <a:gd name="connsiteY1" fmla="*/ 0 h 6857999"/>
              <a:gd name="connsiteX2" fmla="*/ 6647521 w 7016940"/>
              <a:gd name="connsiteY2" fmla="*/ 1377861 h 6857999"/>
              <a:gd name="connsiteX3" fmla="*/ 6632137 w 7016940"/>
              <a:gd name="connsiteY3" fmla="*/ 1379411 h 6857999"/>
              <a:gd name="connsiteX4" fmla="*/ 6459668 w 7016940"/>
              <a:gd name="connsiteY4" fmla="*/ 1591023 h 6857999"/>
              <a:gd name="connsiteX5" fmla="*/ 6522933 w 7016940"/>
              <a:gd name="connsiteY5" fmla="*/ 1743758 h 6857999"/>
              <a:gd name="connsiteX6" fmla="*/ 6545364 w 7016940"/>
              <a:gd name="connsiteY6" fmla="*/ 1758882 h 6857999"/>
              <a:gd name="connsiteX7" fmla="*/ 6496153 w 7016940"/>
              <a:gd name="connsiteY7" fmla="*/ 1942430 h 6857999"/>
              <a:gd name="connsiteX8" fmla="*/ 6478802 w 7016940"/>
              <a:gd name="connsiteY8" fmla="*/ 1944179 h 6857999"/>
              <a:gd name="connsiteX9" fmla="*/ 6306333 w 7016940"/>
              <a:gd name="connsiteY9" fmla="*/ 2155791 h 6857999"/>
              <a:gd name="connsiteX10" fmla="*/ 6369598 w 7016940"/>
              <a:gd name="connsiteY10" fmla="*/ 2308526 h 6857999"/>
              <a:gd name="connsiteX11" fmla="*/ 6393651 w 7016940"/>
              <a:gd name="connsiteY11" fmla="*/ 2324742 h 6857999"/>
              <a:gd name="connsiteX12" fmla="*/ 6344786 w 7016940"/>
              <a:gd name="connsiteY12" fmla="*/ 2506999 h 6857999"/>
              <a:gd name="connsiteX13" fmla="*/ 6325468 w 7016940"/>
              <a:gd name="connsiteY13" fmla="*/ 2508947 h 6857999"/>
              <a:gd name="connsiteX14" fmla="*/ 6152999 w 7016940"/>
              <a:gd name="connsiteY14" fmla="*/ 2720559 h 6857999"/>
              <a:gd name="connsiteX15" fmla="*/ 6216264 w 7016940"/>
              <a:gd name="connsiteY15" fmla="*/ 2873294 h 6857999"/>
              <a:gd name="connsiteX16" fmla="*/ 6241937 w 7016940"/>
              <a:gd name="connsiteY16" fmla="*/ 2890603 h 6857999"/>
              <a:gd name="connsiteX17" fmla="*/ 6193418 w 7016940"/>
              <a:gd name="connsiteY17" fmla="*/ 3071569 h 6857999"/>
              <a:gd name="connsiteX18" fmla="*/ 6172134 w 7016940"/>
              <a:gd name="connsiteY18" fmla="*/ 3073715 h 6857999"/>
              <a:gd name="connsiteX19" fmla="*/ 5999665 w 7016940"/>
              <a:gd name="connsiteY19" fmla="*/ 3285327 h 6857999"/>
              <a:gd name="connsiteX20" fmla="*/ 6062930 w 7016940"/>
              <a:gd name="connsiteY20" fmla="*/ 3438061 h 6857999"/>
              <a:gd name="connsiteX21" fmla="*/ 6090224 w 7016940"/>
              <a:gd name="connsiteY21" fmla="*/ 3456463 h 6857999"/>
              <a:gd name="connsiteX22" fmla="*/ 6042051 w 7016940"/>
              <a:gd name="connsiteY22" fmla="*/ 3636139 h 6857999"/>
              <a:gd name="connsiteX23" fmla="*/ 6018800 w 7016940"/>
              <a:gd name="connsiteY23" fmla="*/ 3638482 h 6857999"/>
              <a:gd name="connsiteX24" fmla="*/ 5846331 w 7016940"/>
              <a:gd name="connsiteY24" fmla="*/ 3850094 h 6857999"/>
              <a:gd name="connsiteX25" fmla="*/ 5909596 w 7016940"/>
              <a:gd name="connsiteY25" fmla="*/ 4002829 h 6857999"/>
              <a:gd name="connsiteX26" fmla="*/ 5938510 w 7016940"/>
              <a:gd name="connsiteY26" fmla="*/ 4022324 h 6857999"/>
              <a:gd name="connsiteX27" fmla="*/ 5890683 w 7016940"/>
              <a:gd name="connsiteY27" fmla="*/ 4200708 h 6857999"/>
              <a:gd name="connsiteX28" fmla="*/ 5865466 w 7016940"/>
              <a:gd name="connsiteY28" fmla="*/ 4203251 h 6857999"/>
              <a:gd name="connsiteX29" fmla="*/ 5692997 w 7016940"/>
              <a:gd name="connsiteY29" fmla="*/ 4414862 h 6857999"/>
              <a:gd name="connsiteX30" fmla="*/ 5756262 w 7016940"/>
              <a:gd name="connsiteY30" fmla="*/ 4567598 h 6857999"/>
              <a:gd name="connsiteX31" fmla="*/ 5786797 w 7016940"/>
              <a:gd name="connsiteY31" fmla="*/ 4588185 h 6857999"/>
              <a:gd name="connsiteX32" fmla="*/ 5739316 w 7016940"/>
              <a:gd name="connsiteY32" fmla="*/ 4765278 h 6857999"/>
              <a:gd name="connsiteX33" fmla="*/ 5712132 w 7016940"/>
              <a:gd name="connsiteY33" fmla="*/ 4768019 h 6857999"/>
              <a:gd name="connsiteX34" fmla="*/ 5539663 w 7016940"/>
              <a:gd name="connsiteY34" fmla="*/ 4979630 h 6857999"/>
              <a:gd name="connsiteX35" fmla="*/ 5602928 w 7016940"/>
              <a:gd name="connsiteY35" fmla="*/ 5132365 h 6857999"/>
              <a:gd name="connsiteX36" fmla="*/ 5635083 w 7016940"/>
              <a:gd name="connsiteY36" fmla="*/ 5154045 h 6857999"/>
              <a:gd name="connsiteX37" fmla="*/ 5587949 w 7016940"/>
              <a:gd name="connsiteY37" fmla="*/ 5329848 h 6857999"/>
              <a:gd name="connsiteX38" fmla="*/ 5558798 w 7016940"/>
              <a:gd name="connsiteY38" fmla="*/ 5332787 h 6857999"/>
              <a:gd name="connsiteX39" fmla="*/ 5386329 w 7016940"/>
              <a:gd name="connsiteY39" fmla="*/ 5544398 h 6857999"/>
              <a:gd name="connsiteX40" fmla="*/ 5449594 w 7016940"/>
              <a:gd name="connsiteY40" fmla="*/ 5697133 h 6857999"/>
              <a:gd name="connsiteX41" fmla="*/ 5483370 w 7016940"/>
              <a:gd name="connsiteY41" fmla="*/ 5719906 h 6857999"/>
              <a:gd name="connsiteX42" fmla="*/ 5436581 w 7016940"/>
              <a:gd name="connsiteY42" fmla="*/ 5894420 h 6857999"/>
              <a:gd name="connsiteX43" fmla="*/ 5405464 w 7016940"/>
              <a:gd name="connsiteY43" fmla="*/ 5897557 h 6857999"/>
              <a:gd name="connsiteX44" fmla="*/ 5232995 w 7016940"/>
              <a:gd name="connsiteY44" fmla="*/ 6109168 h 6857999"/>
              <a:gd name="connsiteX45" fmla="*/ 5296260 w 7016940"/>
              <a:gd name="connsiteY45" fmla="*/ 6261904 h 6857999"/>
              <a:gd name="connsiteX46" fmla="*/ 5331656 w 7016940"/>
              <a:gd name="connsiteY46" fmla="*/ 6285768 h 6857999"/>
              <a:gd name="connsiteX47" fmla="*/ 5178234 w 7016940"/>
              <a:gd name="connsiteY47" fmla="*/ 6857999 h 6857999"/>
              <a:gd name="connsiteX48" fmla="*/ 0 w 7016940"/>
              <a:gd name="connsiteY48" fmla="*/ 6857999 h 6857999"/>
              <a:gd name="connsiteX49" fmla="*/ 0 w 7016940"/>
              <a:gd name="connsiteY49" fmla="*/ 345225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016940" h="6857999">
                <a:moveTo>
                  <a:pt x="936350" y="0"/>
                </a:moveTo>
                <a:lnTo>
                  <a:pt x="7016940" y="0"/>
                </a:lnTo>
                <a:lnTo>
                  <a:pt x="6647521" y="1377861"/>
                </a:lnTo>
                <a:lnTo>
                  <a:pt x="6632137" y="1379411"/>
                </a:lnTo>
                <a:cubicBezTo>
                  <a:pt x="6533709" y="1399553"/>
                  <a:pt x="6459668" y="1486641"/>
                  <a:pt x="6459668" y="1591023"/>
                </a:cubicBezTo>
                <a:cubicBezTo>
                  <a:pt x="6459668" y="1650670"/>
                  <a:pt x="6483845" y="1704670"/>
                  <a:pt x="6522933" y="1743758"/>
                </a:cubicBezTo>
                <a:lnTo>
                  <a:pt x="6545364" y="1758882"/>
                </a:lnTo>
                <a:lnTo>
                  <a:pt x="6496153" y="1942430"/>
                </a:lnTo>
                <a:lnTo>
                  <a:pt x="6478802" y="1944179"/>
                </a:lnTo>
                <a:cubicBezTo>
                  <a:pt x="6380374" y="1964320"/>
                  <a:pt x="6306333" y="2051409"/>
                  <a:pt x="6306333" y="2155791"/>
                </a:cubicBezTo>
                <a:cubicBezTo>
                  <a:pt x="6306333" y="2215438"/>
                  <a:pt x="6330510" y="2269438"/>
                  <a:pt x="6369598" y="2308526"/>
                </a:cubicBezTo>
                <a:lnTo>
                  <a:pt x="6393651" y="2324742"/>
                </a:lnTo>
                <a:lnTo>
                  <a:pt x="6344786" y="2506999"/>
                </a:lnTo>
                <a:lnTo>
                  <a:pt x="6325468" y="2508947"/>
                </a:lnTo>
                <a:cubicBezTo>
                  <a:pt x="6227040" y="2529089"/>
                  <a:pt x="6152999" y="2616176"/>
                  <a:pt x="6152999" y="2720559"/>
                </a:cubicBezTo>
                <a:cubicBezTo>
                  <a:pt x="6152999" y="2780206"/>
                  <a:pt x="6177176" y="2834205"/>
                  <a:pt x="6216264" y="2873294"/>
                </a:cubicBezTo>
                <a:lnTo>
                  <a:pt x="6241937" y="2890603"/>
                </a:lnTo>
                <a:lnTo>
                  <a:pt x="6193418" y="3071569"/>
                </a:lnTo>
                <a:lnTo>
                  <a:pt x="6172134" y="3073715"/>
                </a:lnTo>
                <a:cubicBezTo>
                  <a:pt x="6073706" y="3093856"/>
                  <a:pt x="5999665" y="3180944"/>
                  <a:pt x="5999665" y="3285327"/>
                </a:cubicBezTo>
                <a:cubicBezTo>
                  <a:pt x="5999665" y="3344974"/>
                  <a:pt x="6023842" y="3398973"/>
                  <a:pt x="6062930" y="3438061"/>
                </a:cubicBezTo>
                <a:lnTo>
                  <a:pt x="6090224" y="3456463"/>
                </a:lnTo>
                <a:lnTo>
                  <a:pt x="6042051" y="3636139"/>
                </a:lnTo>
                <a:lnTo>
                  <a:pt x="6018800" y="3638482"/>
                </a:lnTo>
                <a:cubicBezTo>
                  <a:pt x="5920372" y="3658624"/>
                  <a:pt x="5846331" y="3745712"/>
                  <a:pt x="5846331" y="3850094"/>
                </a:cubicBezTo>
                <a:cubicBezTo>
                  <a:pt x="5846331" y="3909741"/>
                  <a:pt x="5870508" y="3963741"/>
                  <a:pt x="5909596" y="4002829"/>
                </a:cubicBezTo>
                <a:lnTo>
                  <a:pt x="5938510" y="4022324"/>
                </a:lnTo>
                <a:lnTo>
                  <a:pt x="5890683" y="4200708"/>
                </a:lnTo>
                <a:lnTo>
                  <a:pt x="5865466" y="4203251"/>
                </a:lnTo>
                <a:cubicBezTo>
                  <a:pt x="5767038" y="4223392"/>
                  <a:pt x="5692997" y="4310480"/>
                  <a:pt x="5692997" y="4414862"/>
                </a:cubicBezTo>
                <a:cubicBezTo>
                  <a:pt x="5692997" y="4474509"/>
                  <a:pt x="5717174" y="4528509"/>
                  <a:pt x="5756262" y="4567598"/>
                </a:cubicBezTo>
                <a:lnTo>
                  <a:pt x="5786797" y="4588185"/>
                </a:lnTo>
                <a:lnTo>
                  <a:pt x="5739316" y="4765278"/>
                </a:lnTo>
                <a:lnTo>
                  <a:pt x="5712132" y="4768019"/>
                </a:lnTo>
                <a:cubicBezTo>
                  <a:pt x="5613704" y="4788160"/>
                  <a:pt x="5539663" y="4875248"/>
                  <a:pt x="5539663" y="4979630"/>
                </a:cubicBezTo>
                <a:cubicBezTo>
                  <a:pt x="5539663" y="5039277"/>
                  <a:pt x="5563840" y="5093277"/>
                  <a:pt x="5602928" y="5132365"/>
                </a:cubicBezTo>
                <a:lnTo>
                  <a:pt x="5635083" y="5154045"/>
                </a:lnTo>
                <a:lnTo>
                  <a:pt x="5587949" y="5329848"/>
                </a:lnTo>
                <a:lnTo>
                  <a:pt x="5558798" y="5332787"/>
                </a:lnTo>
                <a:cubicBezTo>
                  <a:pt x="5460370" y="5352928"/>
                  <a:pt x="5386329" y="5440016"/>
                  <a:pt x="5386329" y="5544398"/>
                </a:cubicBezTo>
                <a:cubicBezTo>
                  <a:pt x="5386329" y="5604045"/>
                  <a:pt x="5410506" y="5658045"/>
                  <a:pt x="5449594" y="5697133"/>
                </a:cubicBezTo>
                <a:lnTo>
                  <a:pt x="5483370" y="5719906"/>
                </a:lnTo>
                <a:lnTo>
                  <a:pt x="5436581" y="5894420"/>
                </a:lnTo>
                <a:lnTo>
                  <a:pt x="5405464" y="5897557"/>
                </a:lnTo>
                <a:cubicBezTo>
                  <a:pt x="5307036" y="5917698"/>
                  <a:pt x="5232995" y="6004786"/>
                  <a:pt x="5232995" y="6109168"/>
                </a:cubicBezTo>
                <a:cubicBezTo>
                  <a:pt x="5232995" y="6168815"/>
                  <a:pt x="5257172" y="6222815"/>
                  <a:pt x="5296260" y="6261904"/>
                </a:cubicBezTo>
                <a:lnTo>
                  <a:pt x="5331656" y="6285768"/>
                </a:lnTo>
                <a:lnTo>
                  <a:pt x="5178234" y="6857999"/>
                </a:lnTo>
                <a:lnTo>
                  <a:pt x="0" y="6857999"/>
                </a:lnTo>
                <a:lnTo>
                  <a:pt x="0" y="3452256"/>
                </a:lnTo>
                <a:close/>
              </a:path>
            </a:pathLst>
          </a:custGeom>
        </p:spPr>
        <p:txBody>
          <a:bodyPr wrap="square">
            <a:noAutofit/>
          </a:bodyPr>
          <a:lstStyle/>
          <a:p>
            <a:r>
              <a:rPr lang="de-DE"/>
              <a:t>Bild durch Klicken auf Symbol hinzufügen</a:t>
            </a:r>
            <a:endParaRPr lang="x-none"/>
          </a:p>
        </p:txBody>
      </p:sp>
      <p:sp>
        <p:nvSpPr>
          <p:cNvPr id="3" name="Title 1">
            <a:extLst>
              <a:ext uri="{FF2B5EF4-FFF2-40B4-BE49-F238E27FC236}">
                <a16:creationId xmlns:a16="http://schemas.microsoft.com/office/drawing/2014/main" id="{92B3A81E-4AC4-F50D-5B52-1574DFD1005C}"/>
              </a:ext>
            </a:extLst>
          </p:cNvPr>
          <p:cNvSpPr>
            <a:spLocks noGrp="1"/>
          </p:cNvSpPr>
          <p:nvPr>
            <p:ph type="title" hasCustomPrompt="1"/>
          </p:nvPr>
        </p:nvSpPr>
        <p:spPr>
          <a:xfrm>
            <a:off x="7361584" y="642950"/>
            <a:ext cx="4525616"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Bericht</a:t>
            </a:r>
            <a:endParaRPr lang="de-DE" dirty="0"/>
          </a:p>
        </p:txBody>
      </p:sp>
      <p:sp>
        <p:nvSpPr>
          <p:cNvPr id="4" name="Text Placeholder 3">
            <a:extLst>
              <a:ext uri="{FF2B5EF4-FFF2-40B4-BE49-F238E27FC236}">
                <a16:creationId xmlns:a16="http://schemas.microsoft.com/office/drawing/2014/main" id="{AEFEFED2-DD88-6451-7855-67E58907859F}"/>
              </a:ext>
            </a:extLst>
          </p:cNvPr>
          <p:cNvSpPr>
            <a:spLocks noGrp="1"/>
          </p:cNvSpPr>
          <p:nvPr>
            <p:ph type="body" sz="quarter" idx="13" hasCustomPrompt="1"/>
          </p:nvPr>
        </p:nvSpPr>
        <p:spPr>
          <a:xfrm>
            <a:off x="7362048"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14668826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VZ_10_Kapitel">
    <p:bg>
      <p:bgPr>
        <a:solidFill>
          <a:schemeClr val="bg1"/>
        </a:solidFill>
        <a:effectLst/>
      </p:bgPr>
    </p:bg>
    <p:spTree>
      <p:nvGrpSpPr>
        <p:cNvPr id="1" name=""/>
        <p:cNvGrpSpPr/>
        <p:nvPr/>
      </p:nvGrpSpPr>
      <p:grpSpPr>
        <a:xfrm>
          <a:off x="0" y="0"/>
          <a:ext cx="0" cy="0"/>
          <a:chOff x="0" y="0"/>
          <a:chExt cx="0" cy="0"/>
        </a:xfrm>
      </p:grpSpPr>
      <p:sp>
        <p:nvSpPr>
          <p:cNvPr id="22" name="Slide Number Placeholder 3">
            <a:extLst>
              <a:ext uri="{FF2B5EF4-FFF2-40B4-BE49-F238E27FC236}">
                <a16:creationId xmlns:a16="http://schemas.microsoft.com/office/drawing/2014/main" id="{D3BFDA53-858A-9445-ACD8-05499BD9ED20}"/>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35" name="Text Placeholder 2">
            <a:extLst>
              <a:ext uri="{FF2B5EF4-FFF2-40B4-BE49-F238E27FC236}">
                <a16:creationId xmlns:a16="http://schemas.microsoft.com/office/drawing/2014/main" id="{350954DB-4355-C047-9F94-41E05AD0F172}"/>
              </a:ext>
            </a:extLst>
          </p:cNvPr>
          <p:cNvSpPr>
            <a:spLocks noGrp="1"/>
          </p:cNvSpPr>
          <p:nvPr>
            <p:ph type="body" sz="quarter" idx="14"/>
          </p:nvPr>
        </p:nvSpPr>
        <p:spPr>
          <a:xfrm>
            <a:off x="7096903" y="1401314"/>
            <a:ext cx="3332489"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6" name="Text Placeholder 2">
            <a:extLst>
              <a:ext uri="{FF2B5EF4-FFF2-40B4-BE49-F238E27FC236}">
                <a16:creationId xmlns:a16="http://schemas.microsoft.com/office/drawing/2014/main" id="{699942C1-DDEC-9040-9796-B78DB3FF6EE1}"/>
              </a:ext>
            </a:extLst>
          </p:cNvPr>
          <p:cNvSpPr>
            <a:spLocks noGrp="1"/>
          </p:cNvSpPr>
          <p:nvPr>
            <p:ph type="body" sz="quarter" idx="15"/>
          </p:nvPr>
        </p:nvSpPr>
        <p:spPr>
          <a:xfrm>
            <a:off x="6966495" y="1903330"/>
            <a:ext cx="3332489"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7" name="Text Placeholder 2">
            <a:extLst>
              <a:ext uri="{FF2B5EF4-FFF2-40B4-BE49-F238E27FC236}">
                <a16:creationId xmlns:a16="http://schemas.microsoft.com/office/drawing/2014/main" id="{1F8E7C73-77C5-FA48-BB2C-426660B1E288}"/>
              </a:ext>
            </a:extLst>
          </p:cNvPr>
          <p:cNvSpPr>
            <a:spLocks noGrp="1"/>
          </p:cNvSpPr>
          <p:nvPr>
            <p:ph type="body" sz="quarter" idx="16"/>
          </p:nvPr>
        </p:nvSpPr>
        <p:spPr>
          <a:xfrm>
            <a:off x="6836087" y="2405346"/>
            <a:ext cx="3332489"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8" name="Text Placeholder 2">
            <a:extLst>
              <a:ext uri="{FF2B5EF4-FFF2-40B4-BE49-F238E27FC236}">
                <a16:creationId xmlns:a16="http://schemas.microsoft.com/office/drawing/2014/main" id="{40F7C173-D968-3544-BD25-EC199ABF0C93}"/>
              </a:ext>
            </a:extLst>
          </p:cNvPr>
          <p:cNvSpPr>
            <a:spLocks noGrp="1"/>
          </p:cNvSpPr>
          <p:nvPr>
            <p:ph type="body" sz="quarter" idx="17"/>
          </p:nvPr>
        </p:nvSpPr>
        <p:spPr>
          <a:xfrm>
            <a:off x="6705679" y="2907362"/>
            <a:ext cx="3332489"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39" name="Text Placeholder 2">
            <a:extLst>
              <a:ext uri="{FF2B5EF4-FFF2-40B4-BE49-F238E27FC236}">
                <a16:creationId xmlns:a16="http://schemas.microsoft.com/office/drawing/2014/main" id="{435845FB-2C7F-7F47-B6D5-DFE740E7E77B}"/>
              </a:ext>
            </a:extLst>
          </p:cNvPr>
          <p:cNvSpPr>
            <a:spLocks noGrp="1"/>
          </p:cNvSpPr>
          <p:nvPr>
            <p:ph type="body" sz="quarter" idx="18"/>
          </p:nvPr>
        </p:nvSpPr>
        <p:spPr>
          <a:xfrm>
            <a:off x="6575271" y="3409378"/>
            <a:ext cx="3332489"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1" name="Text Placeholder 2">
            <a:extLst>
              <a:ext uri="{FF2B5EF4-FFF2-40B4-BE49-F238E27FC236}">
                <a16:creationId xmlns:a16="http://schemas.microsoft.com/office/drawing/2014/main" id="{00807678-0B25-8947-B28E-96A05263BF25}"/>
              </a:ext>
            </a:extLst>
          </p:cNvPr>
          <p:cNvSpPr>
            <a:spLocks noGrp="1"/>
          </p:cNvSpPr>
          <p:nvPr>
            <p:ph type="body" sz="quarter" idx="24"/>
          </p:nvPr>
        </p:nvSpPr>
        <p:spPr>
          <a:xfrm>
            <a:off x="6184047" y="4915426"/>
            <a:ext cx="3332489"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2" name="Text Placeholder 2">
            <a:extLst>
              <a:ext uri="{FF2B5EF4-FFF2-40B4-BE49-F238E27FC236}">
                <a16:creationId xmlns:a16="http://schemas.microsoft.com/office/drawing/2014/main" id="{692EEB15-E171-1C4F-A6CC-4834563C39B9}"/>
              </a:ext>
            </a:extLst>
          </p:cNvPr>
          <p:cNvSpPr>
            <a:spLocks noGrp="1"/>
          </p:cNvSpPr>
          <p:nvPr>
            <p:ph type="body" sz="quarter" idx="25"/>
          </p:nvPr>
        </p:nvSpPr>
        <p:spPr>
          <a:xfrm>
            <a:off x="6444863" y="3911394"/>
            <a:ext cx="3332489"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5" name="Text Placeholder 2">
            <a:extLst>
              <a:ext uri="{FF2B5EF4-FFF2-40B4-BE49-F238E27FC236}">
                <a16:creationId xmlns:a16="http://schemas.microsoft.com/office/drawing/2014/main" id="{E8CBDFF9-842A-EF4A-8B4A-95893B02A5F3}"/>
              </a:ext>
            </a:extLst>
          </p:cNvPr>
          <p:cNvSpPr>
            <a:spLocks noGrp="1"/>
          </p:cNvSpPr>
          <p:nvPr>
            <p:ph type="body" sz="quarter" idx="26"/>
          </p:nvPr>
        </p:nvSpPr>
        <p:spPr>
          <a:xfrm>
            <a:off x="6314455" y="4413410"/>
            <a:ext cx="3332489"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6" name="Text Placeholder 2">
            <a:extLst>
              <a:ext uri="{FF2B5EF4-FFF2-40B4-BE49-F238E27FC236}">
                <a16:creationId xmlns:a16="http://schemas.microsoft.com/office/drawing/2014/main" id="{A998C8E8-9FAD-4444-8698-C9C67745370B}"/>
              </a:ext>
            </a:extLst>
          </p:cNvPr>
          <p:cNvSpPr>
            <a:spLocks noGrp="1"/>
          </p:cNvSpPr>
          <p:nvPr>
            <p:ph type="body" sz="quarter" idx="28"/>
          </p:nvPr>
        </p:nvSpPr>
        <p:spPr>
          <a:xfrm>
            <a:off x="6053639" y="5417442"/>
            <a:ext cx="3332489"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71" name="Oval 70">
            <a:extLst>
              <a:ext uri="{FF2B5EF4-FFF2-40B4-BE49-F238E27FC236}">
                <a16:creationId xmlns:a16="http://schemas.microsoft.com/office/drawing/2014/main" id="{DE2C0B3A-5415-2F42-9C6F-CF1C61A4D30B}"/>
              </a:ext>
            </a:extLst>
          </p:cNvPr>
          <p:cNvSpPr>
            <a:spLocks noChangeAspect="1"/>
          </p:cNvSpPr>
          <p:nvPr userDrawn="1"/>
        </p:nvSpPr>
        <p:spPr>
          <a:xfrm>
            <a:off x="6455787" y="1374602"/>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2200" b="1" dirty="0">
                <a:solidFill>
                  <a:schemeClr val="tx1">
                    <a:lumMod val="50000"/>
                  </a:schemeClr>
                </a:solidFill>
                <a:latin typeface="Arial" panose="020B0604020202020204" pitchFamily="34" charset="0"/>
                <a:cs typeface="Arial" panose="020B0604020202020204" pitchFamily="34" charset="0"/>
              </a:rPr>
              <a:t>1</a:t>
            </a:r>
          </a:p>
        </p:txBody>
      </p:sp>
      <p:sp>
        <p:nvSpPr>
          <p:cNvPr id="72" name="Oval 71">
            <a:extLst>
              <a:ext uri="{FF2B5EF4-FFF2-40B4-BE49-F238E27FC236}">
                <a16:creationId xmlns:a16="http://schemas.microsoft.com/office/drawing/2014/main" id="{DA9CAB61-BF50-0D45-867E-F9572163F90D}"/>
              </a:ext>
            </a:extLst>
          </p:cNvPr>
          <p:cNvSpPr>
            <a:spLocks noChangeAspect="1"/>
          </p:cNvSpPr>
          <p:nvPr userDrawn="1"/>
        </p:nvSpPr>
        <p:spPr>
          <a:xfrm>
            <a:off x="6343394" y="1876413"/>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2200" b="1">
                <a:solidFill>
                  <a:schemeClr val="tx1">
                    <a:lumMod val="50000"/>
                  </a:schemeClr>
                </a:solidFill>
                <a:latin typeface="Arial" panose="020B0604020202020204" pitchFamily="34" charset="0"/>
                <a:cs typeface="Arial" panose="020B0604020202020204" pitchFamily="34" charset="0"/>
              </a:rPr>
              <a:t>2</a:t>
            </a:r>
          </a:p>
        </p:txBody>
      </p:sp>
      <p:sp>
        <p:nvSpPr>
          <p:cNvPr id="73" name="Oval 13">
            <a:extLst>
              <a:ext uri="{FF2B5EF4-FFF2-40B4-BE49-F238E27FC236}">
                <a16:creationId xmlns:a16="http://schemas.microsoft.com/office/drawing/2014/main" id="{802DC5F6-DCBC-884F-B4B7-3C3131D2058D}"/>
              </a:ext>
            </a:extLst>
          </p:cNvPr>
          <p:cNvSpPr>
            <a:spLocks noChangeAspect="1"/>
          </p:cNvSpPr>
          <p:nvPr userDrawn="1"/>
        </p:nvSpPr>
        <p:spPr>
          <a:xfrm>
            <a:off x="6204109" y="2378224"/>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2200" b="1">
                <a:solidFill>
                  <a:schemeClr val="tx1">
                    <a:lumMod val="50000"/>
                  </a:schemeClr>
                </a:solidFill>
                <a:latin typeface="Arial" panose="020B0604020202020204" pitchFamily="34" charset="0"/>
                <a:cs typeface="Arial" panose="020B0604020202020204" pitchFamily="34" charset="0"/>
              </a:rPr>
              <a:t>3</a:t>
            </a:r>
          </a:p>
        </p:txBody>
      </p:sp>
      <p:sp>
        <p:nvSpPr>
          <p:cNvPr id="74" name="Oval 16">
            <a:extLst>
              <a:ext uri="{FF2B5EF4-FFF2-40B4-BE49-F238E27FC236}">
                <a16:creationId xmlns:a16="http://schemas.microsoft.com/office/drawing/2014/main" id="{B6B2D964-57A8-B344-BFD3-24368BFB4E94}"/>
              </a:ext>
            </a:extLst>
          </p:cNvPr>
          <p:cNvSpPr>
            <a:spLocks noChangeAspect="1"/>
          </p:cNvSpPr>
          <p:nvPr userDrawn="1"/>
        </p:nvSpPr>
        <p:spPr>
          <a:xfrm>
            <a:off x="6064824" y="2880035"/>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2200" b="1">
                <a:solidFill>
                  <a:schemeClr val="tx1">
                    <a:lumMod val="50000"/>
                  </a:schemeClr>
                </a:solidFill>
                <a:latin typeface="Arial" panose="020B0604020202020204" pitchFamily="34" charset="0"/>
                <a:cs typeface="Arial" panose="020B0604020202020204" pitchFamily="34" charset="0"/>
              </a:rPr>
              <a:t>4</a:t>
            </a:r>
          </a:p>
        </p:txBody>
      </p:sp>
      <p:sp>
        <p:nvSpPr>
          <p:cNvPr id="75" name="Oval 19">
            <a:extLst>
              <a:ext uri="{FF2B5EF4-FFF2-40B4-BE49-F238E27FC236}">
                <a16:creationId xmlns:a16="http://schemas.microsoft.com/office/drawing/2014/main" id="{42522E15-81B1-084E-A826-2D63D6727A01}"/>
              </a:ext>
            </a:extLst>
          </p:cNvPr>
          <p:cNvSpPr>
            <a:spLocks noChangeAspect="1"/>
          </p:cNvSpPr>
          <p:nvPr userDrawn="1"/>
        </p:nvSpPr>
        <p:spPr>
          <a:xfrm>
            <a:off x="5925539" y="3381846"/>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2200" b="1">
                <a:solidFill>
                  <a:schemeClr val="tx1">
                    <a:lumMod val="50000"/>
                  </a:schemeClr>
                </a:solidFill>
                <a:latin typeface="Arial" panose="020B0604020202020204" pitchFamily="34" charset="0"/>
                <a:cs typeface="Arial" panose="020B0604020202020204" pitchFamily="34" charset="0"/>
              </a:rPr>
              <a:t>5</a:t>
            </a:r>
          </a:p>
        </p:txBody>
      </p:sp>
      <p:sp>
        <p:nvSpPr>
          <p:cNvPr id="76" name="Oval 19">
            <a:extLst>
              <a:ext uri="{FF2B5EF4-FFF2-40B4-BE49-F238E27FC236}">
                <a16:creationId xmlns:a16="http://schemas.microsoft.com/office/drawing/2014/main" id="{5238046D-174E-2846-9CC5-5F6891D17119}"/>
              </a:ext>
            </a:extLst>
          </p:cNvPr>
          <p:cNvSpPr>
            <a:spLocks noChangeAspect="1"/>
          </p:cNvSpPr>
          <p:nvPr userDrawn="1"/>
        </p:nvSpPr>
        <p:spPr>
          <a:xfrm>
            <a:off x="5507684" y="4887279"/>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200" b="1" dirty="0">
                <a:solidFill>
                  <a:schemeClr val="tx1">
                    <a:lumMod val="50000"/>
                  </a:schemeClr>
                </a:solidFill>
                <a:latin typeface="Arial" panose="020B0604020202020204" pitchFamily="34" charset="0"/>
                <a:cs typeface="Arial" panose="020B0604020202020204" pitchFamily="34" charset="0"/>
              </a:rPr>
              <a:t>8</a:t>
            </a:r>
            <a:endParaRPr lang="x-none" sz="2200" b="1">
              <a:solidFill>
                <a:schemeClr val="tx1">
                  <a:lumMod val="50000"/>
                </a:schemeClr>
              </a:solidFill>
              <a:latin typeface="Arial" panose="020B0604020202020204" pitchFamily="34" charset="0"/>
              <a:cs typeface="Arial" panose="020B0604020202020204" pitchFamily="34" charset="0"/>
            </a:endParaRPr>
          </a:p>
        </p:txBody>
      </p:sp>
      <p:sp>
        <p:nvSpPr>
          <p:cNvPr id="77" name="Oval 19">
            <a:extLst>
              <a:ext uri="{FF2B5EF4-FFF2-40B4-BE49-F238E27FC236}">
                <a16:creationId xmlns:a16="http://schemas.microsoft.com/office/drawing/2014/main" id="{D14D187A-723C-A44B-985D-18A957C592E5}"/>
              </a:ext>
            </a:extLst>
          </p:cNvPr>
          <p:cNvSpPr>
            <a:spLocks noChangeAspect="1"/>
          </p:cNvSpPr>
          <p:nvPr userDrawn="1"/>
        </p:nvSpPr>
        <p:spPr>
          <a:xfrm>
            <a:off x="5786254" y="3883657"/>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200" b="1" dirty="0">
                <a:solidFill>
                  <a:schemeClr val="tx1">
                    <a:lumMod val="50000"/>
                  </a:schemeClr>
                </a:solidFill>
                <a:latin typeface="Arial" panose="020B0604020202020204" pitchFamily="34" charset="0"/>
                <a:cs typeface="Arial" panose="020B0604020202020204" pitchFamily="34" charset="0"/>
              </a:rPr>
              <a:t>6</a:t>
            </a:r>
            <a:endParaRPr lang="x-none" sz="2200" b="1">
              <a:solidFill>
                <a:schemeClr val="tx1">
                  <a:lumMod val="50000"/>
                </a:schemeClr>
              </a:solidFill>
              <a:latin typeface="Arial" panose="020B0604020202020204" pitchFamily="34" charset="0"/>
              <a:cs typeface="Arial" panose="020B0604020202020204" pitchFamily="34" charset="0"/>
            </a:endParaRPr>
          </a:p>
        </p:txBody>
      </p:sp>
      <p:sp>
        <p:nvSpPr>
          <p:cNvPr id="78" name="Oval 19">
            <a:extLst>
              <a:ext uri="{FF2B5EF4-FFF2-40B4-BE49-F238E27FC236}">
                <a16:creationId xmlns:a16="http://schemas.microsoft.com/office/drawing/2014/main" id="{202BB067-808B-EC44-A20D-DD0D1DC6C73E}"/>
              </a:ext>
            </a:extLst>
          </p:cNvPr>
          <p:cNvSpPr>
            <a:spLocks noChangeAspect="1"/>
          </p:cNvSpPr>
          <p:nvPr userDrawn="1"/>
        </p:nvSpPr>
        <p:spPr>
          <a:xfrm>
            <a:off x="5646969" y="4385468"/>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200" b="1" dirty="0">
                <a:solidFill>
                  <a:schemeClr val="tx1">
                    <a:lumMod val="50000"/>
                  </a:schemeClr>
                </a:solidFill>
                <a:latin typeface="Arial" panose="020B0604020202020204" pitchFamily="34" charset="0"/>
                <a:cs typeface="Arial" panose="020B0604020202020204" pitchFamily="34" charset="0"/>
              </a:rPr>
              <a:t>7</a:t>
            </a:r>
            <a:endParaRPr lang="x-none" sz="2200" b="1">
              <a:solidFill>
                <a:schemeClr val="tx1">
                  <a:lumMod val="50000"/>
                </a:schemeClr>
              </a:solidFill>
              <a:latin typeface="Arial" panose="020B0604020202020204" pitchFamily="34" charset="0"/>
              <a:cs typeface="Arial" panose="020B0604020202020204" pitchFamily="34" charset="0"/>
            </a:endParaRPr>
          </a:p>
        </p:txBody>
      </p:sp>
      <p:sp>
        <p:nvSpPr>
          <p:cNvPr id="79" name="Oval 19">
            <a:extLst>
              <a:ext uri="{FF2B5EF4-FFF2-40B4-BE49-F238E27FC236}">
                <a16:creationId xmlns:a16="http://schemas.microsoft.com/office/drawing/2014/main" id="{F5B7B912-21B6-594D-A9D9-113FAEA64D5F}"/>
              </a:ext>
            </a:extLst>
          </p:cNvPr>
          <p:cNvSpPr>
            <a:spLocks noChangeAspect="1"/>
          </p:cNvSpPr>
          <p:nvPr userDrawn="1"/>
        </p:nvSpPr>
        <p:spPr>
          <a:xfrm>
            <a:off x="5229114" y="5890905"/>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200" b="1" spc="-150" baseline="0" dirty="0">
                <a:solidFill>
                  <a:schemeClr val="tx1">
                    <a:lumMod val="50000"/>
                  </a:schemeClr>
                </a:solidFill>
                <a:latin typeface="Arial" panose="020B0604020202020204" pitchFamily="34" charset="0"/>
                <a:cs typeface="Arial" panose="020B0604020202020204" pitchFamily="34" charset="0"/>
              </a:rPr>
              <a:t>10</a:t>
            </a:r>
            <a:endParaRPr lang="x-none" sz="2200" b="1" spc="-150" baseline="0" dirty="0">
              <a:solidFill>
                <a:schemeClr val="tx1">
                  <a:lumMod val="50000"/>
                </a:schemeClr>
              </a:solidFill>
              <a:latin typeface="Arial" panose="020B0604020202020204" pitchFamily="34" charset="0"/>
              <a:cs typeface="Arial" panose="020B0604020202020204" pitchFamily="34" charset="0"/>
            </a:endParaRPr>
          </a:p>
        </p:txBody>
      </p:sp>
      <p:sp>
        <p:nvSpPr>
          <p:cNvPr id="80" name="Oval 19">
            <a:extLst>
              <a:ext uri="{FF2B5EF4-FFF2-40B4-BE49-F238E27FC236}">
                <a16:creationId xmlns:a16="http://schemas.microsoft.com/office/drawing/2014/main" id="{11D4187F-19CA-E949-A125-59C30DBF7142}"/>
              </a:ext>
            </a:extLst>
          </p:cNvPr>
          <p:cNvSpPr>
            <a:spLocks noChangeAspect="1"/>
          </p:cNvSpPr>
          <p:nvPr userDrawn="1"/>
        </p:nvSpPr>
        <p:spPr>
          <a:xfrm>
            <a:off x="5368399" y="5389090"/>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200" b="1" dirty="0">
                <a:solidFill>
                  <a:schemeClr val="tx1">
                    <a:lumMod val="50000"/>
                  </a:schemeClr>
                </a:solidFill>
                <a:latin typeface="Arial" panose="020B0604020202020204" pitchFamily="34" charset="0"/>
                <a:cs typeface="Arial" panose="020B0604020202020204" pitchFamily="34" charset="0"/>
              </a:rPr>
              <a:t>9</a:t>
            </a:r>
            <a:endParaRPr lang="x-none" sz="2200" b="1">
              <a:solidFill>
                <a:schemeClr val="tx1">
                  <a:lumMod val="50000"/>
                </a:schemeClr>
              </a:solidFill>
              <a:latin typeface="Arial" panose="020B0604020202020204" pitchFamily="34" charset="0"/>
              <a:cs typeface="Arial" panose="020B0604020202020204" pitchFamily="34" charset="0"/>
            </a:endParaRPr>
          </a:p>
        </p:txBody>
      </p:sp>
      <p:sp>
        <p:nvSpPr>
          <p:cNvPr id="82" name="Text Placeholder 2">
            <a:extLst>
              <a:ext uri="{FF2B5EF4-FFF2-40B4-BE49-F238E27FC236}">
                <a16:creationId xmlns:a16="http://schemas.microsoft.com/office/drawing/2014/main" id="{D63417E6-5A28-2C48-A834-0EE62BD6F1FB}"/>
              </a:ext>
            </a:extLst>
          </p:cNvPr>
          <p:cNvSpPr>
            <a:spLocks noGrp="1"/>
          </p:cNvSpPr>
          <p:nvPr>
            <p:ph type="body" sz="quarter" idx="30" hasCustomPrompt="1"/>
          </p:nvPr>
        </p:nvSpPr>
        <p:spPr>
          <a:xfrm>
            <a:off x="10302814" y="1903330"/>
            <a:ext cx="113901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83" name="Text Placeholder 2">
            <a:extLst>
              <a:ext uri="{FF2B5EF4-FFF2-40B4-BE49-F238E27FC236}">
                <a16:creationId xmlns:a16="http://schemas.microsoft.com/office/drawing/2014/main" id="{AE9D9978-0C19-A940-B0A2-1D69B8AEADD7}"/>
              </a:ext>
            </a:extLst>
          </p:cNvPr>
          <p:cNvSpPr>
            <a:spLocks noGrp="1"/>
          </p:cNvSpPr>
          <p:nvPr>
            <p:ph type="body" sz="quarter" idx="31" hasCustomPrompt="1"/>
          </p:nvPr>
        </p:nvSpPr>
        <p:spPr>
          <a:xfrm>
            <a:off x="10171975" y="2405346"/>
            <a:ext cx="113901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84" name="Text Placeholder 2">
            <a:extLst>
              <a:ext uri="{FF2B5EF4-FFF2-40B4-BE49-F238E27FC236}">
                <a16:creationId xmlns:a16="http://schemas.microsoft.com/office/drawing/2014/main" id="{1873FD46-5BD9-6147-B56B-BC47CD484412}"/>
              </a:ext>
            </a:extLst>
          </p:cNvPr>
          <p:cNvSpPr>
            <a:spLocks noGrp="1"/>
          </p:cNvSpPr>
          <p:nvPr>
            <p:ph type="body" sz="quarter" idx="32" hasCustomPrompt="1"/>
          </p:nvPr>
        </p:nvSpPr>
        <p:spPr>
          <a:xfrm>
            <a:off x="10041136" y="2907362"/>
            <a:ext cx="113901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85" name="Text Placeholder 2">
            <a:extLst>
              <a:ext uri="{FF2B5EF4-FFF2-40B4-BE49-F238E27FC236}">
                <a16:creationId xmlns:a16="http://schemas.microsoft.com/office/drawing/2014/main" id="{D8B94983-3AA5-9D45-9995-826A10EFF9B4}"/>
              </a:ext>
            </a:extLst>
          </p:cNvPr>
          <p:cNvSpPr>
            <a:spLocks noGrp="1"/>
          </p:cNvSpPr>
          <p:nvPr>
            <p:ph type="body" sz="quarter" idx="33" hasCustomPrompt="1"/>
          </p:nvPr>
        </p:nvSpPr>
        <p:spPr>
          <a:xfrm>
            <a:off x="9910297" y="3409378"/>
            <a:ext cx="113901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86" name="Text Placeholder 2">
            <a:extLst>
              <a:ext uri="{FF2B5EF4-FFF2-40B4-BE49-F238E27FC236}">
                <a16:creationId xmlns:a16="http://schemas.microsoft.com/office/drawing/2014/main" id="{13932EA1-6291-8047-A100-AB972D89E69F}"/>
              </a:ext>
            </a:extLst>
          </p:cNvPr>
          <p:cNvSpPr>
            <a:spLocks noGrp="1"/>
          </p:cNvSpPr>
          <p:nvPr>
            <p:ph type="body" sz="quarter" idx="34" hasCustomPrompt="1"/>
          </p:nvPr>
        </p:nvSpPr>
        <p:spPr>
          <a:xfrm>
            <a:off x="9517780" y="4915426"/>
            <a:ext cx="113901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87" name="Text Placeholder 2">
            <a:extLst>
              <a:ext uri="{FF2B5EF4-FFF2-40B4-BE49-F238E27FC236}">
                <a16:creationId xmlns:a16="http://schemas.microsoft.com/office/drawing/2014/main" id="{1A2E95FF-81D9-BB49-B940-F75296BF1F6D}"/>
              </a:ext>
            </a:extLst>
          </p:cNvPr>
          <p:cNvSpPr>
            <a:spLocks noGrp="1"/>
          </p:cNvSpPr>
          <p:nvPr>
            <p:ph type="body" sz="quarter" idx="35" hasCustomPrompt="1"/>
          </p:nvPr>
        </p:nvSpPr>
        <p:spPr>
          <a:xfrm>
            <a:off x="9779458" y="3911394"/>
            <a:ext cx="113901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88" name="Text Placeholder 2">
            <a:extLst>
              <a:ext uri="{FF2B5EF4-FFF2-40B4-BE49-F238E27FC236}">
                <a16:creationId xmlns:a16="http://schemas.microsoft.com/office/drawing/2014/main" id="{E5C2E264-026F-8143-AC35-6C3A693E2F2E}"/>
              </a:ext>
            </a:extLst>
          </p:cNvPr>
          <p:cNvSpPr>
            <a:spLocks noGrp="1"/>
          </p:cNvSpPr>
          <p:nvPr>
            <p:ph type="body" sz="quarter" idx="36" hasCustomPrompt="1"/>
          </p:nvPr>
        </p:nvSpPr>
        <p:spPr>
          <a:xfrm>
            <a:off x="9648619" y="4413410"/>
            <a:ext cx="113901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90" name="Text Placeholder 2">
            <a:extLst>
              <a:ext uri="{FF2B5EF4-FFF2-40B4-BE49-F238E27FC236}">
                <a16:creationId xmlns:a16="http://schemas.microsoft.com/office/drawing/2014/main" id="{E26E509B-B72F-EC48-86BA-98E739DE9D81}"/>
              </a:ext>
            </a:extLst>
          </p:cNvPr>
          <p:cNvSpPr>
            <a:spLocks noGrp="1"/>
          </p:cNvSpPr>
          <p:nvPr>
            <p:ph type="body" sz="quarter" idx="38" hasCustomPrompt="1"/>
          </p:nvPr>
        </p:nvSpPr>
        <p:spPr>
          <a:xfrm>
            <a:off x="9386941" y="5417442"/>
            <a:ext cx="113901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52" name="Text Placeholder 2">
            <a:extLst>
              <a:ext uri="{FF2B5EF4-FFF2-40B4-BE49-F238E27FC236}">
                <a16:creationId xmlns:a16="http://schemas.microsoft.com/office/drawing/2014/main" id="{AC2BD356-0870-4C1E-A356-33D0220CBA06}"/>
              </a:ext>
            </a:extLst>
          </p:cNvPr>
          <p:cNvSpPr>
            <a:spLocks noGrp="1"/>
          </p:cNvSpPr>
          <p:nvPr>
            <p:ph type="body" sz="quarter" idx="27"/>
          </p:nvPr>
        </p:nvSpPr>
        <p:spPr>
          <a:xfrm>
            <a:off x="5910343" y="5919460"/>
            <a:ext cx="3345377" cy="368018"/>
          </a:xfrm>
          <a:prstGeom prst="rect">
            <a:avLst/>
          </a:prstGeom>
        </p:spPr>
        <p:txBody>
          <a:bodyPr lIns="0" tIns="0" bIns="0" anchor="ctr"/>
          <a:lstStyle>
            <a:lvl1pPr>
              <a:defRPr lang="en-GB" sz="18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53" name="Text Placeholder 2">
            <a:extLst>
              <a:ext uri="{FF2B5EF4-FFF2-40B4-BE49-F238E27FC236}">
                <a16:creationId xmlns:a16="http://schemas.microsoft.com/office/drawing/2014/main" id="{CCE4F2DB-5509-45CD-9492-A4C005445A22}"/>
              </a:ext>
            </a:extLst>
          </p:cNvPr>
          <p:cNvSpPr>
            <a:spLocks noGrp="1"/>
          </p:cNvSpPr>
          <p:nvPr>
            <p:ph type="body" sz="quarter" idx="39" hasCustomPrompt="1"/>
          </p:nvPr>
        </p:nvSpPr>
        <p:spPr>
          <a:xfrm>
            <a:off x="9267442" y="5919460"/>
            <a:ext cx="112767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54" name="Text Placeholder 2">
            <a:extLst>
              <a:ext uri="{FF2B5EF4-FFF2-40B4-BE49-F238E27FC236}">
                <a16:creationId xmlns:a16="http://schemas.microsoft.com/office/drawing/2014/main" id="{ABFD33A3-FA79-4DDE-93B2-D75C91554641}"/>
              </a:ext>
            </a:extLst>
          </p:cNvPr>
          <p:cNvSpPr>
            <a:spLocks noGrp="1"/>
          </p:cNvSpPr>
          <p:nvPr>
            <p:ph type="body" sz="quarter" idx="40" hasCustomPrompt="1"/>
          </p:nvPr>
        </p:nvSpPr>
        <p:spPr>
          <a:xfrm>
            <a:off x="10433657" y="1401314"/>
            <a:ext cx="1127676" cy="368018"/>
          </a:xfrm>
          <a:prstGeom prst="rect">
            <a:avLst/>
          </a:prstGeom>
        </p:spPr>
        <p:txBody>
          <a:bodyPr lIns="0" tIns="0" bIns="0" anchor="ctr"/>
          <a:lstStyle>
            <a:lvl1pPr algn="r">
              <a:defRPr lang="en-GB" sz="18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99" name="Picture Placeholder 98">
            <a:extLst>
              <a:ext uri="{FF2B5EF4-FFF2-40B4-BE49-F238E27FC236}">
                <a16:creationId xmlns:a16="http://schemas.microsoft.com/office/drawing/2014/main" id="{3557DF07-535A-4E04-BB28-CD7F6257ADC1}"/>
              </a:ext>
            </a:extLst>
          </p:cNvPr>
          <p:cNvSpPr>
            <a:spLocks noGrp="1" noChangeAspect="1"/>
          </p:cNvSpPr>
          <p:nvPr>
            <p:ph type="pic" sz="quarter" idx="12"/>
          </p:nvPr>
        </p:nvSpPr>
        <p:spPr>
          <a:xfrm>
            <a:off x="-3881" y="2"/>
            <a:ext cx="7016940" cy="6857999"/>
          </a:xfrm>
          <a:custGeom>
            <a:avLst/>
            <a:gdLst>
              <a:gd name="connsiteX0" fmla="*/ 936350 w 7016940"/>
              <a:gd name="connsiteY0" fmla="*/ 0 h 6857999"/>
              <a:gd name="connsiteX1" fmla="*/ 7016940 w 7016940"/>
              <a:gd name="connsiteY1" fmla="*/ 0 h 6857999"/>
              <a:gd name="connsiteX2" fmla="*/ 6647637 w 7016940"/>
              <a:gd name="connsiteY2" fmla="*/ 1377428 h 6857999"/>
              <a:gd name="connsiteX3" fmla="*/ 6632137 w 7016940"/>
              <a:gd name="connsiteY3" fmla="*/ 1378991 h 6857999"/>
              <a:gd name="connsiteX4" fmla="*/ 6459668 w 7016940"/>
              <a:gd name="connsiteY4" fmla="*/ 1590602 h 6857999"/>
              <a:gd name="connsiteX5" fmla="*/ 6522933 w 7016940"/>
              <a:gd name="connsiteY5" fmla="*/ 1743337 h 6857999"/>
              <a:gd name="connsiteX6" fmla="*/ 6545460 w 7016940"/>
              <a:gd name="connsiteY6" fmla="*/ 1758526 h 6857999"/>
              <a:gd name="connsiteX7" fmla="*/ 6512035 w 7016940"/>
              <a:gd name="connsiteY7" fmla="*/ 1883194 h 6857999"/>
              <a:gd name="connsiteX8" fmla="*/ 6479198 w 7016940"/>
              <a:gd name="connsiteY8" fmla="*/ 1893388 h 6857999"/>
              <a:gd name="connsiteX9" fmla="*/ 6347275 w 7016940"/>
              <a:gd name="connsiteY9" fmla="*/ 2092413 h 6857999"/>
              <a:gd name="connsiteX10" fmla="*/ 6410540 w 7016940"/>
              <a:gd name="connsiteY10" fmla="*/ 2245149 h 6857999"/>
              <a:gd name="connsiteX11" fmla="*/ 6414310 w 7016940"/>
              <a:gd name="connsiteY11" fmla="*/ 2247690 h 6857999"/>
              <a:gd name="connsiteX12" fmla="*/ 6377925 w 7016940"/>
              <a:gd name="connsiteY12" fmla="*/ 2383398 h 6857999"/>
              <a:gd name="connsiteX13" fmla="*/ 6339913 w 7016940"/>
              <a:gd name="connsiteY13" fmla="*/ 2395198 h 6857999"/>
              <a:gd name="connsiteX14" fmla="*/ 6207990 w 7016940"/>
              <a:gd name="connsiteY14" fmla="*/ 2594224 h 6857999"/>
              <a:gd name="connsiteX15" fmla="*/ 6271255 w 7016940"/>
              <a:gd name="connsiteY15" fmla="*/ 2746959 h 6857999"/>
              <a:gd name="connsiteX16" fmla="*/ 6279042 w 7016940"/>
              <a:gd name="connsiteY16" fmla="*/ 2752209 h 6857999"/>
              <a:gd name="connsiteX17" fmla="*/ 6243662 w 7016940"/>
              <a:gd name="connsiteY17" fmla="*/ 2884172 h 6857999"/>
              <a:gd name="connsiteX18" fmla="*/ 6241174 w 7016940"/>
              <a:gd name="connsiteY18" fmla="*/ 2884423 h 6857999"/>
              <a:gd name="connsiteX19" fmla="*/ 6068705 w 7016940"/>
              <a:gd name="connsiteY19" fmla="*/ 3096035 h 6857999"/>
              <a:gd name="connsiteX20" fmla="*/ 6131970 w 7016940"/>
              <a:gd name="connsiteY20" fmla="*/ 3248770 h 6857999"/>
              <a:gd name="connsiteX21" fmla="*/ 6143775 w 7016940"/>
              <a:gd name="connsiteY21" fmla="*/ 3256729 h 6857999"/>
              <a:gd name="connsiteX22" fmla="*/ 6109252 w 7016940"/>
              <a:gd name="connsiteY22" fmla="*/ 3385491 h 6857999"/>
              <a:gd name="connsiteX23" fmla="*/ 6101889 w 7016940"/>
              <a:gd name="connsiteY23" fmla="*/ 3386235 h 6857999"/>
              <a:gd name="connsiteX24" fmla="*/ 5929420 w 7016940"/>
              <a:gd name="connsiteY24" fmla="*/ 3597845 h 6857999"/>
              <a:gd name="connsiteX25" fmla="*/ 5992685 w 7016940"/>
              <a:gd name="connsiteY25" fmla="*/ 3750580 h 6857999"/>
              <a:gd name="connsiteX26" fmla="*/ 6008508 w 7016940"/>
              <a:gd name="connsiteY26" fmla="*/ 3761248 h 6857999"/>
              <a:gd name="connsiteX27" fmla="*/ 5974843 w 7016940"/>
              <a:gd name="connsiteY27" fmla="*/ 3886811 h 6857999"/>
              <a:gd name="connsiteX28" fmla="*/ 5962604 w 7016940"/>
              <a:gd name="connsiteY28" fmla="*/ 3888045 h 6857999"/>
              <a:gd name="connsiteX29" fmla="*/ 5790135 w 7016940"/>
              <a:gd name="connsiteY29" fmla="*/ 4099656 h 6857999"/>
              <a:gd name="connsiteX30" fmla="*/ 5853400 w 7016940"/>
              <a:gd name="connsiteY30" fmla="*/ 4252392 h 6857999"/>
              <a:gd name="connsiteX31" fmla="*/ 5873240 w 7016940"/>
              <a:gd name="connsiteY31" fmla="*/ 4265768 h 6857999"/>
              <a:gd name="connsiteX32" fmla="*/ 5840434 w 7016940"/>
              <a:gd name="connsiteY32" fmla="*/ 4388130 h 6857999"/>
              <a:gd name="connsiteX33" fmla="*/ 5823319 w 7016940"/>
              <a:gd name="connsiteY33" fmla="*/ 4389856 h 6857999"/>
              <a:gd name="connsiteX34" fmla="*/ 5650850 w 7016940"/>
              <a:gd name="connsiteY34" fmla="*/ 4601467 h 6857999"/>
              <a:gd name="connsiteX35" fmla="*/ 5714115 w 7016940"/>
              <a:gd name="connsiteY35" fmla="*/ 4754202 h 6857999"/>
              <a:gd name="connsiteX36" fmla="*/ 5737973 w 7016940"/>
              <a:gd name="connsiteY36" fmla="*/ 4770288 h 6857999"/>
              <a:gd name="connsiteX37" fmla="*/ 5706024 w 7016940"/>
              <a:gd name="connsiteY37" fmla="*/ 4889450 h 6857999"/>
              <a:gd name="connsiteX38" fmla="*/ 5684034 w 7016940"/>
              <a:gd name="connsiteY38" fmla="*/ 4891667 h 6857999"/>
              <a:gd name="connsiteX39" fmla="*/ 5511565 w 7016940"/>
              <a:gd name="connsiteY39" fmla="*/ 5103278 h 6857999"/>
              <a:gd name="connsiteX40" fmla="*/ 5574830 w 7016940"/>
              <a:gd name="connsiteY40" fmla="*/ 5256014 h 6857999"/>
              <a:gd name="connsiteX41" fmla="*/ 5602705 w 7016940"/>
              <a:gd name="connsiteY41" fmla="*/ 5274808 h 6857999"/>
              <a:gd name="connsiteX42" fmla="*/ 5571615 w 7016940"/>
              <a:gd name="connsiteY42" fmla="*/ 5390769 h 6857999"/>
              <a:gd name="connsiteX43" fmla="*/ 5544749 w 7016940"/>
              <a:gd name="connsiteY43" fmla="*/ 5393478 h 6857999"/>
              <a:gd name="connsiteX44" fmla="*/ 5372280 w 7016940"/>
              <a:gd name="connsiteY44" fmla="*/ 5605089 h 6857999"/>
              <a:gd name="connsiteX45" fmla="*/ 5435545 w 7016940"/>
              <a:gd name="connsiteY45" fmla="*/ 5757825 h 6857999"/>
              <a:gd name="connsiteX46" fmla="*/ 5467438 w 7016940"/>
              <a:gd name="connsiteY46" fmla="*/ 5779327 h 6857999"/>
              <a:gd name="connsiteX47" fmla="*/ 5437205 w 7016940"/>
              <a:gd name="connsiteY47" fmla="*/ 5892093 h 6857999"/>
              <a:gd name="connsiteX48" fmla="*/ 5405464 w 7016940"/>
              <a:gd name="connsiteY48" fmla="*/ 5895293 h 6857999"/>
              <a:gd name="connsiteX49" fmla="*/ 5232995 w 7016940"/>
              <a:gd name="connsiteY49" fmla="*/ 6106904 h 6857999"/>
              <a:gd name="connsiteX50" fmla="*/ 5296260 w 7016940"/>
              <a:gd name="connsiteY50" fmla="*/ 6259639 h 6857999"/>
              <a:gd name="connsiteX51" fmla="*/ 5332170 w 7016940"/>
              <a:gd name="connsiteY51" fmla="*/ 6283851 h 6857999"/>
              <a:gd name="connsiteX52" fmla="*/ 5178234 w 7016940"/>
              <a:gd name="connsiteY52" fmla="*/ 6857999 h 6857999"/>
              <a:gd name="connsiteX53" fmla="*/ 0 w 7016940"/>
              <a:gd name="connsiteY53" fmla="*/ 6857999 h 6857999"/>
              <a:gd name="connsiteX54" fmla="*/ 0 w 7016940"/>
              <a:gd name="connsiteY54" fmla="*/ 345225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7016940" h="6857999">
                <a:moveTo>
                  <a:pt x="936350" y="0"/>
                </a:moveTo>
                <a:lnTo>
                  <a:pt x="7016940" y="0"/>
                </a:lnTo>
                <a:lnTo>
                  <a:pt x="6647637" y="1377428"/>
                </a:lnTo>
                <a:lnTo>
                  <a:pt x="6632137" y="1378991"/>
                </a:lnTo>
                <a:cubicBezTo>
                  <a:pt x="6533709" y="1399131"/>
                  <a:pt x="6459668" y="1486220"/>
                  <a:pt x="6459668" y="1590602"/>
                </a:cubicBezTo>
                <a:cubicBezTo>
                  <a:pt x="6459668" y="1650249"/>
                  <a:pt x="6483845" y="1704249"/>
                  <a:pt x="6522933" y="1743337"/>
                </a:cubicBezTo>
                <a:lnTo>
                  <a:pt x="6545460" y="1758526"/>
                </a:lnTo>
                <a:lnTo>
                  <a:pt x="6512035" y="1883194"/>
                </a:lnTo>
                <a:lnTo>
                  <a:pt x="6479198" y="1893388"/>
                </a:lnTo>
                <a:cubicBezTo>
                  <a:pt x="6401672" y="1926178"/>
                  <a:pt x="6347275" y="2002943"/>
                  <a:pt x="6347275" y="2092413"/>
                </a:cubicBezTo>
                <a:cubicBezTo>
                  <a:pt x="6347275" y="2152060"/>
                  <a:pt x="6371452" y="2206061"/>
                  <a:pt x="6410540" y="2245149"/>
                </a:cubicBezTo>
                <a:lnTo>
                  <a:pt x="6414310" y="2247690"/>
                </a:lnTo>
                <a:lnTo>
                  <a:pt x="6377925" y="2383398"/>
                </a:lnTo>
                <a:lnTo>
                  <a:pt x="6339913" y="2395198"/>
                </a:lnTo>
                <a:cubicBezTo>
                  <a:pt x="6262387" y="2427988"/>
                  <a:pt x="6207990" y="2504754"/>
                  <a:pt x="6207990" y="2594224"/>
                </a:cubicBezTo>
                <a:cubicBezTo>
                  <a:pt x="6207990" y="2653871"/>
                  <a:pt x="6232167" y="2707871"/>
                  <a:pt x="6271255" y="2746959"/>
                </a:cubicBezTo>
                <a:lnTo>
                  <a:pt x="6279042" y="2752209"/>
                </a:lnTo>
                <a:lnTo>
                  <a:pt x="6243662" y="2884172"/>
                </a:lnTo>
                <a:lnTo>
                  <a:pt x="6241174" y="2884423"/>
                </a:lnTo>
                <a:cubicBezTo>
                  <a:pt x="6142746" y="2904564"/>
                  <a:pt x="6068705" y="2991652"/>
                  <a:pt x="6068705" y="3096035"/>
                </a:cubicBezTo>
                <a:cubicBezTo>
                  <a:pt x="6068705" y="3155682"/>
                  <a:pt x="6092882" y="3209682"/>
                  <a:pt x="6131970" y="3248770"/>
                </a:cubicBezTo>
                <a:lnTo>
                  <a:pt x="6143775" y="3256729"/>
                </a:lnTo>
                <a:lnTo>
                  <a:pt x="6109252" y="3385491"/>
                </a:lnTo>
                <a:lnTo>
                  <a:pt x="6101889" y="3386235"/>
                </a:lnTo>
                <a:cubicBezTo>
                  <a:pt x="6003461" y="3406376"/>
                  <a:pt x="5929420" y="3493463"/>
                  <a:pt x="5929420" y="3597845"/>
                </a:cubicBezTo>
                <a:cubicBezTo>
                  <a:pt x="5929420" y="3657492"/>
                  <a:pt x="5953597" y="3711492"/>
                  <a:pt x="5992685" y="3750580"/>
                </a:cubicBezTo>
                <a:lnTo>
                  <a:pt x="6008508" y="3761248"/>
                </a:lnTo>
                <a:lnTo>
                  <a:pt x="5974843" y="3886811"/>
                </a:lnTo>
                <a:lnTo>
                  <a:pt x="5962604" y="3888045"/>
                </a:lnTo>
                <a:cubicBezTo>
                  <a:pt x="5864176" y="3908186"/>
                  <a:pt x="5790135" y="3995274"/>
                  <a:pt x="5790135" y="4099656"/>
                </a:cubicBezTo>
                <a:cubicBezTo>
                  <a:pt x="5790135" y="4159303"/>
                  <a:pt x="5814312" y="4213303"/>
                  <a:pt x="5853400" y="4252392"/>
                </a:cubicBezTo>
                <a:lnTo>
                  <a:pt x="5873240" y="4265768"/>
                </a:lnTo>
                <a:lnTo>
                  <a:pt x="5840434" y="4388130"/>
                </a:lnTo>
                <a:lnTo>
                  <a:pt x="5823319" y="4389856"/>
                </a:lnTo>
                <a:cubicBezTo>
                  <a:pt x="5724891" y="4409997"/>
                  <a:pt x="5650850" y="4497085"/>
                  <a:pt x="5650850" y="4601467"/>
                </a:cubicBezTo>
                <a:cubicBezTo>
                  <a:pt x="5650850" y="4661114"/>
                  <a:pt x="5675027" y="4715114"/>
                  <a:pt x="5714115" y="4754202"/>
                </a:cubicBezTo>
                <a:lnTo>
                  <a:pt x="5737973" y="4770288"/>
                </a:lnTo>
                <a:lnTo>
                  <a:pt x="5706024" y="4889450"/>
                </a:lnTo>
                <a:lnTo>
                  <a:pt x="5684034" y="4891667"/>
                </a:lnTo>
                <a:cubicBezTo>
                  <a:pt x="5585606" y="4911808"/>
                  <a:pt x="5511565" y="4998896"/>
                  <a:pt x="5511565" y="5103278"/>
                </a:cubicBezTo>
                <a:cubicBezTo>
                  <a:pt x="5511565" y="5162925"/>
                  <a:pt x="5535742" y="5216925"/>
                  <a:pt x="5574830" y="5256014"/>
                </a:cubicBezTo>
                <a:lnTo>
                  <a:pt x="5602705" y="5274808"/>
                </a:lnTo>
                <a:lnTo>
                  <a:pt x="5571615" y="5390769"/>
                </a:lnTo>
                <a:lnTo>
                  <a:pt x="5544749" y="5393478"/>
                </a:lnTo>
                <a:cubicBezTo>
                  <a:pt x="5446321" y="5413619"/>
                  <a:pt x="5372280" y="5500707"/>
                  <a:pt x="5372280" y="5605089"/>
                </a:cubicBezTo>
                <a:cubicBezTo>
                  <a:pt x="5372280" y="5664736"/>
                  <a:pt x="5396457" y="5718736"/>
                  <a:pt x="5435545" y="5757825"/>
                </a:cubicBezTo>
                <a:lnTo>
                  <a:pt x="5467438" y="5779327"/>
                </a:lnTo>
                <a:lnTo>
                  <a:pt x="5437205" y="5892093"/>
                </a:lnTo>
                <a:lnTo>
                  <a:pt x="5405464" y="5895293"/>
                </a:lnTo>
                <a:cubicBezTo>
                  <a:pt x="5307036" y="5915434"/>
                  <a:pt x="5232995" y="6002522"/>
                  <a:pt x="5232995" y="6106904"/>
                </a:cubicBezTo>
                <a:cubicBezTo>
                  <a:pt x="5232995" y="6166551"/>
                  <a:pt x="5257172" y="6220551"/>
                  <a:pt x="5296260" y="6259639"/>
                </a:cubicBezTo>
                <a:lnTo>
                  <a:pt x="5332170" y="6283851"/>
                </a:lnTo>
                <a:lnTo>
                  <a:pt x="5178234" y="6857999"/>
                </a:lnTo>
                <a:lnTo>
                  <a:pt x="0" y="6857999"/>
                </a:lnTo>
                <a:lnTo>
                  <a:pt x="0" y="3452256"/>
                </a:lnTo>
                <a:close/>
              </a:path>
            </a:pathLst>
          </a:custGeom>
        </p:spPr>
        <p:txBody>
          <a:bodyPr wrap="square">
            <a:noAutofit/>
          </a:bodyPr>
          <a:lstStyle/>
          <a:p>
            <a:r>
              <a:rPr lang="de-DE"/>
              <a:t>Bild durch Klicken auf Symbol hinzufügen</a:t>
            </a:r>
            <a:endParaRPr lang="x-none"/>
          </a:p>
        </p:txBody>
      </p:sp>
      <p:sp>
        <p:nvSpPr>
          <p:cNvPr id="3" name="Title 1">
            <a:extLst>
              <a:ext uri="{FF2B5EF4-FFF2-40B4-BE49-F238E27FC236}">
                <a16:creationId xmlns:a16="http://schemas.microsoft.com/office/drawing/2014/main" id="{D8DBF1A2-D9D7-7963-4FCD-DB736EE8A74A}"/>
              </a:ext>
            </a:extLst>
          </p:cNvPr>
          <p:cNvSpPr>
            <a:spLocks noGrp="1"/>
          </p:cNvSpPr>
          <p:nvPr>
            <p:ph type="title" hasCustomPrompt="1"/>
          </p:nvPr>
        </p:nvSpPr>
        <p:spPr>
          <a:xfrm>
            <a:off x="7361584" y="642950"/>
            <a:ext cx="4525616"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Bericht</a:t>
            </a:r>
            <a:endParaRPr lang="de-DE" dirty="0"/>
          </a:p>
        </p:txBody>
      </p:sp>
      <p:sp>
        <p:nvSpPr>
          <p:cNvPr id="4" name="Text Placeholder 3">
            <a:extLst>
              <a:ext uri="{FF2B5EF4-FFF2-40B4-BE49-F238E27FC236}">
                <a16:creationId xmlns:a16="http://schemas.microsoft.com/office/drawing/2014/main" id="{7513561E-B569-8A99-D350-92D18FC2A089}"/>
              </a:ext>
            </a:extLst>
          </p:cNvPr>
          <p:cNvSpPr>
            <a:spLocks noGrp="1"/>
          </p:cNvSpPr>
          <p:nvPr>
            <p:ph type="body" sz="quarter" idx="13" hasCustomPrompt="1"/>
          </p:nvPr>
        </p:nvSpPr>
        <p:spPr>
          <a:xfrm>
            <a:off x="7362048"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31020337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_1_weiss">
    <p:bg>
      <p:bgRef idx="1001">
        <a:schemeClr val="bg1"/>
      </p:bgRef>
    </p:bg>
    <p:spTree>
      <p:nvGrpSpPr>
        <p:cNvPr id="1" name=""/>
        <p:cNvGrpSpPr/>
        <p:nvPr/>
      </p:nvGrpSpPr>
      <p:grpSpPr>
        <a:xfrm>
          <a:off x="0" y="0"/>
          <a:ext cx="0" cy="0"/>
          <a:chOff x="0" y="0"/>
          <a:chExt cx="0" cy="0"/>
        </a:xfrm>
      </p:grpSpPr>
      <p:sp>
        <p:nvSpPr>
          <p:cNvPr id="4" name="Freihandform 3">
            <a:extLst>
              <a:ext uri="{FF2B5EF4-FFF2-40B4-BE49-F238E27FC236}">
                <a16:creationId xmlns:a16="http://schemas.microsoft.com/office/drawing/2014/main" id="{7892DA34-CD54-2691-38AC-DFCB69048E3A}"/>
              </a:ext>
            </a:extLst>
          </p:cNvPr>
          <p:cNvSpPr/>
          <p:nvPr userDrawn="1"/>
        </p:nvSpPr>
        <p:spPr>
          <a:xfrm>
            <a:off x="3701992" y="4209653"/>
            <a:ext cx="2920463" cy="615485"/>
          </a:xfrm>
          <a:custGeom>
            <a:avLst/>
            <a:gdLst>
              <a:gd name="connsiteX0" fmla="*/ 2858940 w 2920463"/>
              <a:gd name="connsiteY0" fmla="*/ 71724 h 615485"/>
              <a:gd name="connsiteX1" fmla="*/ 2847568 w 2920463"/>
              <a:gd name="connsiteY1" fmla="*/ 71724 h 615485"/>
              <a:gd name="connsiteX2" fmla="*/ 2847568 w 2920463"/>
              <a:gd name="connsiteY2" fmla="*/ 90384 h 615485"/>
              <a:gd name="connsiteX3" fmla="*/ 2859815 w 2920463"/>
              <a:gd name="connsiteY3" fmla="*/ 90384 h 615485"/>
              <a:gd name="connsiteX4" fmla="*/ 2871770 w 2920463"/>
              <a:gd name="connsiteY4" fmla="*/ 87760 h 615485"/>
              <a:gd name="connsiteX5" fmla="*/ 2874977 w 2920463"/>
              <a:gd name="connsiteY5" fmla="*/ 80762 h 615485"/>
              <a:gd name="connsiteX6" fmla="*/ 2873519 w 2920463"/>
              <a:gd name="connsiteY6" fmla="*/ 75806 h 615485"/>
              <a:gd name="connsiteX7" fmla="*/ 2869145 w 2920463"/>
              <a:gd name="connsiteY7" fmla="*/ 72599 h 615485"/>
              <a:gd name="connsiteX8" fmla="*/ 2858940 w 2920463"/>
              <a:gd name="connsiteY8" fmla="*/ 71724 h 615485"/>
              <a:gd name="connsiteX9" fmla="*/ 2858649 w 2920463"/>
              <a:gd name="connsiteY9" fmla="*/ 63269 h 615485"/>
              <a:gd name="connsiteX10" fmla="*/ 2874394 w 2920463"/>
              <a:gd name="connsiteY10" fmla="*/ 65018 h 615485"/>
              <a:gd name="connsiteX11" fmla="*/ 2882266 w 2920463"/>
              <a:gd name="connsiteY11" fmla="*/ 71141 h 615485"/>
              <a:gd name="connsiteX12" fmla="*/ 2885182 w 2920463"/>
              <a:gd name="connsiteY12" fmla="*/ 80179 h 615485"/>
              <a:gd name="connsiteX13" fmla="*/ 2880225 w 2920463"/>
              <a:gd name="connsiteY13" fmla="*/ 92133 h 615485"/>
              <a:gd name="connsiteX14" fmla="*/ 2867396 w 2920463"/>
              <a:gd name="connsiteY14" fmla="*/ 97673 h 615485"/>
              <a:gd name="connsiteX15" fmla="*/ 2872644 w 2920463"/>
              <a:gd name="connsiteY15" fmla="*/ 100880 h 615485"/>
              <a:gd name="connsiteX16" fmla="*/ 2881975 w 2920463"/>
              <a:gd name="connsiteY16" fmla="*/ 113126 h 615485"/>
              <a:gd name="connsiteX17" fmla="*/ 2889556 w 2920463"/>
              <a:gd name="connsiteY17" fmla="*/ 125371 h 615485"/>
              <a:gd name="connsiteX18" fmla="*/ 2877309 w 2920463"/>
              <a:gd name="connsiteY18" fmla="*/ 125371 h 615485"/>
              <a:gd name="connsiteX19" fmla="*/ 2871770 w 2920463"/>
              <a:gd name="connsiteY19" fmla="*/ 115458 h 615485"/>
              <a:gd name="connsiteX20" fmla="*/ 2861272 w 2920463"/>
              <a:gd name="connsiteY20" fmla="*/ 100880 h 615485"/>
              <a:gd name="connsiteX21" fmla="*/ 2853108 w 2920463"/>
              <a:gd name="connsiteY21" fmla="*/ 98839 h 615485"/>
              <a:gd name="connsiteX22" fmla="*/ 2847277 w 2920463"/>
              <a:gd name="connsiteY22" fmla="*/ 98839 h 615485"/>
              <a:gd name="connsiteX23" fmla="*/ 2847277 w 2920463"/>
              <a:gd name="connsiteY23" fmla="*/ 125080 h 615485"/>
              <a:gd name="connsiteX24" fmla="*/ 2837363 w 2920463"/>
              <a:gd name="connsiteY24" fmla="*/ 125080 h 615485"/>
              <a:gd name="connsiteX25" fmla="*/ 2837363 w 2920463"/>
              <a:gd name="connsiteY25" fmla="*/ 62977 h 615485"/>
              <a:gd name="connsiteX26" fmla="*/ 2858649 w 2920463"/>
              <a:gd name="connsiteY26" fmla="*/ 62977 h 615485"/>
              <a:gd name="connsiteX27" fmla="*/ 2862730 w 2920463"/>
              <a:gd name="connsiteY27" fmla="*/ 45192 h 615485"/>
              <a:gd name="connsiteX28" fmla="*/ 2839113 w 2920463"/>
              <a:gd name="connsiteY28" fmla="*/ 51315 h 615485"/>
              <a:gd name="connsiteX29" fmla="*/ 2821035 w 2920463"/>
              <a:gd name="connsiteY29" fmla="*/ 69100 h 615485"/>
              <a:gd name="connsiteX30" fmla="*/ 2814620 w 2920463"/>
              <a:gd name="connsiteY30" fmla="*/ 93300 h 615485"/>
              <a:gd name="connsiteX31" fmla="*/ 2821035 w 2920463"/>
              <a:gd name="connsiteY31" fmla="*/ 117208 h 615485"/>
              <a:gd name="connsiteX32" fmla="*/ 2838821 w 2920463"/>
              <a:gd name="connsiteY32" fmla="*/ 134993 h 615485"/>
              <a:gd name="connsiteX33" fmla="*/ 2862730 w 2920463"/>
              <a:gd name="connsiteY33" fmla="*/ 141407 h 615485"/>
              <a:gd name="connsiteX34" fmla="*/ 2886640 w 2920463"/>
              <a:gd name="connsiteY34" fmla="*/ 134993 h 615485"/>
              <a:gd name="connsiteX35" fmla="*/ 2904426 w 2920463"/>
              <a:gd name="connsiteY35" fmla="*/ 117208 h 615485"/>
              <a:gd name="connsiteX36" fmla="*/ 2910841 w 2920463"/>
              <a:gd name="connsiteY36" fmla="*/ 93300 h 615485"/>
              <a:gd name="connsiteX37" fmla="*/ 2904426 w 2920463"/>
              <a:gd name="connsiteY37" fmla="*/ 69100 h 615485"/>
              <a:gd name="connsiteX38" fmla="*/ 2886349 w 2920463"/>
              <a:gd name="connsiteY38" fmla="*/ 51315 h 615485"/>
              <a:gd name="connsiteX39" fmla="*/ 2862730 w 2920463"/>
              <a:gd name="connsiteY39" fmla="*/ 45192 h 615485"/>
              <a:gd name="connsiteX40" fmla="*/ 2862730 w 2920463"/>
              <a:gd name="connsiteY40" fmla="*/ 35571 h 615485"/>
              <a:gd name="connsiteX41" fmla="*/ 2891014 w 2920463"/>
              <a:gd name="connsiteY41" fmla="*/ 43151 h 615485"/>
              <a:gd name="connsiteX42" fmla="*/ 2912591 w 2920463"/>
              <a:gd name="connsiteY42" fmla="*/ 64435 h 615485"/>
              <a:gd name="connsiteX43" fmla="*/ 2920463 w 2920463"/>
              <a:gd name="connsiteY43" fmla="*/ 93300 h 615485"/>
              <a:gd name="connsiteX44" fmla="*/ 2912882 w 2920463"/>
              <a:gd name="connsiteY44" fmla="*/ 121873 h 615485"/>
              <a:gd name="connsiteX45" fmla="*/ 2891597 w 2920463"/>
              <a:gd name="connsiteY45" fmla="*/ 143156 h 615485"/>
              <a:gd name="connsiteX46" fmla="*/ 2862730 w 2920463"/>
              <a:gd name="connsiteY46" fmla="*/ 150737 h 615485"/>
              <a:gd name="connsiteX47" fmla="*/ 2833864 w 2920463"/>
              <a:gd name="connsiteY47" fmla="*/ 143156 h 615485"/>
              <a:gd name="connsiteX48" fmla="*/ 2812579 w 2920463"/>
              <a:gd name="connsiteY48" fmla="*/ 121873 h 615485"/>
              <a:gd name="connsiteX49" fmla="*/ 2804998 w 2920463"/>
              <a:gd name="connsiteY49" fmla="*/ 93300 h 615485"/>
              <a:gd name="connsiteX50" fmla="*/ 2812870 w 2920463"/>
              <a:gd name="connsiteY50" fmla="*/ 64435 h 615485"/>
              <a:gd name="connsiteX51" fmla="*/ 2834447 w 2920463"/>
              <a:gd name="connsiteY51" fmla="*/ 43151 h 615485"/>
              <a:gd name="connsiteX52" fmla="*/ 2862730 w 2920463"/>
              <a:gd name="connsiteY52" fmla="*/ 35571 h 615485"/>
              <a:gd name="connsiteX53" fmla="*/ 2182475 w 2920463"/>
              <a:gd name="connsiteY53" fmla="*/ 257448 h 615485"/>
              <a:gd name="connsiteX54" fmla="*/ 2107247 w 2920463"/>
              <a:gd name="connsiteY54" fmla="*/ 291561 h 615485"/>
              <a:gd name="connsiteX55" fmla="*/ 2076631 w 2920463"/>
              <a:gd name="connsiteY55" fmla="*/ 389817 h 615485"/>
              <a:gd name="connsiteX56" fmla="*/ 2107247 w 2920463"/>
              <a:gd name="connsiteY56" fmla="*/ 488073 h 615485"/>
              <a:gd name="connsiteX57" fmla="*/ 2182475 w 2920463"/>
              <a:gd name="connsiteY57" fmla="*/ 522186 h 615485"/>
              <a:gd name="connsiteX58" fmla="*/ 2257411 w 2920463"/>
              <a:gd name="connsiteY58" fmla="*/ 488073 h 615485"/>
              <a:gd name="connsiteX59" fmla="*/ 2287735 w 2920463"/>
              <a:gd name="connsiteY59" fmla="*/ 388943 h 615485"/>
              <a:gd name="connsiteX60" fmla="*/ 2257411 w 2920463"/>
              <a:gd name="connsiteY60" fmla="*/ 291561 h 615485"/>
              <a:gd name="connsiteX61" fmla="*/ 2182475 w 2920463"/>
              <a:gd name="connsiteY61" fmla="*/ 257448 h 615485"/>
              <a:gd name="connsiteX62" fmla="*/ 667426 w 2920463"/>
              <a:gd name="connsiteY62" fmla="*/ 257448 h 615485"/>
              <a:gd name="connsiteX63" fmla="*/ 592199 w 2920463"/>
              <a:gd name="connsiteY63" fmla="*/ 291561 h 615485"/>
              <a:gd name="connsiteX64" fmla="*/ 561583 w 2920463"/>
              <a:gd name="connsiteY64" fmla="*/ 389817 h 615485"/>
              <a:gd name="connsiteX65" fmla="*/ 592199 w 2920463"/>
              <a:gd name="connsiteY65" fmla="*/ 488073 h 615485"/>
              <a:gd name="connsiteX66" fmla="*/ 667426 w 2920463"/>
              <a:gd name="connsiteY66" fmla="*/ 522186 h 615485"/>
              <a:gd name="connsiteX67" fmla="*/ 742362 w 2920463"/>
              <a:gd name="connsiteY67" fmla="*/ 488073 h 615485"/>
              <a:gd name="connsiteX68" fmla="*/ 772686 w 2920463"/>
              <a:gd name="connsiteY68" fmla="*/ 388943 h 615485"/>
              <a:gd name="connsiteX69" fmla="*/ 742362 w 2920463"/>
              <a:gd name="connsiteY69" fmla="*/ 291561 h 615485"/>
              <a:gd name="connsiteX70" fmla="*/ 667426 w 2920463"/>
              <a:gd name="connsiteY70" fmla="*/ 257448 h 615485"/>
              <a:gd name="connsiteX71" fmla="*/ 2509336 w 2920463"/>
              <a:gd name="connsiteY71" fmla="*/ 174062 h 615485"/>
              <a:gd name="connsiteX72" fmla="*/ 2590687 w 2920463"/>
              <a:gd name="connsiteY72" fmla="*/ 393899 h 615485"/>
              <a:gd name="connsiteX73" fmla="*/ 2614305 w 2920463"/>
              <a:gd name="connsiteY73" fmla="*/ 467373 h 615485"/>
              <a:gd name="connsiteX74" fmla="*/ 2625968 w 2920463"/>
              <a:gd name="connsiteY74" fmla="*/ 430344 h 615485"/>
              <a:gd name="connsiteX75" fmla="*/ 2638214 w 2920463"/>
              <a:gd name="connsiteY75" fmla="*/ 393899 h 615485"/>
              <a:gd name="connsiteX76" fmla="*/ 2720440 w 2920463"/>
              <a:gd name="connsiteY76" fmla="*/ 174062 h 615485"/>
              <a:gd name="connsiteX77" fmla="*/ 2837946 w 2920463"/>
              <a:gd name="connsiteY77" fmla="*/ 174062 h 615485"/>
              <a:gd name="connsiteX78" fmla="*/ 2666497 w 2920463"/>
              <a:gd name="connsiteY78" fmla="*/ 604989 h 615485"/>
              <a:gd name="connsiteX79" fmla="*/ 2563278 w 2920463"/>
              <a:gd name="connsiteY79" fmla="*/ 604989 h 615485"/>
              <a:gd name="connsiteX80" fmla="*/ 2389205 w 2920463"/>
              <a:gd name="connsiteY80" fmla="*/ 174062 h 615485"/>
              <a:gd name="connsiteX81" fmla="*/ 2509336 w 2920463"/>
              <a:gd name="connsiteY81" fmla="*/ 174062 h 615485"/>
              <a:gd name="connsiteX82" fmla="*/ 140833 w 2920463"/>
              <a:gd name="connsiteY82" fmla="*/ 10205 h 615485"/>
              <a:gd name="connsiteX83" fmla="*/ 281083 w 2920463"/>
              <a:gd name="connsiteY83" fmla="*/ 245495 h 615485"/>
              <a:gd name="connsiteX84" fmla="*/ 418417 w 2920463"/>
              <a:gd name="connsiteY84" fmla="*/ 10205 h 615485"/>
              <a:gd name="connsiteX85" fmla="*/ 557209 w 2920463"/>
              <a:gd name="connsiteY85" fmla="*/ 10205 h 615485"/>
              <a:gd name="connsiteX86" fmla="*/ 338233 w 2920463"/>
              <a:gd name="connsiteY86" fmla="*/ 355413 h 615485"/>
              <a:gd name="connsiteX87" fmla="*/ 338233 w 2920463"/>
              <a:gd name="connsiteY87" fmla="*/ 604989 h 615485"/>
              <a:gd name="connsiteX88" fmla="*/ 218393 w 2920463"/>
              <a:gd name="connsiteY88" fmla="*/ 604989 h 615485"/>
              <a:gd name="connsiteX89" fmla="*/ 218393 w 2920463"/>
              <a:gd name="connsiteY89" fmla="*/ 354538 h 615485"/>
              <a:gd name="connsiteX90" fmla="*/ 0 w 2920463"/>
              <a:gd name="connsiteY90" fmla="*/ 9913 h 615485"/>
              <a:gd name="connsiteX91" fmla="*/ 140833 w 2920463"/>
              <a:gd name="connsiteY91" fmla="*/ 9913 h 615485"/>
              <a:gd name="connsiteX92" fmla="*/ 2181892 w 2920463"/>
              <a:gd name="connsiteY92" fmla="*/ 164441 h 615485"/>
              <a:gd name="connsiteX93" fmla="*/ 2342552 w 2920463"/>
              <a:gd name="connsiteY93" fmla="*/ 228001 h 615485"/>
              <a:gd name="connsiteX94" fmla="*/ 2405242 w 2920463"/>
              <a:gd name="connsiteY94" fmla="*/ 388651 h 615485"/>
              <a:gd name="connsiteX95" fmla="*/ 2341969 w 2920463"/>
              <a:gd name="connsiteY95" fmla="*/ 550759 h 615485"/>
              <a:gd name="connsiteX96" fmla="*/ 2182766 w 2920463"/>
              <a:gd name="connsiteY96" fmla="*/ 615194 h 615485"/>
              <a:gd name="connsiteX97" fmla="*/ 2069633 w 2920463"/>
              <a:gd name="connsiteY97" fmla="*/ 588370 h 615485"/>
              <a:gd name="connsiteX98" fmla="*/ 1987699 w 2920463"/>
              <a:gd name="connsiteY98" fmla="*/ 509941 h 615485"/>
              <a:gd name="connsiteX99" fmla="*/ 1959708 w 2920463"/>
              <a:gd name="connsiteY99" fmla="*/ 383986 h 615485"/>
              <a:gd name="connsiteX100" fmla="*/ 1987699 w 2920463"/>
              <a:gd name="connsiteY100" fmla="*/ 274068 h 615485"/>
              <a:gd name="connsiteX101" fmla="*/ 2067301 w 2920463"/>
              <a:gd name="connsiteY101" fmla="*/ 193014 h 615485"/>
              <a:gd name="connsiteX102" fmla="*/ 2181892 w 2920463"/>
              <a:gd name="connsiteY102" fmla="*/ 164441 h 615485"/>
              <a:gd name="connsiteX103" fmla="*/ 667135 w 2920463"/>
              <a:gd name="connsiteY103" fmla="*/ 164441 h 615485"/>
              <a:gd name="connsiteX104" fmla="*/ 827795 w 2920463"/>
              <a:gd name="connsiteY104" fmla="*/ 228001 h 615485"/>
              <a:gd name="connsiteX105" fmla="*/ 890485 w 2920463"/>
              <a:gd name="connsiteY105" fmla="*/ 388651 h 615485"/>
              <a:gd name="connsiteX106" fmla="*/ 827212 w 2920463"/>
              <a:gd name="connsiteY106" fmla="*/ 550759 h 615485"/>
              <a:gd name="connsiteX107" fmla="*/ 668009 w 2920463"/>
              <a:gd name="connsiteY107" fmla="*/ 615194 h 615485"/>
              <a:gd name="connsiteX108" fmla="*/ 554876 w 2920463"/>
              <a:gd name="connsiteY108" fmla="*/ 588370 h 615485"/>
              <a:gd name="connsiteX109" fmla="*/ 472942 w 2920463"/>
              <a:gd name="connsiteY109" fmla="*/ 509941 h 615485"/>
              <a:gd name="connsiteX110" fmla="*/ 444951 w 2920463"/>
              <a:gd name="connsiteY110" fmla="*/ 383986 h 615485"/>
              <a:gd name="connsiteX111" fmla="*/ 472942 w 2920463"/>
              <a:gd name="connsiteY111" fmla="*/ 274068 h 615485"/>
              <a:gd name="connsiteX112" fmla="*/ 552544 w 2920463"/>
              <a:gd name="connsiteY112" fmla="*/ 193014 h 615485"/>
              <a:gd name="connsiteX113" fmla="*/ 667135 w 2920463"/>
              <a:gd name="connsiteY113" fmla="*/ 164441 h 615485"/>
              <a:gd name="connsiteX114" fmla="*/ 1041523 w 2920463"/>
              <a:gd name="connsiteY114" fmla="*/ 174062 h 615485"/>
              <a:gd name="connsiteX115" fmla="*/ 1041523 w 2920463"/>
              <a:gd name="connsiteY115" fmla="*/ 372032 h 615485"/>
              <a:gd name="connsiteX116" fmla="*/ 1047938 w 2920463"/>
              <a:gd name="connsiteY116" fmla="*/ 483408 h 615485"/>
              <a:gd name="connsiteX117" fmla="*/ 1070973 w 2920463"/>
              <a:gd name="connsiteY117" fmla="*/ 515772 h 615485"/>
              <a:gd name="connsiteX118" fmla="*/ 1113252 w 2920463"/>
              <a:gd name="connsiteY118" fmla="*/ 527726 h 615485"/>
              <a:gd name="connsiteX119" fmla="*/ 1165736 w 2920463"/>
              <a:gd name="connsiteY119" fmla="*/ 511690 h 615485"/>
              <a:gd name="connsiteX120" fmla="*/ 1197518 w 2920463"/>
              <a:gd name="connsiteY120" fmla="*/ 472038 h 615485"/>
              <a:gd name="connsiteX121" fmla="*/ 1205974 w 2920463"/>
              <a:gd name="connsiteY121" fmla="*/ 355705 h 615485"/>
              <a:gd name="connsiteX122" fmla="*/ 1205974 w 2920463"/>
              <a:gd name="connsiteY122" fmla="*/ 173770 h 615485"/>
              <a:gd name="connsiteX123" fmla="*/ 1320273 w 2920463"/>
              <a:gd name="connsiteY123" fmla="*/ 173770 h 615485"/>
              <a:gd name="connsiteX124" fmla="*/ 1320273 w 2920463"/>
              <a:gd name="connsiteY124" fmla="*/ 604698 h 615485"/>
              <a:gd name="connsiteX125" fmla="*/ 1214138 w 2920463"/>
              <a:gd name="connsiteY125" fmla="*/ 604698 h 615485"/>
              <a:gd name="connsiteX126" fmla="*/ 1214138 w 2920463"/>
              <a:gd name="connsiteY126" fmla="*/ 540263 h 615485"/>
              <a:gd name="connsiteX127" fmla="*/ 1152032 w 2920463"/>
              <a:gd name="connsiteY127" fmla="*/ 594493 h 615485"/>
              <a:gd name="connsiteX128" fmla="*/ 1070973 w 2920463"/>
              <a:gd name="connsiteY128" fmla="*/ 614319 h 615485"/>
              <a:gd name="connsiteX129" fmla="*/ 992829 w 2920463"/>
              <a:gd name="connsiteY129" fmla="*/ 595368 h 615485"/>
              <a:gd name="connsiteX130" fmla="*/ 942969 w 2920463"/>
              <a:gd name="connsiteY130" fmla="*/ 541721 h 615485"/>
              <a:gd name="connsiteX131" fmla="*/ 927515 w 2920463"/>
              <a:gd name="connsiteY131" fmla="*/ 446380 h 615485"/>
              <a:gd name="connsiteX132" fmla="*/ 927515 w 2920463"/>
              <a:gd name="connsiteY132" fmla="*/ 173770 h 615485"/>
              <a:gd name="connsiteX133" fmla="*/ 1041523 w 2920463"/>
              <a:gd name="connsiteY133" fmla="*/ 173770 h 615485"/>
              <a:gd name="connsiteX134" fmla="*/ 1664338 w 2920463"/>
              <a:gd name="connsiteY134" fmla="*/ 0 h 615485"/>
              <a:gd name="connsiteX135" fmla="*/ 1837828 w 2920463"/>
              <a:gd name="connsiteY135" fmla="*/ 46358 h 615485"/>
              <a:gd name="connsiteX136" fmla="*/ 1918012 w 2920463"/>
              <a:gd name="connsiteY136" fmla="*/ 174937 h 615485"/>
              <a:gd name="connsiteX137" fmla="*/ 1798464 w 2920463"/>
              <a:gd name="connsiteY137" fmla="*/ 197387 h 615485"/>
              <a:gd name="connsiteX138" fmla="*/ 1751228 w 2920463"/>
              <a:gd name="connsiteY138" fmla="*/ 128287 h 615485"/>
              <a:gd name="connsiteX139" fmla="*/ 1664338 w 2920463"/>
              <a:gd name="connsiteY139" fmla="*/ 102921 h 615485"/>
              <a:gd name="connsiteX140" fmla="*/ 1538958 w 2920463"/>
              <a:gd name="connsiteY140" fmla="*/ 152778 h 615485"/>
              <a:gd name="connsiteX141" fmla="*/ 1492305 w 2920463"/>
              <a:gd name="connsiteY141" fmla="*/ 300891 h 615485"/>
              <a:gd name="connsiteX142" fmla="*/ 1539541 w 2920463"/>
              <a:gd name="connsiteY142" fmla="*/ 459792 h 615485"/>
              <a:gd name="connsiteX143" fmla="*/ 1663171 w 2920463"/>
              <a:gd name="connsiteY143" fmla="*/ 512856 h 615485"/>
              <a:gd name="connsiteX144" fmla="*/ 1738982 w 2920463"/>
              <a:gd name="connsiteY144" fmla="*/ 497986 h 615485"/>
              <a:gd name="connsiteX145" fmla="*/ 1804296 w 2920463"/>
              <a:gd name="connsiteY145" fmla="*/ 462124 h 615485"/>
              <a:gd name="connsiteX146" fmla="*/ 1804296 w 2920463"/>
              <a:gd name="connsiteY146" fmla="*/ 386610 h 615485"/>
              <a:gd name="connsiteX147" fmla="*/ 1666379 w 2920463"/>
              <a:gd name="connsiteY147" fmla="*/ 386610 h 615485"/>
              <a:gd name="connsiteX148" fmla="*/ 1666379 w 2920463"/>
              <a:gd name="connsiteY148" fmla="*/ 286313 h 615485"/>
              <a:gd name="connsiteX149" fmla="*/ 1925885 w 2920463"/>
              <a:gd name="connsiteY149" fmla="*/ 286313 h 615485"/>
              <a:gd name="connsiteX150" fmla="*/ 1925885 w 2920463"/>
              <a:gd name="connsiteY150" fmla="*/ 523352 h 615485"/>
              <a:gd name="connsiteX151" fmla="*/ 1816251 w 2920463"/>
              <a:gd name="connsiteY151" fmla="*/ 587787 h 615485"/>
              <a:gd name="connsiteX152" fmla="*/ 1671044 w 2920463"/>
              <a:gd name="connsiteY152" fmla="*/ 615486 h 615485"/>
              <a:gd name="connsiteX153" fmla="*/ 1508051 w 2920463"/>
              <a:gd name="connsiteY153" fmla="*/ 576417 h 615485"/>
              <a:gd name="connsiteX154" fmla="*/ 1403665 w 2920463"/>
              <a:gd name="connsiteY154" fmla="*/ 464457 h 615485"/>
              <a:gd name="connsiteX155" fmla="*/ 1368676 w 2920463"/>
              <a:gd name="connsiteY155" fmla="*/ 305848 h 615485"/>
              <a:gd name="connsiteX156" fmla="*/ 1407747 w 2920463"/>
              <a:gd name="connsiteY156" fmla="*/ 140824 h 615485"/>
              <a:gd name="connsiteX157" fmla="*/ 1522047 w 2920463"/>
              <a:gd name="connsiteY157" fmla="*/ 30031 h 615485"/>
              <a:gd name="connsiteX158" fmla="*/ 1664338 w 2920463"/>
              <a:gd name="connsiteY158" fmla="*/ 0 h 61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920463" h="615485">
                <a:moveTo>
                  <a:pt x="2858940" y="71724"/>
                </a:moveTo>
                <a:lnTo>
                  <a:pt x="2847568" y="71724"/>
                </a:lnTo>
                <a:lnTo>
                  <a:pt x="2847568" y="90384"/>
                </a:lnTo>
                <a:lnTo>
                  <a:pt x="2859815" y="90384"/>
                </a:lnTo>
                <a:cubicBezTo>
                  <a:pt x="2865646" y="90384"/>
                  <a:pt x="2869728" y="89509"/>
                  <a:pt x="2871770" y="87760"/>
                </a:cubicBezTo>
                <a:cubicBezTo>
                  <a:pt x="2873811" y="86011"/>
                  <a:pt x="2874977" y="83678"/>
                  <a:pt x="2874977" y="80762"/>
                </a:cubicBezTo>
                <a:cubicBezTo>
                  <a:pt x="2874977" y="79013"/>
                  <a:pt x="2874394" y="77264"/>
                  <a:pt x="2873519" y="75806"/>
                </a:cubicBezTo>
                <a:cubicBezTo>
                  <a:pt x="2872644" y="74348"/>
                  <a:pt x="2871186" y="73182"/>
                  <a:pt x="2869145" y="72599"/>
                </a:cubicBezTo>
                <a:cubicBezTo>
                  <a:pt x="2867104" y="72016"/>
                  <a:pt x="2863605" y="71724"/>
                  <a:pt x="2858940" y="71724"/>
                </a:cubicBezTo>
                <a:close/>
                <a:moveTo>
                  <a:pt x="2858649" y="63269"/>
                </a:moveTo>
                <a:cubicBezTo>
                  <a:pt x="2865938" y="63269"/>
                  <a:pt x="2871186" y="63852"/>
                  <a:pt x="2874394" y="65018"/>
                </a:cubicBezTo>
                <a:cubicBezTo>
                  <a:pt x="2877601" y="66184"/>
                  <a:pt x="2880225" y="68225"/>
                  <a:pt x="2882266" y="71141"/>
                </a:cubicBezTo>
                <a:cubicBezTo>
                  <a:pt x="2884307" y="74057"/>
                  <a:pt x="2885182" y="76972"/>
                  <a:pt x="2885182" y="80179"/>
                </a:cubicBezTo>
                <a:cubicBezTo>
                  <a:pt x="2885182" y="84844"/>
                  <a:pt x="2883433" y="88635"/>
                  <a:pt x="2880225" y="92133"/>
                </a:cubicBezTo>
                <a:cubicBezTo>
                  <a:pt x="2877018" y="95632"/>
                  <a:pt x="2872644" y="97382"/>
                  <a:pt x="2867396" y="97673"/>
                </a:cubicBezTo>
                <a:cubicBezTo>
                  <a:pt x="2869437" y="98548"/>
                  <a:pt x="2871478" y="99714"/>
                  <a:pt x="2872644" y="100880"/>
                </a:cubicBezTo>
                <a:cubicBezTo>
                  <a:pt x="2875268" y="103213"/>
                  <a:pt x="2878184" y="107586"/>
                  <a:pt x="2881975" y="113126"/>
                </a:cubicBezTo>
                <a:lnTo>
                  <a:pt x="2889556" y="125371"/>
                </a:lnTo>
                <a:lnTo>
                  <a:pt x="2877309" y="125371"/>
                </a:lnTo>
                <a:lnTo>
                  <a:pt x="2871770" y="115458"/>
                </a:lnTo>
                <a:cubicBezTo>
                  <a:pt x="2867396" y="107878"/>
                  <a:pt x="2863897" y="102921"/>
                  <a:pt x="2861272" y="100880"/>
                </a:cubicBezTo>
                <a:cubicBezTo>
                  <a:pt x="2859523" y="99422"/>
                  <a:pt x="2856607" y="98839"/>
                  <a:pt x="2853108" y="98839"/>
                </a:cubicBezTo>
                <a:lnTo>
                  <a:pt x="2847277" y="98839"/>
                </a:lnTo>
                <a:lnTo>
                  <a:pt x="2847277" y="125080"/>
                </a:lnTo>
                <a:lnTo>
                  <a:pt x="2837363" y="125080"/>
                </a:lnTo>
                <a:lnTo>
                  <a:pt x="2837363" y="62977"/>
                </a:lnTo>
                <a:lnTo>
                  <a:pt x="2858649" y="62977"/>
                </a:lnTo>
                <a:close/>
                <a:moveTo>
                  <a:pt x="2862730" y="45192"/>
                </a:moveTo>
                <a:cubicBezTo>
                  <a:pt x="2854566" y="45192"/>
                  <a:pt x="2846694" y="47233"/>
                  <a:pt x="2839113" y="51315"/>
                </a:cubicBezTo>
                <a:cubicBezTo>
                  <a:pt x="2831531" y="55397"/>
                  <a:pt x="2825408" y="61519"/>
                  <a:pt x="2821035" y="69100"/>
                </a:cubicBezTo>
                <a:cubicBezTo>
                  <a:pt x="2816661" y="76681"/>
                  <a:pt x="2814620" y="84844"/>
                  <a:pt x="2814620" y="93300"/>
                </a:cubicBezTo>
                <a:cubicBezTo>
                  <a:pt x="2814620" y="101755"/>
                  <a:pt x="2816661" y="109627"/>
                  <a:pt x="2821035" y="117208"/>
                </a:cubicBezTo>
                <a:cubicBezTo>
                  <a:pt x="2825408" y="124788"/>
                  <a:pt x="2831240" y="130911"/>
                  <a:pt x="2838821" y="134993"/>
                </a:cubicBezTo>
                <a:cubicBezTo>
                  <a:pt x="2846402" y="139366"/>
                  <a:pt x="2854566" y="141407"/>
                  <a:pt x="2862730" y="141407"/>
                </a:cubicBezTo>
                <a:cubicBezTo>
                  <a:pt x="2871186" y="141407"/>
                  <a:pt x="2879059" y="139366"/>
                  <a:pt x="2886640" y="134993"/>
                </a:cubicBezTo>
                <a:cubicBezTo>
                  <a:pt x="2894221" y="130619"/>
                  <a:pt x="2900344" y="124788"/>
                  <a:pt x="2904426" y="117208"/>
                </a:cubicBezTo>
                <a:cubicBezTo>
                  <a:pt x="2908800" y="109627"/>
                  <a:pt x="2910841" y="101755"/>
                  <a:pt x="2910841" y="93300"/>
                </a:cubicBezTo>
                <a:cubicBezTo>
                  <a:pt x="2910841" y="84844"/>
                  <a:pt x="2908800" y="76972"/>
                  <a:pt x="2904426" y="69100"/>
                </a:cubicBezTo>
                <a:cubicBezTo>
                  <a:pt x="2900053" y="61228"/>
                  <a:pt x="2894221" y="55397"/>
                  <a:pt x="2886349" y="51315"/>
                </a:cubicBezTo>
                <a:cubicBezTo>
                  <a:pt x="2878767" y="47233"/>
                  <a:pt x="2870895" y="45192"/>
                  <a:pt x="2862730" y="45192"/>
                </a:cubicBezTo>
                <a:close/>
                <a:moveTo>
                  <a:pt x="2862730" y="35571"/>
                </a:moveTo>
                <a:cubicBezTo>
                  <a:pt x="2872353" y="35571"/>
                  <a:pt x="2881975" y="38194"/>
                  <a:pt x="2891014" y="43151"/>
                </a:cubicBezTo>
                <a:cubicBezTo>
                  <a:pt x="2900344" y="48108"/>
                  <a:pt x="2907342" y="55105"/>
                  <a:pt x="2912591" y="64435"/>
                </a:cubicBezTo>
                <a:cubicBezTo>
                  <a:pt x="2917839" y="73765"/>
                  <a:pt x="2920463" y="83386"/>
                  <a:pt x="2920463" y="93300"/>
                </a:cubicBezTo>
                <a:cubicBezTo>
                  <a:pt x="2920463" y="103213"/>
                  <a:pt x="2917839" y="112834"/>
                  <a:pt x="2912882" y="121873"/>
                </a:cubicBezTo>
                <a:cubicBezTo>
                  <a:pt x="2907925" y="130911"/>
                  <a:pt x="2900636" y="138200"/>
                  <a:pt x="2891597" y="143156"/>
                </a:cubicBezTo>
                <a:cubicBezTo>
                  <a:pt x="2882558" y="148113"/>
                  <a:pt x="2872936" y="150737"/>
                  <a:pt x="2862730" y="150737"/>
                </a:cubicBezTo>
                <a:cubicBezTo>
                  <a:pt x="2852817" y="150737"/>
                  <a:pt x="2843195" y="148113"/>
                  <a:pt x="2833864" y="143156"/>
                </a:cubicBezTo>
                <a:cubicBezTo>
                  <a:pt x="2824825" y="138200"/>
                  <a:pt x="2817536" y="130911"/>
                  <a:pt x="2812579" y="121873"/>
                </a:cubicBezTo>
                <a:cubicBezTo>
                  <a:pt x="2807330" y="112834"/>
                  <a:pt x="2804998" y="103213"/>
                  <a:pt x="2804998" y="93300"/>
                </a:cubicBezTo>
                <a:cubicBezTo>
                  <a:pt x="2804998" y="83386"/>
                  <a:pt x="2807622" y="73473"/>
                  <a:pt x="2812870" y="64435"/>
                </a:cubicBezTo>
                <a:cubicBezTo>
                  <a:pt x="2818119" y="55105"/>
                  <a:pt x="2825408" y="48108"/>
                  <a:pt x="2834447" y="43151"/>
                </a:cubicBezTo>
                <a:cubicBezTo>
                  <a:pt x="2843486" y="38194"/>
                  <a:pt x="2853108" y="35571"/>
                  <a:pt x="2862730" y="35571"/>
                </a:cubicBezTo>
                <a:close/>
                <a:moveTo>
                  <a:pt x="2182475" y="257448"/>
                </a:moveTo>
                <a:cubicBezTo>
                  <a:pt x="2152734" y="257448"/>
                  <a:pt x="2127658" y="268819"/>
                  <a:pt x="2107247" y="291561"/>
                </a:cubicBezTo>
                <a:cubicBezTo>
                  <a:pt x="2086837" y="314303"/>
                  <a:pt x="2076631" y="346958"/>
                  <a:pt x="2076631" y="389817"/>
                </a:cubicBezTo>
                <a:cubicBezTo>
                  <a:pt x="2076631" y="432677"/>
                  <a:pt x="2086837" y="465332"/>
                  <a:pt x="2107247" y="488073"/>
                </a:cubicBezTo>
                <a:cubicBezTo>
                  <a:pt x="2127658" y="510815"/>
                  <a:pt x="2152734" y="522186"/>
                  <a:pt x="2182475" y="522186"/>
                </a:cubicBezTo>
                <a:cubicBezTo>
                  <a:pt x="2212216" y="522186"/>
                  <a:pt x="2237292" y="510815"/>
                  <a:pt x="2257411" y="488073"/>
                </a:cubicBezTo>
                <a:cubicBezTo>
                  <a:pt x="2277530" y="465332"/>
                  <a:pt x="2287735" y="432385"/>
                  <a:pt x="2287735" y="388943"/>
                </a:cubicBezTo>
                <a:cubicBezTo>
                  <a:pt x="2287735" y="346666"/>
                  <a:pt x="2277530" y="314303"/>
                  <a:pt x="2257411" y="291561"/>
                </a:cubicBezTo>
                <a:cubicBezTo>
                  <a:pt x="2237292" y="268819"/>
                  <a:pt x="2212216" y="257448"/>
                  <a:pt x="2182475" y="257448"/>
                </a:cubicBezTo>
                <a:close/>
                <a:moveTo>
                  <a:pt x="667426" y="257448"/>
                </a:moveTo>
                <a:cubicBezTo>
                  <a:pt x="637685" y="257448"/>
                  <a:pt x="612609" y="268819"/>
                  <a:pt x="592199" y="291561"/>
                </a:cubicBezTo>
                <a:cubicBezTo>
                  <a:pt x="571788" y="314303"/>
                  <a:pt x="561583" y="346958"/>
                  <a:pt x="561583" y="389817"/>
                </a:cubicBezTo>
                <a:cubicBezTo>
                  <a:pt x="561583" y="432677"/>
                  <a:pt x="571788" y="465332"/>
                  <a:pt x="592199" y="488073"/>
                </a:cubicBezTo>
                <a:cubicBezTo>
                  <a:pt x="612609" y="510815"/>
                  <a:pt x="637685" y="522186"/>
                  <a:pt x="667426" y="522186"/>
                </a:cubicBezTo>
                <a:cubicBezTo>
                  <a:pt x="697167" y="522186"/>
                  <a:pt x="722243" y="510815"/>
                  <a:pt x="742362" y="488073"/>
                </a:cubicBezTo>
                <a:cubicBezTo>
                  <a:pt x="762481" y="465332"/>
                  <a:pt x="772686" y="432385"/>
                  <a:pt x="772686" y="388943"/>
                </a:cubicBezTo>
                <a:cubicBezTo>
                  <a:pt x="772686" y="346666"/>
                  <a:pt x="762481" y="314303"/>
                  <a:pt x="742362" y="291561"/>
                </a:cubicBezTo>
                <a:cubicBezTo>
                  <a:pt x="722243" y="268819"/>
                  <a:pt x="697459" y="257448"/>
                  <a:pt x="667426" y="257448"/>
                </a:cubicBezTo>
                <a:close/>
                <a:moveTo>
                  <a:pt x="2509336" y="174062"/>
                </a:moveTo>
                <a:lnTo>
                  <a:pt x="2590687" y="393899"/>
                </a:lnTo>
                <a:lnTo>
                  <a:pt x="2614305" y="467373"/>
                </a:lnTo>
                <a:cubicBezTo>
                  <a:pt x="2620428" y="448713"/>
                  <a:pt x="2624510" y="436467"/>
                  <a:pt x="2625968" y="430344"/>
                </a:cubicBezTo>
                <a:cubicBezTo>
                  <a:pt x="2629758" y="418099"/>
                  <a:pt x="2633840" y="406145"/>
                  <a:pt x="2638214" y="393899"/>
                </a:cubicBezTo>
                <a:lnTo>
                  <a:pt x="2720440" y="174062"/>
                </a:lnTo>
                <a:lnTo>
                  <a:pt x="2837946" y="174062"/>
                </a:lnTo>
                <a:lnTo>
                  <a:pt x="2666497" y="604989"/>
                </a:lnTo>
                <a:lnTo>
                  <a:pt x="2563278" y="604989"/>
                </a:lnTo>
                <a:lnTo>
                  <a:pt x="2389205" y="174062"/>
                </a:lnTo>
                <a:lnTo>
                  <a:pt x="2509336" y="174062"/>
                </a:lnTo>
                <a:close/>
                <a:moveTo>
                  <a:pt x="140833" y="10205"/>
                </a:moveTo>
                <a:lnTo>
                  <a:pt x="281083" y="245495"/>
                </a:lnTo>
                <a:lnTo>
                  <a:pt x="418417" y="10205"/>
                </a:lnTo>
                <a:lnTo>
                  <a:pt x="557209" y="10205"/>
                </a:lnTo>
                <a:lnTo>
                  <a:pt x="338233" y="355413"/>
                </a:lnTo>
                <a:lnTo>
                  <a:pt x="338233" y="604989"/>
                </a:lnTo>
                <a:lnTo>
                  <a:pt x="218393" y="604989"/>
                </a:lnTo>
                <a:lnTo>
                  <a:pt x="218393" y="354538"/>
                </a:lnTo>
                <a:lnTo>
                  <a:pt x="0" y="9913"/>
                </a:lnTo>
                <a:lnTo>
                  <a:pt x="140833" y="9913"/>
                </a:lnTo>
                <a:close/>
                <a:moveTo>
                  <a:pt x="2181892" y="164441"/>
                </a:moveTo>
                <a:cubicBezTo>
                  <a:pt x="2247206" y="164441"/>
                  <a:pt x="2300856" y="185725"/>
                  <a:pt x="2342552" y="228001"/>
                </a:cubicBezTo>
                <a:cubicBezTo>
                  <a:pt x="2384248" y="270277"/>
                  <a:pt x="2405242" y="323924"/>
                  <a:pt x="2405242" y="388651"/>
                </a:cubicBezTo>
                <a:cubicBezTo>
                  <a:pt x="2405242" y="453961"/>
                  <a:pt x="2384248" y="507900"/>
                  <a:pt x="2341969" y="550759"/>
                </a:cubicBezTo>
                <a:cubicBezTo>
                  <a:pt x="2299690" y="593619"/>
                  <a:pt x="2246623" y="615194"/>
                  <a:pt x="2182766" y="615194"/>
                </a:cubicBezTo>
                <a:cubicBezTo>
                  <a:pt x="2143112" y="615194"/>
                  <a:pt x="2105498" y="606156"/>
                  <a:pt x="2069633" y="588370"/>
                </a:cubicBezTo>
                <a:cubicBezTo>
                  <a:pt x="2033769" y="570585"/>
                  <a:pt x="2006361" y="544345"/>
                  <a:pt x="1987699" y="509941"/>
                </a:cubicBezTo>
                <a:cubicBezTo>
                  <a:pt x="1969038" y="475536"/>
                  <a:pt x="1959708" y="433552"/>
                  <a:pt x="1959708" y="383986"/>
                </a:cubicBezTo>
                <a:cubicBezTo>
                  <a:pt x="1959708" y="346083"/>
                  <a:pt x="1969038" y="309346"/>
                  <a:pt x="1987699" y="274068"/>
                </a:cubicBezTo>
                <a:cubicBezTo>
                  <a:pt x="2006361" y="238789"/>
                  <a:pt x="2032894" y="211673"/>
                  <a:pt x="2067301" y="193014"/>
                </a:cubicBezTo>
                <a:cubicBezTo>
                  <a:pt x="2101416" y="173770"/>
                  <a:pt x="2139613" y="164441"/>
                  <a:pt x="2181892" y="164441"/>
                </a:cubicBezTo>
                <a:close/>
                <a:moveTo>
                  <a:pt x="667135" y="164441"/>
                </a:moveTo>
                <a:cubicBezTo>
                  <a:pt x="732449" y="164441"/>
                  <a:pt x="786099" y="185725"/>
                  <a:pt x="827795" y="228001"/>
                </a:cubicBezTo>
                <a:cubicBezTo>
                  <a:pt x="869491" y="270277"/>
                  <a:pt x="890485" y="323924"/>
                  <a:pt x="890485" y="388651"/>
                </a:cubicBezTo>
                <a:cubicBezTo>
                  <a:pt x="890485" y="453961"/>
                  <a:pt x="869491" y="507900"/>
                  <a:pt x="827212" y="550759"/>
                </a:cubicBezTo>
                <a:cubicBezTo>
                  <a:pt x="784933" y="593619"/>
                  <a:pt x="732157" y="615194"/>
                  <a:pt x="668009" y="615194"/>
                </a:cubicBezTo>
                <a:cubicBezTo>
                  <a:pt x="628354" y="615194"/>
                  <a:pt x="590741" y="606156"/>
                  <a:pt x="554876" y="588370"/>
                </a:cubicBezTo>
                <a:cubicBezTo>
                  <a:pt x="519012" y="570585"/>
                  <a:pt x="491604" y="544345"/>
                  <a:pt x="472942" y="509941"/>
                </a:cubicBezTo>
                <a:cubicBezTo>
                  <a:pt x="454281" y="475536"/>
                  <a:pt x="444951" y="433552"/>
                  <a:pt x="444951" y="383986"/>
                </a:cubicBezTo>
                <a:cubicBezTo>
                  <a:pt x="444951" y="346083"/>
                  <a:pt x="454281" y="309346"/>
                  <a:pt x="472942" y="274068"/>
                </a:cubicBezTo>
                <a:cubicBezTo>
                  <a:pt x="491604" y="238789"/>
                  <a:pt x="518137" y="211673"/>
                  <a:pt x="552544" y="193014"/>
                </a:cubicBezTo>
                <a:cubicBezTo>
                  <a:pt x="586659" y="173770"/>
                  <a:pt x="624856" y="164441"/>
                  <a:pt x="667135" y="164441"/>
                </a:cubicBezTo>
                <a:close/>
                <a:moveTo>
                  <a:pt x="1041523" y="174062"/>
                </a:moveTo>
                <a:lnTo>
                  <a:pt x="1041523" y="372032"/>
                </a:lnTo>
                <a:cubicBezTo>
                  <a:pt x="1041523" y="432677"/>
                  <a:pt x="1043564" y="469705"/>
                  <a:pt x="1047938" y="483408"/>
                </a:cubicBezTo>
                <a:cubicBezTo>
                  <a:pt x="1052020" y="497112"/>
                  <a:pt x="1059893" y="507900"/>
                  <a:pt x="1070973" y="515772"/>
                </a:cubicBezTo>
                <a:cubicBezTo>
                  <a:pt x="1082053" y="523644"/>
                  <a:pt x="1096048" y="527726"/>
                  <a:pt x="1113252" y="527726"/>
                </a:cubicBezTo>
                <a:cubicBezTo>
                  <a:pt x="1132788" y="527726"/>
                  <a:pt x="1150282" y="522478"/>
                  <a:pt x="1165736" y="511690"/>
                </a:cubicBezTo>
                <a:cubicBezTo>
                  <a:pt x="1181190" y="500902"/>
                  <a:pt x="1191687" y="487782"/>
                  <a:pt x="1197518" y="472038"/>
                </a:cubicBezTo>
                <a:cubicBezTo>
                  <a:pt x="1203350" y="456293"/>
                  <a:pt x="1205974" y="417516"/>
                  <a:pt x="1205974" y="355705"/>
                </a:cubicBezTo>
                <a:lnTo>
                  <a:pt x="1205974" y="173770"/>
                </a:lnTo>
                <a:lnTo>
                  <a:pt x="1320273" y="173770"/>
                </a:lnTo>
                <a:lnTo>
                  <a:pt x="1320273" y="604698"/>
                </a:lnTo>
                <a:lnTo>
                  <a:pt x="1214138" y="604698"/>
                </a:lnTo>
                <a:lnTo>
                  <a:pt x="1214138" y="540263"/>
                </a:lnTo>
                <a:cubicBezTo>
                  <a:pt x="1198393" y="563296"/>
                  <a:pt x="1177691" y="581373"/>
                  <a:pt x="1152032" y="594493"/>
                </a:cubicBezTo>
                <a:cubicBezTo>
                  <a:pt x="1126373" y="607614"/>
                  <a:pt x="1099256" y="614319"/>
                  <a:pt x="1070973" y="614319"/>
                </a:cubicBezTo>
                <a:cubicBezTo>
                  <a:pt x="1042106" y="614319"/>
                  <a:pt x="1015864" y="607905"/>
                  <a:pt x="992829" y="595368"/>
                </a:cubicBezTo>
                <a:cubicBezTo>
                  <a:pt x="969794" y="582539"/>
                  <a:pt x="953174" y="564754"/>
                  <a:pt x="942969" y="541721"/>
                </a:cubicBezTo>
                <a:cubicBezTo>
                  <a:pt x="932764" y="518687"/>
                  <a:pt x="927515" y="486907"/>
                  <a:pt x="927515" y="446380"/>
                </a:cubicBezTo>
                <a:lnTo>
                  <a:pt x="927515" y="173770"/>
                </a:lnTo>
                <a:lnTo>
                  <a:pt x="1041523" y="173770"/>
                </a:lnTo>
                <a:close/>
                <a:moveTo>
                  <a:pt x="1664338" y="0"/>
                </a:moveTo>
                <a:cubicBezTo>
                  <a:pt x="1738399" y="0"/>
                  <a:pt x="1796132" y="15453"/>
                  <a:pt x="1837828" y="46358"/>
                </a:cubicBezTo>
                <a:cubicBezTo>
                  <a:pt x="1879523" y="77264"/>
                  <a:pt x="1906057" y="120123"/>
                  <a:pt x="1918012" y="174937"/>
                </a:cubicBezTo>
                <a:lnTo>
                  <a:pt x="1798464" y="197387"/>
                </a:lnTo>
                <a:cubicBezTo>
                  <a:pt x="1790008" y="168231"/>
                  <a:pt x="1774263" y="145197"/>
                  <a:pt x="1751228" y="128287"/>
                </a:cubicBezTo>
                <a:cubicBezTo>
                  <a:pt x="1728193" y="111376"/>
                  <a:pt x="1699035" y="102921"/>
                  <a:pt x="1664338" y="102921"/>
                </a:cubicBezTo>
                <a:cubicBezTo>
                  <a:pt x="1611853" y="102921"/>
                  <a:pt x="1569866" y="119540"/>
                  <a:pt x="1538958" y="152778"/>
                </a:cubicBezTo>
                <a:cubicBezTo>
                  <a:pt x="1508051" y="186016"/>
                  <a:pt x="1492305" y="235290"/>
                  <a:pt x="1492305" y="300891"/>
                </a:cubicBezTo>
                <a:cubicBezTo>
                  <a:pt x="1492305" y="371449"/>
                  <a:pt x="1508051" y="424513"/>
                  <a:pt x="1539541" y="459792"/>
                </a:cubicBezTo>
                <a:cubicBezTo>
                  <a:pt x="1571032" y="495071"/>
                  <a:pt x="1612145" y="512856"/>
                  <a:pt x="1663171" y="512856"/>
                </a:cubicBezTo>
                <a:cubicBezTo>
                  <a:pt x="1688247" y="512856"/>
                  <a:pt x="1713614" y="507900"/>
                  <a:pt x="1738982" y="497986"/>
                </a:cubicBezTo>
                <a:cubicBezTo>
                  <a:pt x="1764349" y="488073"/>
                  <a:pt x="1785926" y="476119"/>
                  <a:pt x="1804296" y="462124"/>
                </a:cubicBezTo>
                <a:lnTo>
                  <a:pt x="1804296" y="386610"/>
                </a:lnTo>
                <a:lnTo>
                  <a:pt x="1666379" y="386610"/>
                </a:lnTo>
                <a:lnTo>
                  <a:pt x="1666379" y="286313"/>
                </a:lnTo>
                <a:lnTo>
                  <a:pt x="1925885" y="286313"/>
                </a:lnTo>
                <a:lnTo>
                  <a:pt x="1925885" y="523352"/>
                </a:lnTo>
                <a:cubicBezTo>
                  <a:pt x="1900809" y="547844"/>
                  <a:pt x="1864070" y="569127"/>
                  <a:pt x="1816251" y="587787"/>
                </a:cubicBezTo>
                <a:cubicBezTo>
                  <a:pt x="1768432" y="606447"/>
                  <a:pt x="1720029" y="615486"/>
                  <a:pt x="1671044" y="615486"/>
                </a:cubicBezTo>
                <a:cubicBezTo>
                  <a:pt x="1608646" y="615486"/>
                  <a:pt x="1554412" y="602365"/>
                  <a:pt x="1508051" y="576417"/>
                </a:cubicBezTo>
                <a:cubicBezTo>
                  <a:pt x="1461690" y="550176"/>
                  <a:pt x="1426992" y="513148"/>
                  <a:pt x="1403665" y="464457"/>
                </a:cubicBezTo>
                <a:cubicBezTo>
                  <a:pt x="1380339" y="415766"/>
                  <a:pt x="1368676" y="362994"/>
                  <a:pt x="1368676" y="305848"/>
                </a:cubicBezTo>
                <a:cubicBezTo>
                  <a:pt x="1368676" y="244037"/>
                  <a:pt x="1381797" y="188932"/>
                  <a:pt x="1407747" y="140824"/>
                </a:cubicBezTo>
                <a:cubicBezTo>
                  <a:pt x="1433698" y="92716"/>
                  <a:pt x="1471895" y="55688"/>
                  <a:pt x="1522047" y="30031"/>
                </a:cubicBezTo>
                <a:cubicBezTo>
                  <a:pt x="1559952" y="9913"/>
                  <a:pt x="1607480" y="0"/>
                  <a:pt x="1664338" y="0"/>
                </a:cubicBezTo>
                <a:close/>
              </a:path>
            </a:pathLst>
          </a:custGeom>
          <a:solidFill>
            <a:srgbClr val="FF412C"/>
          </a:solidFill>
          <a:ln w="2914" cap="flat">
            <a:noFill/>
            <a:prstDash val="solid"/>
            <a:miter/>
          </a:ln>
        </p:spPr>
        <p:txBody>
          <a:bodyPr rtlCol="0" anchor="ctr"/>
          <a:lstStyle/>
          <a:p>
            <a:endParaRPr lang="de-DE"/>
          </a:p>
        </p:txBody>
      </p:sp>
      <p:sp>
        <p:nvSpPr>
          <p:cNvPr id="5" name="Bildplatzhalter 6">
            <a:extLst>
              <a:ext uri="{FF2B5EF4-FFF2-40B4-BE49-F238E27FC236}">
                <a16:creationId xmlns:a16="http://schemas.microsoft.com/office/drawing/2014/main" id="{C3D46B70-6B43-61D6-B4C3-8DCF37D6A6FE}"/>
              </a:ext>
            </a:extLst>
          </p:cNvPr>
          <p:cNvSpPr>
            <a:spLocks noGrp="1"/>
          </p:cNvSpPr>
          <p:nvPr>
            <p:ph type="pic" sz="quarter" idx="10"/>
          </p:nvPr>
        </p:nvSpPr>
        <p:spPr>
          <a:xfrm>
            <a:off x="-1" y="0"/>
            <a:ext cx="10344472" cy="6858000"/>
          </a:xfrm>
          <a:custGeom>
            <a:avLst/>
            <a:gdLst>
              <a:gd name="connsiteX0" fmla="*/ 9222182 w 10344472"/>
              <a:gd name="connsiteY0" fmla="*/ 4610259 h 6858000"/>
              <a:gd name="connsiteX1" fmla="*/ 9071727 w 10344472"/>
              <a:gd name="connsiteY1" fmla="*/ 4695394 h 6858000"/>
              <a:gd name="connsiteX2" fmla="*/ 9153369 w 10344472"/>
              <a:gd name="connsiteY2" fmla="*/ 4767993 h 6858000"/>
              <a:gd name="connsiteX3" fmla="*/ 9281664 w 10344472"/>
              <a:gd name="connsiteY3" fmla="*/ 4663906 h 6858000"/>
              <a:gd name="connsiteX4" fmla="*/ 9281664 w 10344472"/>
              <a:gd name="connsiteY4" fmla="*/ 4610259 h 6858000"/>
              <a:gd name="connsiteX5" fmla="*/ 3325272 w 10344472"/>
              <a:gd name="connsiteY5" fmla="*/ 4610259 h 6858000"/>
              <a:gd name="connsiteX6" fmla="*/ 3384755 w 10344472"/>
              <a:gd name="connsiteY6" fmla="*/ 4610259 h 6858000"/>
              <a:gd name="connsiteX7" fmla="*/ 3384755 w 10344472"/>
              <a:gd name="connsiteY7" fmla="*/ 4663906 h 6858000"/>
              <a:gd name="connsiteX8" fmla="*/ 3256460 w 10344472"/>
              <a:gd name="connsiteY8" fmla="*/ 4767993 h 6858000"/>
              <a:gd name="connsiteX9" fmla="*/ 3174817 w 10344472"/>
              <a:gd name="connsiteY9" fmla="*/ 4695394 h 6858000"/>
              <a:gd name="connsiteX10" fmla="*/ 3325272 w 10344472"/>
              <a:gd name="connsiteY10" fmla="*/ 4610259 h 6858000"/>
              <a:gd name="connsiteX11" fmla="*/ 4369419 w 10344472"/>
              <a:gd name="connsiteY11" fmla="*/ 4467101 h 6858000"/>
              <a:gd name="connsiteX12" fmla="*/ 4444355 w 10344472"/>
              <a:gd name="connsiteY12" fmla="*/ 4501214 h 6858000"/>
              <a:gd name="connsiteX13" fmla="*/ 4474679 w 10344472"/>
              <a:gd name="connsiteY13" fmla="*/ 4598596 h 6858000"/>
              <a:gd name="connsiteX14" fmla="*/ 4444355 w 10344472"/>
              <a:gd name="connsiteY14" fmla="*/ 4697726 h 6858000"/>
              <a:gd name="connsiteX15" fmla="*/ 4369419 w 10344472"/>
              <a:gd name="connsiteY15" fmla="*/ 4731839 h 6858000"/>
              <a:gd name="connsiteX16" fmla="*/ 4294192 w 10344472"/>
              <a:gd name="connsiteY16" fmla="*/ 4697726 h 6858000"/>
              <a:gd name="connsiteX17" fmla="*/ 4263576 w 10344472"/>
              <a:gd name="connsiteY17" fmla="*/ 4599470 h 6858000"/>
              <a:gd name="connsiteX18" fmla="*/ 4294192 w 10344472"/>
              <a:gd name="connsiteY18" fmla="*/ 4501214 h 6858000"/>
              <a:gd name="connsiteX19" fmla="*/ 4369419 w 10344472"/>
              <a:gd name="connsiteY19" fmla="*/ 4467101 h 6858000"/>
              <a:gd name="connsiteX20" fmla="*/ 8728245 w 10344472"/>
              <a:gd name="connsiteY20" fmla="*/ 4432406 h 6858000"/>
              <a:gd name="connsiteX21" fmla="*/ 8587121 w 10344472"/>
              <a:gd name="connsiteY21" fmla="*/ 4595972 h 6858000"/>
              <a:gd name="connsiteX22" fmla="*/ 8587121 w 10344472"/>
              <a:gd name="connsiteY22" fmla="*/ 4602678 h 6858000"/>
              <a:gd name="connsiteX23" fmla="*/ 8729120 w 10344472"/>
              <a:gd name="connsiteY23" fmla="*/ 4765369 h 6858000"/>
              <a:gd name="connsiteX24" fmla="*/ 8861206 w 10344472"/>
              <a:gd name="connsiteY24" fmla="*/ 4602678 h 6858000"/>
              <a:gd name="connsiteX25" fmla="*/ 8861206 w 10344472"/>
              <a:gd name="connsiteY25" fmla="*/ 4595972 h 6858000"/>
              <a:gd name="connsiteX26" fmla="*/ 8728245 w 10344472"/>
              <a:gd name="connsiteY26" fmla="*/ 4432406 h 6858000"/>
              <a:gd name="connsiteX27" fmla="*/ 7450543 w 10344472"/>
              <a:gd name="connsiteY27" fmla="*/ 4432406 h 6858000"/>
              <a:gd name="connsiteX28" fmla="*/ 7309419 w 10344472"/>
              <a:gd name="connsiteY28" fmla="*/ 4595972 h 6858000"/>
              <a:gd name="connsiteX29" fmla="*/ 7309419 w 10344472"/>
              <a:gd name="connsiteY29" fmla="*/ 4602678 h 6858000"/>
              <a:gd name="connsiteX30" fmla="*/ 7450543 w 10344472"/>
              <a:gd name="connsiteY30" fmla="*/ 4765369 h 6858000"/>
              <a:gd name="connsiteX31" fmla="*/ 7591668 w 10344472"/>
              <a:gd name="connsiteY31" fmla="*/ 4602678 h 6858000"/>
              <a:gd name="connsiteX32" fmla="*/ 7591668 w 10344472"/>
              <a:gd name="connsiteY32" fmla="*/ 4596847 h 6858000"/>
              <a:gd name="connsiteX33" fmla="*/ 7450543 w 10344472"/>
              <a:gd name="connsiteY33" fmla="*/ 4432406 h 6858000"/>
              <a:gd name="connsiteX34" fmla="*/ 4629508 w 10344472"/>
              <a:gd name="connsiteY34" fmla="*/ 4383423 h 6858000"/>
              <a:gd name="connsiteX35" fmla="*/ 4629508 w 10344472"/>
              <a:gd name="connsiteY35" fmla="*/ 4656033 h 6858000"/>
              <a:gd name="connsiteX36" fmla="*/ 4644962 w 10344472"/>
              <a:gd name="connsiteY36" fmla="*/ 4751374 h 6858000"/>
              <a:gd name="connsiteX37" fmla="*/ 4694822 w 10344472"/>
              <a:gd name="connsiteY37" fmla="*/ 4805021 h 6858000"/>
              <a:gd name="connsiteX38" fmla="*/ 4772966 w 10344472"/>
              <a:gd name="connsiteY38" fmla="*/ 4823972 h 6858000"/>
              <a:gd name="connsiteX39" fmla="*/ 4854025 w 10344472"/>
              <a:gd name="connsiteY39" fmla="*/ 4804146 h 6858000"/>
              <a:gd name="connsiteX40" fmla="*/ 4916131 w 10344472"/>
              <a:gd name="connsiteY40" fmla="*/ 4749916 h 6858000"/>
              <a:gd name="connsiteX41" fmla="*/ 4916131 w 10344472"/>
              <a:gd name="connsiteY41" fmla="*/ 4814351 h 6858000"/>
              <a:gd name="connsiteX42" fmla="*/ 5022266 w 10344472"/>
              <a:gd name="connsiteY42" fmla="*/ 4814351 h 6858000"/>
              <a:gd name="connsiteX43" fmla="*/ 5022266 w 10344472"/>
              <a:gd name="connsiteY43" fmla="*/ 4383423 h 6858000"/>
              <a:gd name="connsiteX44" fmla="*/ 4907967 w 10344472"/>
              <a:gd name="connsiteY44" fmla="*/ 4383423 h 6858000"/>
              <a:gd name="connsiteX45" fmla="*/ 4907967 w 10344472"/>
              <a:gd name="connsiteY45" fmla="*/ 4565358 h 6858000"/>
              <a:gd name="connsiteX46" fmla="*/ 4899511 w 10344472"/>
              <a:gd name="connsiteY46" fmla="*/ 4681691 h 6858000"/>
              <a:gd name="connsiteX47" fmla="*/ 4867729 w 10344472"/>
              <a:gd name="connsiteY47" fmla="*/ 4721343 h 6858000"/>
              <a:gd name="connsiteX48" fmla="*/ 4815245 w 10344472"/>
              <a:gd name="connsiteY48" fmla="*/ 4737379 h 6858000"/>
              <a:gd name="connsiteX49" fmla="*/ 4772966 w 10344472"/>
              <a:gd name="connsiteY49" fmla="*/ 4725425 h 6858000"/>
              <a:gd name="connsiteX50" fmla="*/ 4749931 w 10344472"/>
              <a:gd name="connsiteY50" fmla="*/ 4693061 h 6858000"/>
              <a:gd name="connsiteX51" fmla="*/ 4743516 w 10344472"/>
              <a:gd name="connsiteY51" fmla="*/ 4581685 h 6858000"/>
              <a:gd name="connsiteX52" fmla="*/ 4743516 w 10344472"/>
              <a:gd name="connsiteY52" fmla="*/ 4383715 h 6858000"/>
              <a:gd name="connsiteX53" fmla="*/ 4743516 w 10344472"/>
              <a:gd name="connsiteY53" fmla="*/ 4383423 h 6858000"/>
              <a:gd name="connsiteX54" fmla="*/ 9917600 w 10344472"/>
              <a:gd name="connsiteY54" fmla="*/ 4382841 h 6858000"/>
              <a:gd name="connsiteX55" fmla="*/ 9991078 w 10344472"/>
              <a:gd name="connsiteY55" fmla="*/ 4382841 h 6858000"/>
              <a:gd name="connsiteX56" fmla="*/ 10123164 w 10344472"/>
              <a:gd name="connsiteY56" fmla="*/ 4692479 h 6858000"/>
              <a:gd name="connsiteX57" fmla="*/ 10243003 w 10344472"/>
              <a:gd name="connsiteY57" fmla="*/ 4382841 h 6858000"/>
              <a:gd name="connsiteX58" fmla="*/ 10313274 w 10344472"/>
              <a:gd name="connsiteY58" fmla="*/ 4382841 h 6858000"/>
              <a:gd name="connsiteX59" fmla="*/ 10074469 w 10344472"/>
              <a:gd name="connsiteY59" fmla="*/ 4965089 h 6858000"/>
              <a:gd name="connsiteX60" fmla="*/ 10005074 w 10344472"/>
              <a:gd name="connsiteY60" fmla="*/ 4965089 h 6858000"/>
              <a:gd name="connsiteX61" fmla="*/ 10087007 w 10344472"/>
              <a:gd name="connsiteY61" fmla="*/ 4770326 h 6858000"/>
              <a:gd name="connsiteX62" fmla="*/ 7966639 w 10344472"/>
              <a:gd name="connsiteY62" fmla="*/ 4375843 h 6858000"/>
              <a:gd name="connsiteX63" fmla="*/ 8092894 w 10344472"/>
              <a:gd name="connsiteY63" fmla="*/ 4456897 h 6858000"/>
              <a:gd name="connsiteX64" fmla="*/ 8240724 w 10344472"/>
              <a:gd name="connsiteY64" fmla="*/ 4375843 h 6858000"/>
              <a:gd name="connsiteX65" fmla="*/ 8386223 w 10344472"/>
              <a:gd name="connsiteY65" fmla="*/ 4547573 h 6858000"/>
              <a:gd name="connsiteX66" fmla="*/ 8386223 w 10344472"/>
              <a:gd name="connsiteY66" fmla="*/ 4815226 h 6858000"/>
              <a:gd name="connsiteX67" fmla="*/ 8317702 w 10344472"/>
              <a:gd name="connsiteY67" fmla="*/ 4815226 h 6858000"/>
              <a:gd name="connsiteX68" fmla="*/ 8317702 w 10344472"/>
              <a:gd name="connsiteY68" fmla="*/ 4542616 h 6858000"/>
              <a:gd name="connsiteX69" fmla="*/ 8226145 w 10344472"/>
              <a:gd name="connsiteY69" fmla="*/ 4435322 h 6858000"/>
              <a:gd name="connsiteX70" fmla="*/ 8112138 w 10344472"/>
              <a:gd name="connsiteY70" fmla="*/ 4551071 h 6858000"/>
              <a:gd name="connsiteX71" fmla="*/ 8112138 w 10344472"/>
              <a:gd name="connsiteY71" fmla="*/ 4815226 h 6858000"/>
              <a:gd name="connsiteX72" fmla="*/ 8043617 w 10344472"/>
              <a:gd name="connsiteY72" fmla="*/ 4815226 h 6858000"/>
              <a:gd name="connsiteX73" fmla="*/ 8043617 w 10344472"/>
              <a:gd name="connsiteY73" fmla="*/ 4542616 h 6858000"/>
              <a:gd name="connsiteX74" fmla="*/ 7952060 w 10344472"/>
              <a:gd name="connsiteY74" fmla="*/ 4435322 h 6858000"/>
              <a:gd name="connsiteX75" fmla="*/ 7838053 w 10344472"/>
              <a:gd name="connsiteY75" fmla="*/ 4551071 h 6858000"/>
              <a:gd name="connsiteX76" fmla="*/ 7838053 w 10344472"/>
              <a:gd name="connsiteY76" fmla="*/ 4815226 h 6858000"/>
              <a:gd name="connsiteX77" fmla="*/ 7769532 w 10344472"/>
              <a:gd name="connsiteY77" fmla="*/ 4815226 h 6858000"/>
              <a:gd name="connsiteX78" fmla="*/ 7769532 w 10344472"/>
              <a:gd name="connsiteY78" fmla="*/ 4383132 h 6858000"/>
              <a:gd name="connsiteX79" fmla="*/ 7837761 w 10344472"/>
              <a:gd name="connsiteY79" fmla="*/ 4383132 h 6858000"/>
              <a:gd name="connsiteX80" fmla="*/ 7837761 w 10344472"/>
              <a:gd name="connsiteY80" fmla="*/ 4449316 h 6858000"/>
              <a:gd name="connsiteX81" fmla="*/ 7966639 w 10344472"/>
              <a:gd name="connsiteY81" fmla="*/ 4375843 h 6858000"/>
              <a:gd name="connsiteX82" fmla="*/ 9692209 w 10344472"/>
              <a:gd name="connsiteY82" fmla="*/ 4375552 h 6858000"/>
              <a:gd name="connsiteX83" fmla="*/ 9844121 w 10344472"/>
              <a:gd name="connsiteY83" fmla="*/ 4549906 h 6858000"/>
              <a:gd name="connsiteX84" fmla="*/ 9844121 w 10344472"/>
              <a:gd name="connsiteY84" fmla="*/ 4814935 h 6858000"/>
              <a:gd name="connsiteX85" fmla="*/ 9775600 w 10344472"/>
              <a:gd name="connsiteY85" fmla="*/ 4814935 h 6858000"/>
              <a:gd name="connsiteX86" fmla="*/ 9775600 w 10344472"/>
              <a:gd name="connsiteY86" fmla="*/ 4544949 h 6858000"/>
              <a:gd name="connsiteX87" fmla="*/ 9674131 w 10344472"/>
              <a:gd name="connsiteY87" fmla="*/ 4435030 h 6858000"/>
              <a:gd name="connsiteX88" fmla="*/ 9553416 w 10344472"/>
              <a:gd name="connsiteY88" fmla="*/ 4553113 h 6858000"/>
              <a:gd name="connsiteX89" fmla="*/ 9553416 w 10344472"/>
              <a:gd name="connsiteY89" fmla="*/ 4814935 h 6858000"/>
              <a:gd name="connsiteX90" fmla="*/ 9484895 w 10344472"/>
              <a:gd name="connsiteY90" fmla="*/ 4814935 h 6858000"/>
              <a:gd name="connsiteX91" fmla="*/ 9484895 w 10344472"/>
              <a:gd name="connsiteY91" fmla="*/ 4383133 h 6858000"/>
              <a:gd name="connsiteX92" fmla="*/ 9553416 w 10344472"/>
              <a:gd name="connsiteY92" fmla="*/ 4383133 h 6858000"/>
              <a:gd name="connsiteX93" fmla="*/ 9553416 w 10344472"/>
              <a:gd name="connsiteY93" fmla="*/ 4451649 h 6858000"/>
              <a:gd name="connsiteX94" fmla="*/ 9692209 w 10344472"/>
              <a:gd name="connsiteY94" fmla="*/ 4375552 h 6858000"/>
              <a:gd name="connsiteX95" fmla="*/ 9192440 w 10344472"/>
              <a:gd name="connsiteY95" fmla="*/ 4375552 h 6858000"/>
              <a:gd name="connsiteX96" fmla="*/ 9350185 w 10344472"/>
              <a:gd name="connsiteY96" fmla="*/ 4530079 h 6858000"/>
              <a:gd name="connsiteX97" fmla="*/ 9350185 w 10344472"/>
              <a:gd name="connsiteY97" fmla="*/ 4814935 h 6858000"/>
              <a:gd name="connsiteX98" fmla="*/ 9281664 w 10344472"/>
              <a:gd name="connsiteY98" fmla="*/ 4814935 h 6858000"/>
              <a:gd name="connsiteX99" fmla="*/ 9281664 w 10344472"/>
              <a:gd name="connsiteY99" fmla="*/ 4760413 h 6858000"/>
              <a:gd name="connsiteX100" fmla="*/ 9146954 w 10344472"/>
              <a:gd name="connsiteY100" fmla="*/ 4822224 h 6858000"/>
              <a:gd name="connsiteX101" fmla="*/ 9003497 w 10344472"/>
              <a:gd name="connsiteY101" fmla="*/ 4695394 h 6858000"/>
              <a:gd name="connsiteX102" fmla="*/ 9219849 w 10344472"/>
              <a:gd name="connsiteY102" fmla="*/ 4561568 h 6858000"/>
              <a:gd name="connsiteX103" fmla="*/ 9281664 w 10344472"/>
              <a:gd name="connsiteY103" fmla="*/ 4561568 h 6858000"/>
              <a:gd name="connsiteX104" fmla="*/ 9281664 w 10344472"/>
              <a:gd name="connsiteY104" fmla="*/ 4530079 h 6858000"/>
              <a:gd name="connsiteX105" fmla="*/ 9189234 w 10344472"/>
              <a:gd name="connsiteY105" fmla="*/ 4432698 h 6858000"/>
              <a:gd name="connsiteX106" fmla="*/ 9090096 w 10344472"/>
              <a:gd name="connsiteY106" fmla="*/ 4510253 h 6858000"/>
              <a:gd name="connsiteX107" fmla="*/ 9021575 w 10344472"/>
              <a:gd name="connsiteY107" fmla="*/ 4510253 h 6858000"/>
              <a:gd name="connsiteX108" fmla="*/ 9192440 w 10344472"/>
              <a:gd name="connsiteY108" fmla="*/ 4375552 h 6858000"/>
              <a:gd name="connsiteX109" fmla="*/ 8735535 w 10344472"/>
              <a:gd name="connsiteY109" fmla="*/ 4375552 h 6858000"/>
              <a:gd name="connsiteX110" fmla="*/ 8932060 w 10344472"/>
              <a:gd name="connsiteY110" fmla="*/ 4592765 h 6858000"/>
              <a:gd name="connsiteX111" fmla="*/ 8932060 w 10344472"/>
              <a:gd name="connsiteY111" fmla="*/ 4599471 h 6858000"/>
              <a:gd name="connsiteX112" fmla="*/ 8735535 w 10344472"/>
              <a:gd name="connsiteY112" fmla="*/ 4822515 h 6858000"/>
              <a:gd name="connsiteX113" fmla="*/ 8589453 w 10344472"/>
              <a:gd name="connsiteY113" fmla="*/ 4744085 h 6858000"/>
              <a:gd name="connsiteX114" fmla="*/ 8589453 w 10344472"/>
              <a:gd name="connsiteY114" fmla="*/ 4965380 h 6858000"/>
              <a:gd name="connsiteX115" fmla="*/ 8520932 w 10344472"/>
              <a:gd name="connsiteY115" fmla="*/ 4965380 h 6858000"/>
              <a:gd name="connsiteX116" fmla="*/ 8520932 w 10344472"/>
              <a:gd name="connsiteY116" fmla="*/ 4383133 h 6858000"/>
              <a:gd name="connsiteX117" fmla="*/ 8589453 w 10344472"/>
              <a:gd name="connsiteY117" fmla="*/ 4383133 h 6858000"/>
              <a:gd name="connsiteX118" fmla="*/ 8589453 w 10344472"/>
              <a:gd name="connsiteY118" fmla="*/ 4455731 h 6858000"/>
              <a:gd name="connsiteX119" fmla="*/ 8735535 w 10344472"/>
              <a:gd name="connsiteY119" fmla="*/ 4375552 h 6858000"/>
              <a:gd name="connsiteX120" fmla="*/ 7450543 w 10344472"/>
              <a:gd name="connsiteY120" fmla="*/ 4375552 h 6858000"/>
              <a:gd name="connsiteX121" fmla="*/ 7662813 w 10344472"/>
              <a:gd name="connsiteY121" fmla="*/ 4595389 h 6858000"/>
              <a:gd name="connsiteX122" fmla="*/ 7662813 w 10344472"/>
              <a:gd name="connsiteY122" fmla="*/ 4602095 h 6858000"/>
              <a:gd name="connsiteX123" fmla="*/ 7449668 w 10344472"/>
              <a:gd name="connsiteY123" fmla="*/ 4822515 h 6858000"/>
              <a:gd name="connsiteX124" fmla="*/ 7238273 w 10344472"/>
              <a:gd name="connsiteY124" fmla="*/ 4602678 h 6858000"/>
              <a:gd name="connsiteX125" fmla="*/ 7238273 w 10344472"/>
              <a:gd name="connsiteY125" fmla="*/ 4595972 h 6858000"/>
              <a:gd name="connsiteX126" fmla="*/ 7450543 w 10344472"/>
              <a:gd name="connsiteY126" fmla="*/ 4375552 h 6858000"/>
              <a:gd name="connsiteX127" fmla="*/ 6977308 w 10344472"/>
              <a:gd name="connsiteY127" fmla="*/ 4375552 h 6858000"/>
              <a:gd name="connsiteX128" fmla="*/ 7164794 w 10344472"/>
              <a:gd name="connsiteY128" fmla="*/ 4526581 h 6858000"/>
              <a:gd name="connsiteX129" fmla="*/ 7097148 w 10344472"/>
              <a:gd name="connsiteY129" fmla="*/ 4526581 h 6858000"/>
              <a:gd name="connsiteX130" fmla="*/ 6977308 w 10344472"/>
              <a:gd name="connsiteY130" fmla="*/ 4432406 h 6858000"/>
              <a:gd name="connsiteX131" fmla="*/ 6838517 w 10344472"/>
              <a:gd name="connsiteY131" fmla="*/ 4596847 h 6858000"/>
              <a:gd name="connsiteX132" fmla="*/ 6838517 w 10344472"/>
              <a:gd name="connsiteY132" fmla="*/ 4603553 h 6858000"/>
              <a:gd name="connsiteX133" fmla="*/ 6979641 w 10344472"/>
              <a:gd name="connsiteY133" fmla="*/ 4765369 h 6858000"/>
              <a:gd name="connsiteX134" fmla="*/ 7103563 w 10344472"/>
              <a:gd name="connsiteY134" fmla="*/ 4659532 h 6858000"/>
              <a:gd name="connsiteX135" fmla="*/ 7167127 w 10344472"/>
              <a:gd name="connsiteY135" fmla="*/ 4659532 h 6858000"/>
              <a:gd name="connsiteX136" fmla="*/ 6978766 w 10344472"/>
              <a:gd name="connsiteY136" fmla="*/ 4822224 h 6858000"/>
              <a:gd name="connsiteX137" fmla="*/ 6767371 w 10344472"/>
              <a:gd name="connsiteY137" fmla="*/ 4603553 h 6858000"/>
              <a:gd name="connsiteX138" fmla="*/ 6767371 w 10344472"/>
              <a:gd name="connsiteY138" fmla="*/ 4596847 h 6858000"/>
              <a:gd name="connsiteX139" fmla="*/ 6977308 w 10344472"/>
              <a:gd name="connsiteY139" fmla="*/ 4375552 h 6858000"/>
              <a:gd name="connsiteX140" fmla="*/ 3295240 w 10344472"/>
              <a:gd name="connsiteY140" fmla="*/ 4375552 h 6858000"/>
              <a:gd name="connsiteX141" fmla="*/ 3124374 w 10344472"/>
              <a:gd name="connsiteY141" fmla="*/ 4510253 h 6858000"/>
              <a:gd name="connsiteX142" fmla="*/ 3192895 w 10344472"/>
              <a:gd name="connsiteY142" fmla="*/ 4510253 h 6858000"/>
              <a:gd name="connsiteX143" fmla="*/ 3292032 w 10344472"/>
              <a:gd name="connsiteY143" fmla="*/ 4432698 h 6858000"/>
              <a:gd name="connsiteX144" fmla="*/ 3384463 w 10344472"/>
              <a:gd name="connsiteY144" fmla="*/ 4530079 h 6858000"/>
              <a:gd name="connsiteX145" fmla="*/ 3384463 w 10344472"/>
              <a:gd name="connsiteY145" fmla="*/ 4561568 h 6858000"/>
              <a:gd name="connsiteX146" fmla="*/ 3322648 w 10344472"/>
              <a:gd name="connsiteY146" fmla="*/ 4561568 h 6858000"/>
              <a:gd name="connsiteX147" fmla="*/ 3106296 w 10344472"/>
              <a:gd name="connsiteY147" fmla="*/ 4695394 h 6858000"/>
              <a:gd name="connsiteX148" fmla="*/ 3249753 w 10344472"/>
              <a:gd name="connsiteY148" fmla="*/ 4822224 h 6858000"/>
              <a:gd name="connsiteX149" fmla="*/ 3384463 w 10344472"/>
              <a:gd name="connsiteY149" fmla="*/ 4760413 h 6858000"/>
              <a:gd name="connsiteX150" fmla="*/ 3384463 w 10344472"/>
              <a:gd name="connsiteY150" fmla="*/ 4814935 h 6858000"/>
              <a:gd name="connsiteX151" fmla="*/ 3452984 w 10344472"/>
              <a:gd name="connsiteY151" fmla="*/ 4814935 h 6858000"/>
              <a:gd name="connsiteX152" fmla="*/ 3452984 w 10344472"/>
              <a:gd name="connsiteY152" fmla="*/ 4530079 h 6858000"/>
              <a:gd name="connsiteX153" fmla="*/ 3295240 w 10344472"/>
              <a:gd name="connsiteY153" fmla="*/ 4375552 h 6858000"/>
              <a:gd name="connsiteX154" fmla="*/ 4369128 w 10344472"/>
              <a:gd name="connsiteY154" fmla="*/ 4374094 h 6858000"/>
              <a:gd name="connsiteX155" fmla="*/ 4254537 w 10344472"/>
              <a:gd name="connsiteY155" fmla="*/ 4402667 h 6858000"/>
              <a:gd name="connsiteX156" fmla="*/ 4174935 w 10344472"/>
              <a:gd name="connsiteY156" fmla="*/ 4483721 h 6858000"/>
              <a:gd name="connsiteX157" fmla="*/ 4146944 w 10344472"/>
              <a:gd name="connsiteY157" fmla="*/ 4593639 h 6858000"/>
              <a:gd name="connsiteX158" fmla="*/ 4174935 w 10344472"/>
              <a:gd name="connsiteY158" fmla="*/ 4719594 h 6858000"/>
              <a:gd name="connsiteX159" fmla="*/ 4256869 w 10344472"/>
              <a:gd name="connsiteY159" fmla="*/ 4798023 h 6858000"/>
              <a:gd name="connsiteX160" fmla="*/ 4370002 w 10344472"/>
              <a:gd name="connsiteY160" fmla="*/ 4824847 h 6858000"/>
              <a:gd name="connsiteX161" fmla="*/ 4529205 w 10344472"/>
              <a:gd name="connsiteY161" fmla="*/ 4760412 h 6858000"/>
              <a:gd name="connsiteX162" fmla="*/ 4592478 w 10344472"/>
              <a:gd name="connsiteY162" fmla="*/ 4598304 h 6858000"/>
              <a:gd name="connsiteX163" fmla="*/ 4529788 w 10344472"/>
              <a:gd name="connsiteY163" fmla="*/ 4437654 h 6858000"/>
              <a:gd name="connsiteX164" fmla="*/ 4369128 w 10344472"/>
              <a:gd name="connsiteY164" fmla="*/ 4374094 h 6858000"/>
              <a:gd name="connsiteX165" fmla="*/ 5366331 w 10344472"/>
              <a:gd name="connsiteY165" fmla="*/ 4312574 h 6858000"/>
              <a:gd name="connsiteX166" fmla="*/ 5453221 w 10344472"/>
              <a:gd name="connsiteY166" fmla="*/ 4337940 h 6858000"/>
              <a:gd name="connsiteX167" fmla="*/ 5455785 w 10344472"/>
              <a:gd name="connsiteY167" fmla="*/ 4340581 h 6858000"/>
              <a:gd name="connsiteX168" fmla="*/ 5410884 w 10344472"/>
              <a:gd name="connsiteY168" fmla="*/ 4495966 h 6858000"/>
              <a:gd name="connsiteX169" fmla="*/ 5368372 w 10344472"/>
              <a:gd name="connsiteY169" fmla="*/ 4495966 h 6858000"/>
              <a:gd name="connsiteX170" fmla="*/ 5368372 w 10344472"/>
              <a:gd name="connsiteY170" fmla="*/ 4596263 h 6858000"/>
              <a:gd name="connsiteX171" fmla="*/ 5381902 w 10344472"/>
              <a:gd name="connsiteY171" fmla="*/ 4596263 h 6858000"/>
              <a:gd name="connsiteX172" fmla="*/ 5346461 w 10344472"/>
              <a:gd name="connsiteY172" fmla="*/ 4718911 h 6858000"/>
              <a:gd name="connsiteX173" fmla="*/ 5296024 w 10344472"/>
              <a:gd name="connsiteY173" fmla="*/ 4709207 h 6858000"/>
              <a:gd name="connsiteX174" fmla="*/ 5241534 w 10344472"/>
              <a:gd name="connsiteY174" fmla="*/ 4669445 h 6858000"/>
              <a:gd name="connsiteX175" fmla="*/ 5194298 w 10344472"/>
              <a:gd name="connsiteY175" fmla="*/ 4510544 h 6858000"/>
              <a:gd name="connsiteX176" fmla="*/ 5240951 w 10344472"/>
              <a:gd name="connsiteY176" fmla="*/ 4362431 h 6858000"/>
              <a:gd name="connsiteX177" fmla="*/ 5366331 w 10344472"/>
              <a:gd name="connsiteY177" fmla="*/ 4312574 h 6858000"/>
              <a:gd name="connsiteX178" fmla="*/ 3701993 w 10344472"/>
              <a:gd name="connsiteY178" fmla="*/ 4219566 h 6858000"/>
              <a:gd name="connsiteX179" fmla="*/ 3920386 w 10344472"/>
              <a:gd name="connsiteY179" fmla="*/ 4564191 h 6858000"/>
              <a:gd name="connsiteX180" fmla="*/ 3920386 w 10344472"/>
              <a:gd name="connsiteY180" fmla="*/ 4814642 h 6858000"/>
              <a:gd name="connsiteX181" fmla="*/ 4040226 w 10344472"/>
              <a:gd name="connsiteY181" fmla="*/ 4814642 h 6858000"/>
              <a:gd name="connsiteX182" fmla="*/ 4040226 w 10344472"/>
              <a:gd name="connsiteY182" fmla="*/ 4565066 h 6858000"/>
              <a:gd name="connsiteX183" fmla="*/ 4259202 w 10344472"/>
              <a:gd name="connsiteY183" fmla="*/ 4219858 h 6858000"/>
              <a:gd name="connsiteX184" fmla="*/ 4120410 w 10344472"/>
              <a:gd name="connsiteY184" fmla="*/ 4219858 h 6858000"/>
              <a:gd name="connsiteX185" fmla="*/ 3983076 w 10344472"/>
              <a:gd name="connsiteY185" fmla="*/ 4455148 h 6858000"/>
              <a:gd name="connsiteX186" fmla="*/ 3842826 w 10344472"/>
              <a:gd name="connsiteY186" fmla="*/ 4219858 h 6858000"/>
              <a:gd name="connsiteX187" fmla="*/ 3842826 w 10344472"/>
              <a:gd name="connsiteY187" fmla="*/ 4219566 h 6858000"/>
              <a:gd name="connsiteX188" fmla="*/ 3112711 w 10344472"/>
              <a:gd name="connsiteY188" fmla="*/ 2062597 h 6858000"/>
              <a:gd name="connsiteX189" fmla="*/ 3112711 w 10344472"/>
              <a:gd name="connsiteY189" fmla="*/ 3855407 h 6858000"/>
              <a:gd name="connsiteX190" fmla="*/ 4592478 w 10344472"/>
              <a:gd name="connsiteY190" fmla="*/ 3855407 h 6858000"/>
              <a:gd name="connsiteX191" fmla="*/ 4592478 w 10344472"/>
              <a:gd name="connsiteY191" fmla="*/ 3361794 h 6858000"/>
              <a:gd name="connsiteX192" fmla="*/ 3710741 w 10344472"/>
              <a:gd name="connsiteY192" fmla="*/ 3361794 h 6858000"/>
              <a:gd name="connsiteX193" fmla="*/ 3710741 w 10344472"/>
              <a:gd name="connsiteY193" fmla="*/ 2062597 h 6858000"/>
              <a:gd name="connsiteX194" fmla="*/ 3112711 w 10344472"/>
              <a:gd name="connsiteY194" fmla="*/ 2062597 h 6858000"/>
              <a:gd name="connsiteX195" fmla="*/ 9524550 w 10344472"/>
              <a:gd name="connsiteY195" fmla="*/ 2061139 h 6858000"/>
              <a:gd name="connsiteX196" fmla="*/ 10233964 w 10344472"/>
              <a:gd name="connsiteY196" fmla="*/ 2062014 h 6858000"/>
              <a:gd name="connsiteX197" fmla="*/ 10261664 w 10344472"/>
              <a:gd name="connsiteY197" fmla="*/ 2062014 h 6858000"/>
              <a:gd name="connsiteX198" fmla="*/ 9436493 w 10344472"/>
              <a:gd name="connsiteY198" fmla="*/ 2879843 h 6858000"/>
              <a:gd name="connsiteX199" fmla="*/ 10344472 w 10344472"/>
              <a:gd name="connsiteY199" fmla="*/ 3856281 h 6858000"/>
              <a:gd name="connsiteX200" fmla="*/ 10330185 w 10344472"/>
              <a:gd name="connsiteY200" fmla="*/ 3856281 h 6858000"/>
              <a:gd name="connsiteX201" fmla="*/ 9609108 w 10344472"/>
              <a:gd name="connsiteY201" fmla="*/ 3856573 h 6858000"/>
              <a:gd name="connsiteX202" fmla="*/ 9587239 w 10344472"/>
              <a:gd name="connsiteY202" fmla="*/ 3846660 h 6858000"/>
              <a:gd name="connsiteX203" fmla="*/ 9072309 w 10344472"/>
              <a:gd name="connsiteY203" fmla="*/ 3253041 h 6858000"/>
              <a:gd name="connsiteX204" fmla="*/ 8965591 w 10344472"/>
              <a:gd name="connsiteY204" fmla="*/ 3130294 h 6858000"/>
              <a:gd name="connsiteX205" fmla="*/ 8952470 w 10344472"/>
              <a:gd name="connsiteY205" fmla="*/ 3115424 h 6858000"/>
              <a:gd name="connsiteX206" fmla="*/ 8952470 w 10344472"/>
              <a:gd name="connsiteY206" fmla="*/ 3855407 h 6858000"/>
              <a:gd name="connsiteX207" fmla="*/ 8352982 w 10344472"/>
              <a:gd name="connsiteY207" fmla="*/ 3855407 h 6858000"/>
              <a:gd name="connsiteX208" fmla="*/ 8352982 w 10344472"/>
              <a:gd name="connsiteY208" fmla="*/ 2062888 h 6858000"/>
              <a:gd name="connsiteX209" fmla="*/ 8951595 w 10344472"/>
              <a:gd name="connsiteY209" fmla="*/ 2062888 h 6858000"/>
              <a:gd name="connsiteX210" fmla="*/ 8951595 w 10344472"/>
              <a:gd name="connsiteY210" fmla="*/ 2618604 h 6858000"/>
              <a:gd name="connsiteX211" fmla="*/ 8990667 w 10344472"/>
              <a:gd name="connsiteY211" fmla="*/ 2579243 h 6858000"/>
              <a:gd name="connsiteX212" fmla="*/ 9449030 w 10344472"/>
              <a:gd name="connsiteY212" fmla="*/ 2093211 h 6858000"/>
              <a:gd name="connsiteX213" fmla="*/ 9524550 w 10344472"/>
              <a:gd name="connsiteY213" fmla="*/ 2061139 h 6858000"/>
              <a:gd name="connsiteX214" fmla="*/ 5280607 w 10344472"/>
              <a:gd name="connsiteY214" fmla="*/ 2061139 h 6858000"/>
              <a:gd name="connsiteX215" fmla="*/ 5264570 w 10344472"/>
              <a:gd name="connsiteY215" fmla="*/ 2074842 h 6858000"/>
              <a:gd name="connsiteX216" fmla="*/ 5094870 w 10344472"/>
              <a:gd name="connsiteY216" fmla="*/ 2664671 h 6858000"/>
              <a:gd name="connsiteX217" fmla="*/ 4793085 w 10344472"/>
              <a:gd name="connsiteY217" fmla="*/ 3709043 h 6858000"/>
              <a:gd name="connsiteX218" fmla="*/ 4750806 w 10344472"/>
              <a:gd name="connsiteY218" fmla="*/ 3855698 h 6858000"/>
              <a:gd name="connsiteX219" fmla="*/ 5353501 w 10344472"/>
              <a:gd name="connsiteY219" fmla="*/ 3855698 h 6858000"/>
              <a:gd name="connsiteX220" fmla="*/ 5871347 w 10344472"/>
              <a:gd name="connsiteY220" fmla="*/ 2062305 h 6858000"/>
              <a:gd name="connsiteX221" fmla="*/ 5859392 w 10344472"/>
              <a:gd name="connsiteY221" fmla="*/ 2061431 h 6858000"/>
              <a:gd name="connsiteX222" fmla="*/ 5280607 w 10344472"/>
              <a:gd name="connsiteY222" fmla="*/ 2061139 h 6858000"/>
              <a:gd name="connsiteX223" fmla="*/ 0 w 10344472"/>
              <a:gd name="connsiteY223" fmla="*/ 0 h 6858000"/>
              <a:gd name="connsiteX224" fmla="*/ 6707236 w 10344472"/>
              <a:gd name="connsiteY224" fmla="*/ 0 h 6858000"/>
              <a:gd name="connsiteX225" fmla="*/ 6114289 w 10344472"/>
              <a:gd name="connsiteY225" fmla="*/ 2060916 h 6858000"/>
              <a:gd name="connsiteX226" fmla="*/ 6560000 w 10344472"/>
              <a:gd name="connsiteY226" fmla="*/ 2061141 h 6858000"/>
              <a:gd name="connsiteX227" fmla="*/ 6564947 w 10344472"/>
              <a:gd name="connsiteY227" fmla="*/ 2061503 h 6858000"/>
              <a:gd name="connsiteX228" fmla="*/ 6705555 w 10344472"/>
              <a:gd name="connsiteY228" fmla="*/ 2061431 h 6858000"/>
              <a:gd name="connsiteX229" fmla="*/ 6726841 w 10344472"/>
              <a:gd name="connsiteY229" fmla="*/ 2073677 h 6858000"/>
              <a:gd name="connsiteX230" fmla="*/ 7211738 w 10344472"/>
              <a:gd name="connsiteY230" fmla="*/ 2996759 h 6858000"/>
              <a:gd name="connsiteX231" fmla="*/ 7282883 w 10344472"/>
              <a:gd name="connsiteY231" fmla="*/ 3131461 h 6858000"/>
              <a:gd name="connsiteX232" fmla="*/ 7292797 w 10344472"/>
              <a:gd name="connsiteY232" fmla="*/ 3150121 h 6858000"/>
              <a:gd name="connsiteX233" fmla="*/ 7304460 w 10344472"/>
              <a:gd name="connsiteY233" fmla="*/ 3108136 h 6858000"/>
              <a:gd name="connsiteX234" fmla="*/ 7479700 w 10344472"/>
              <a:gd name="connsiteY234" fmla="*/ 2453581 h 6858000"/>
              <a:gd name="connsiteX235" fmla="*/ 7580003 w 10344472"/>
              <a:gd name="connsiteY235" fmla="*/ 2077467 h 6858000"/>
              <a:gd name="connsiteX236" fmla="*/ 7601288 w 10344472"/>
              <a:gd name="connsiteY236" fmla="*/ 2060848 h 6858000"/>
              <a:gd name="connsiteX237" fmla="*/ 8180074 w 10344472"/>
              <a:gd name="connsiteY237" fmla="*/ 2061140 h 6858000"/>
              <a:gd name="connsiteX238" fmla="*/ 8198153 w 10344472"/>
              <a:gd name="connsiteY238" fmla="*/ 2061140 h 6858000"/>
              <a:gd name="connsiteX239" fmla="*/ 7679140 w 10344472"/>
              <a:gd name="connsiteY239" fmla="*/ 3855699 h 6858000"/>
              <a:gd name="connsiteX240" fmla="*/ 7661354 w 10344472"/>
              <a:gd name="connsiteY240" fmla="*/ 3855699 h 6858000"/>
              <a:gd name="connsiteX241" fmla="*/ 7081110 w 10344472"/>
              <a:gd name="connsiteY241" fmla="*/ 3855990 h 6858000"/>
              <a:gd name="connsiteX242" fmla="*/ 7055743 w 10344472"/>
              <a:gd name="connsiteY242" fmla="*/ 3840829 h 6858000"/>
              <a:gd name="connsiteX243" fmla="*/ 6762997 w 10344472"/>
              <a:gd name="connsiteY243" fmla="*/ 3290070 h 6858000"/>
              <a:gd name="connsiteX244" fmla="*/ 6497367 w 10344472"/>
              <a:gd name="connsiteY244" fmla="*/ 2790626 h 6858000"/>
              <a:gd name="connsiteX245" fmla="*/ 6488620 w 10344472"/>
              <a:gd name="connsiteY245" fmla="*/ 2776339 h 6858000"/>
              <a:gd name="connsiteX246" fmla="*/ 6200539 w 10344472"/>
              <a:gd name="connsiteY246" fmla="*/ 3855116 h 6858000"/>
              <a:gd name="connsiteX247" fmla="*/ 6054232 w 10344472"/>
              <a:gd name="connsiteY247" fmla="*/ 3855116 h 6858000"/>
              <a:gd name="connsiteX248" fmla="*/ 6052519 w 10344472"/>
              <a:gd name="connsiteY248" fmla="*/ 3861048 h 6858000"/>
              <a:gd name="connsiteX249" fmla="*/ 5594353 w 10344472"/>
              <a:gd name="connsiteY249" fmla="*/ 3861048 h 6858000"/>
              <a:gd name="connsiteX250" fmla="*/ 5487296 w 10344472"/>
              <a:gd name="connsiteY250" fmla="*/ 4231534 h 6858000"/>
              <a:gd name="connsiteX251" fmla="*/ 5465213 w 10344472"/>
              <a:gd name="connsiteY251" fmla="*/ 4221243 h 6858000"/>
              <a:gd name="connsiteX252" fmla="*/ 5366331 w 10344472"/>
              <a:gd name="connsiteY252" fmla="*/ 4209653 h 6858000"/>
              <a:gd name="connsiteX253" fmla="*/ 5224040 w 10344472"/>
              <a:gd name="connsiteY253" fmla="*/ 4239684 h 6858000"/>
              <a:gd name="connsiteX254" fmla="*/ 5109740 w 10344472"/>
              <a:gd name="connsiteY254" fmla="*/ 4350477 h 6858000"/>
              <a:gd name="connsiteX255" fmla="*/ 5070669 w 10344472"/>
              <a:gd name="connsiteY255" fmla="*/ 4515501 h 6858000"/>
              <a:gd name="connsiteX256" fmla="*/ 5105658 w 10344472"/>
              <a:gd name="connsiteY256" fmla="*/ 4674110 h 6858000"/>
              <a:gd name="connsiteX257" fmla="*/ 5210044 w 10344472"/>
              <a:gd name="connsiteY257" fmla="*/ 4786070 h 6858000"/>
              <a:gd name="connsiteX258" fmla="*/ 5285527 w 10344472"/>
              <a:gd name="connsiteY258" fmla="*/ 4815335 h 6858000"/>
              <a:gd name="connsiteX259" fmla="*/ 5317561 w 10344472"/>
              <a:gd name="connsiteY259" fmla="*/ 4818924 h 6858000"/>
              <a:gd name="connsiteX260" fmla="*/ 4728343 w 10344472"/>
              <a:gd name="connsiteY260" fmla="*/ 6858000 h 6858000"/>
              <a:gd name="connsiteX261" fmla="*/ 0 w 10344472"/>
              <a:gd name="connsiteY261" fmla="*/ 6858000 h 6858000"/>
              <a:gd name="connsiteX0" fmla="*/ 9222182 w 10344472"/>
              <a:gd name="connsiteY0" fmla="*/ 4610259 h 6858000"/>
              <a:gd name="connsiteX1" fmla="*/ 9071727 w 10344472"/>
              <a:gd name="connsiteY1" fmla="*/ 4695394 h 6858000"/>
              <a:gd name="connsiteX2" fmla="*/ 9153369 w 10344472"/>
              <a:gd name="connsiteY2" fmla="*/ 4767993 h 6858000"/>
              <a:gd name="connsiteX3" fmla="*/ 9281664 w 10344472"/>
              <a:gd name="connsiteY3" fmla="*/ 4663906 h 6858000"/>
              <a:gd name="connsiteX4" fmla="*/ 9281664 w 10344472"/>
              <a:gd name="connsiteY4" fmla="*/ 4610259 h 6858000"/>
              <a:gd name="connsiteX5" fmla="*/ 9222182 w 10344472"/>
              <a:gd name="connsiteY5" fmla="*/ 4610259 h 6858000"/>
              <a:gd name="connsiteX6" fmla="*/ 3325272 w 10344472"/>
              <a:gd name="connsiteY6" fmla="*/ 4610259 h 6858000"/>
              <a:gd name="connsiteX7" fmla="*/ 3384755 w 10344472"/>
              <a:gd name="connsiteY7" fmla="*/ 4610259 h 6858000"/>
              <a:gd name="connsiteX8" fmla="*/ 3384755 w 10344472"/>
              <a:gd name="connsiteY8" fmla="*/ 4663906 h 6858000"/>
              <a:gd name="connsiteX9" fmla="*/ 3256460 w 10344472"/>
              <a:gd name="connsiteY9" fmla="*/ 4767993 h 6858000"/>
              <a:gd name="connsiteX10" fmla="*/ 3174817 w 10344472"/>
              <a:gd name="connsiteY10" fmla="*/ 4695394 h 6858000"/>
              <a:gd name="connsiteX11" fmla="*/ 3325272 w 10344472"/>
              <a:gd name="connsiteY11" fmla="*/ 4610259 h 6858000"/>
              <a:gd name="connsiteX12" fmla="*/ 4369419 w 10344472"/>
              <a:gd name="connsiteY12" fmla="*/ 4467101 h 6858000"/>
              <a:gd name="connsiteX13" fmla="*/ 4444355 w 10344472"/>
              <a:gd name="connsiteY13" fmla="*/ 4501214 h 6858000"/>
              <a:gd name="connsiteX14" fmla="*/ 4474679 w 10344472"/>
              <a:gd name="connsiteY14" fmla="*/ 4598596 h 6858000"/>
              <a:gd name="connsiteX15" fmla="*/ 4444355 w 10344472"/>
              <a:gd name="connsiteY15" fmla="*/ 4697726 h 6858000"/>
              <a:gd name="connsiteX16" fmla="*/ 4369419 w 10344472"/>
              <a:gd name="connsiteY16" fmla="*/ 4731839 h 6858000"/>
              <a:gd name="connsiteX17" fmla="*/ 4294192 w 10344472"/>
              <a:gd name="connsiteY17" fmla="*/ 4697726 h 6858000"/>
              <a:gd name="connsiteX18" fmla="*/ 4263576 w 10344472"/>
              <a:gd name="connsiteY18" fmla="*/ 4599470 h 6858000"/>
              <a:gd name="connsiteX19" fmla="*/ 4294192 w 10344472"/>
              <a:gd name="connsiteY19" fmla="*/ 4501214 h 6858000"/>
              <a:gd name="connsiteX20" fmla="*/ 4369419 w 10344472"/>
              <a:gd name="connsiteY20" fmla="*/ 4467101 h 6858000"/>
              <a:gd name="connsiteX21" fmla="*/ 8728245 w 10344472"/>
              <a:gd name="connsiteY21" fmla="*/ 4432406 h 6858000"/>
              <a:gd name="connsiteX22" fmla="*/ 8587121 w 10344472"/>
              <a:gd name="connsiteY22" fmla="*/ 4595972 h 6858000"/>
              <a:gd name="connsiteX23" fmla="*/ 8587121 w 10344472"/>
              <a:gd name="connsiteY23" fmla="*/ 4602678 h 6858000"/>
              <a:gd name="connsiteX24" fmla="*/ 8729120 w 10344472"/>
              <a:gd name="connsiteY24" fmla="*/ 4765369 h 6858000"/>
              <a:gd name="connsiteX25" fmla="*/ 8861206 w 10344472"/>
              <a:gd name="connsiteY25" fmla="*/ 4602678 h 6858000"/>
              <a:gd name="connsiteX26" fmla="*/ 8861206 w 10344472"/>
              <a:gd name="connsiteY26" fmla="*/ 4595972 h 6858000"/>
              <a:gd name="connsiteX27" fmla="*/ 8728245 w 10344472"/>
              <a:gd name="connsiteY27" fmla="*/ 4432406 h 6858000"/>
              <a:gd name="connsiteX28" fmla="*/ 7450543 w 10344472"/>
              <a:gd name="connsiteY28" fmla="*/ 4432406 h 6858000"/>
              <a:gd name="connsiteX29" fmla="*/ 7309419 w 10344472"/>
              <a:gd name="connsiteY29" fmla="*/ 4595972 h 6858000"/>
              <a:gd name="connsiteX30" fmla="*/ 7309419 w 10344472"/>
              <a:gd name="connsiteY30" fmla="*/ 4602678 h 6858000"/>
              <a:gd name="connsiteX31" fmla="*/ 7450543 w 10344472"/>
              <a:gd name="connsiteY31" fmla="*/ 4765369 h 6858000"/>
              <a:gd name="connsiteX32" fmla="*/ 7591668 w 10344472"/>
              <a:gd name="connsiteY32" fmla="*/ 4602678 h 6858000"/>
              <a:gd name="connsiteX33" fmla="*/ 7591668 w 10344472"/>
              <a:gd name="connsiteY33" fmla="*/ 4596847 h 6858000"/>
              <a:gd name="connsiteX34" fmla="*/ 7450543 w 10344472"/>
              <a:gd name="connsiteY34" fmla="*/ 4432406 h 6858000"/>
              <a:gd name="connsiteX35" fmla="*/ 4629508 w 10344472"/>
              <a:gd name="connsiteY35" fmla="*/ 4383423 h 6858000"/>
              <a:gd name="connsiteX36" fmla="*/ 4629508 w 10344472"/>
              <a:gd name="connsiteY36" fmla="*/ 4656033 h 6858000"/>
              <a:gd name="connsiteX37" fmla="*/ 4644962 w 10344472"/>
              <a:gd name="connsiteY37" fmla="*/ 4751374 h 6858000"/>
              <a:gd name="connsiteX38" fmla="*/ 4694822 w 10344472"/>
              <a:gd name="connsiteY38" fmla="*/ 4805021 h 6858000"/>
              <a:gd name="connsiteX39" fmla="*/ 4772966 w 10344472"/>
              <a:gd name="connsiteY39" fmla="*/ 4823972 h 6858000"/>
              <a:gd name="connsiteX40" fmla="*/ 4854025 w 10344472"/>
              <a:gd name="connsiteY40" fmla="*/ 4804146 h 6858000"/>
              <a:gd name="connsiteX41" fmla="*/ 4916131 w 10344472"/>
              <a:gd name="connsiteY41" fmla="*/ 4749916 h 6858000"/>
              <a:gd name="connsiteX42" fmla="*/ 4916131 w 10344472"/>
              <a:gd name="connsiteY42" fmla="*/ 4814351 h 6858000"/>
              <a:gd name="connsiteX43" fmla="*/ 5022266 w 10344472"/>
              <a:gd name="connsiteY43" fmla="*/ 4814351 h 6858000"/>
              <a:gd name="connsiteX44" fmla="*/ 5022266 w 10344472"/>
              <a:gd name="connsiteY44" fmla="*/ 4383423 h 6858000"/>
              <a:gd name="connsiteX45" fmla="*/ 4907967 w 10344472"/>
              <a:gd name="connsiteY45" fmla="*/ 4383423 h 6858000"/>
              <a:gd name="connsiteX46" fmla="*/ 4907967 w 10344472"/>
              <a:gd name="connsiteY46" fmla="*/ 4565358 h 6858000"/>
              <a:gd name="connsiteX47" fmla="*/ 4899511 w 10344472"/>
              <a:gd name="connsiteY47" fmla="*/ 4681691 h 6858000"/>
              <a:gd name="connsiteX48" fmla="*/ 4867729 w 10344472"/>
              <a:gd name="connsiteY48" fmla="*/ 4721343 h 6858000"/>
              <a:gd name="connsiteX49" fmla="*/ 4815245 w 10344472"/>
              <a:gd name="connsiteY49" fmla="*/ 4737379 h 6858000"/>
              <a:gd name="connsiteX50" fmla="*/ 4772966 w 10344472"/>
              <a:gd name="connsiteY50" fmla="*/ 4725425 h 6858000"/>
              <a:gd name="connsiteX51" fmla="*/ 4749931 w 10344472"/>
              <a:gd name="connsiteY51" fmla="*/ 4693061 h 6858000"/>
              <a:gd name="connsiteX52" fmla="*/ 4743516 w 10344472"/>
              <a:gd name="connsiteY52" fmla="*/ 4581685 h 6858000"/>
              <a:gd name="connsiteX53" fmla="*/ 4743516 w 10344472"/>
              <a:gd name="connsiteY53" fmla="*/ 4383715 h 6858000"/>
              <a:gd name="connsiteX54" fmla="*/ 4743516 w 10344472"/>
              <a:gd name="connsiteY54" fmla="*/ 4383423 h 6858000"/>
              <a:gd name="connsiteX55" fmla="*/ 4629508 w 10344472"/>
              <a:gd name="connsiteY55" fmla="*/ 4383423 h 6858000"/>
              <a:gd name="connsiteX56" fmla="*/ 9917600 w 10344472"/>
              <a:gd name="connsiteY56" fmla="*/ 4382841 h 6858000"/>
              <a:gd name="connsiteX57" fmla="*/ 9991078 w 10344472"/>
              <a:gd name="connsiteY57" fmla="*/ 4382841 h 6858000"/>
              <a:gd name="connsiteX58" fmla="*/ 10123164 w 10344472"/>
              <a:gd name="connsiteY58" fmla="*/ 4692479 h 6858000"/>
              <a:gd name="connsiteX59" fmla="*/ 10243003 w 10344472"/>
              <a:gd name="connsiteY59" fmla="*/ 4382841 h 6858000"/>
              <a:gd name="connsiteX60" fmla="*/ 10313274 w 10344472"/>
              <a:gd name="connsiteY60" fmla="*/ 4382841 h 6858000"/>
              <a:gd name="connsiteX61" fmla="*/ 10074469 w 10344472"/>
              <a:gd name="connsiteY61" fmla="*/ 4965089 h 6858000"/>
              <a:gd name="connsiteX62" fmla="*/ 10005074 w 10344472"/>
              <a:gd name="connsiteY62" fmla="*/ 4965089 h 6858000"/>
              <a:gd name="connsiteX63" fmla="*/ 10087007 w 10344472"/>
              <a:gd name="connsiteY63" fmla="*/ 4770326 h 6858000"/>
              <a:gd name="connsiteX64" fmla="*/ 9917600 w 10344472"/>
              <a:gd name="connsiteY64" fmla="*/ 4382841 h 6858000"/>
              <a:gd name="connsiteX65" fmla="*/ 7966639 w 10344472"/>
              <a:gd name="connsiteY65" fmla="*/ 4375843 h 6858000"/>
              <a:gd name="connsiteX66" fmla="*/ 8092894 w 10344472"/>
              <a:gd name="connsiteY66" fmla="*/ 4456897 h 6858000"/>
              <a:gd name="connsiteX67" fmla="*/ 8240724 w 10344472"/>
              <a:gd name="connsiteY67" fmla="*/ 4375843 h 6858000"/>
              <a:gd name="connsiteX68" fmla="*/ 8386223 w 10344472"/>
              <a:gd name="connsiteY68" fmla="*/ 4547573 h 6858000"/>
              <a:gd name="connsiteX69" fmla="*/ 8386223 w 10344472"/>
              <a:gd name="connsiteY69" fmla="*/ 4815226 h 6858000"/>
              <a:gd name="connsiteX70" fmla="*/ 8317702 w 10344472"/>
              <a:gd name="connsiteY70" fmla="*/ 4815226 h 6858000"/>
              <a:gd name="connsiteX71" fmla="*/ 8317702 w 10344472"/>
              <a:gd name="connsiteY71" fmla="*/ 4542616 h 6858000"/>
              <a:gd name="connsiteX72" fmla="*/ 8226145 w 10344472"/>
              <a:gd name="connsiteY72" fmla="*/ 4435322 h 6858000"/>
              <a:gd name="connsiteX73" fmla="*/ 8112138 w 10344472"/>
              <a:gd name="connsiteY73" fmla="*/ 4551071 h 6858000"/>
              <a:gd name="connsiteX74" fmla="*/ 8112138 w 10344472"/>
              <a:gd name="connsiteY74" fmla="*/ 4815226 h 6858000"/>
              <a:gd name="connsiteX75" fmla="*/ 8043617 w 10344472"/>
              <a:gd name="connsiteY75" fmla="*/ 4815226 h 6858000"/>
              <a:gd name="connsiteX76" fmla="*/ 8043617 w 10344472"/>
              <a:gd name="connsiteY76" fmla="*/ 4542616 h 6858000"/>
              <a:gd name="connsiteX77" fmla="*/ 7952060 w 10344472"/>
              <a:gd name="connsiteY77" fmla="*/ 4435322 h 6858000"/>
              <a:gd name="connsiteX78" fmla="*/ 7838053 w 10344472"/>
              <a:gd name="connsiteY78" fmla="*/ 4551071 h 6858000"/>
              <a:gd name="connsiteX79" fmla="*/ 7838053 w 10344472"/>
              <a:gd name="connsiteY79" fmla="*/ 4815226 h 6858000"/>
              <a:gd name="connsiteX80" fmla="*/ 7769532 w 10344472"/>
              <a:gd name="connsiteY80" fmla="*/ 4815226 h 6858000"/>
              <a:gd name="connsiteX81" fmla="*/ 7769532 w 10344472"/>
              <a:gd name="connsiteY81" fmla="*/ 4383132 h 6858000"/>
              <a:gd name="connsiteX82" fmla="*/ 7837761 w 10344472"/>
              <a:gd name="connsiteY82" fmla="*/ 4383132 h 6858000"/>
              <a:gd name="connsiteX83" fmla="*/ 7837761 w 10344472"/>
              <a:gd name="connsiteY83" fmla="*/ 4449316 h 6858000"/>
              <a:gd name="connsiteX84" fmla="*/ 7966639 w 10344472"/>
              <a:gd name="connsiteY84" fmla="*/ 4375843 h 6858000"/>
              <a:gd name="connsiteX85" fmla="*/ 9692209 w 10344472"/>
              <a:gd name="connsiteY85" fmla="*/ 4375552 h 6858000"/>
              <a:gd name="connsiteX86" fmla="*/ 9844121 w 10344472"/>
              <a:gd name="connsiteY86" fmla="*/ 4549906 h 6858000"/>
              <a:gd name="connsiteX87" fmla="*/ 9844121 w 10344472"/>
              <a:gd name="connsiteY87" fmla="*/ 4814935 h 6858000"/>
              <a:gd name="connsiteX88" fmla="*/ 9775600 w 10344472"/>
              <a:gd name="connsiteY88" fmla="*/ 4814935 h 6858000"/>
              <a:gd name="connsiteX89" fmla="*/ 9775600 w 10344472"/>
              <a:gd name="connsiteY89" fmla="*/ 4544949 h 6858000"/>
              <a:gd name="connsiteX90" fmla="*/ 9674131 w 10344472"/>
              <a:gd name="connsiteY90" fmla="*/ 4435030 h 6858000"/>
              <a:gd name="connsiteX91" fmla="*/ 9553416 w 10344472"/>
              <a:gd name="connsiteY91" fmla="*/ 4553113 h 6858000"/>
              <a:gd name="connsiteX92" fmla="*/ 9553416 w 10344472"/>
              <a:gd name="connsiteY92" fmla="*/ 4814935 h 6858000"/>
              <a:gd name="connsiteX93" fmla="*/ 9484895 w 10344472"/>
              <a:gd name="connsiteY93" fmla="*/ 4814935 h 6858000"/>
              <a:gd name="connsiteX94" fmla="*/ 9484895 w 10344472"/>
              <a:gd name="connsiteY94" fmla="*/ 4383133 h 6858000"/>
              <a:gd name="connsiteX95" fmla="*/ 9553416 w 10344472"/>
              <a:gd name="connsiteY95" fmla="*/ 4383133 h 6858000"/>
              <a:gd name="connsiteX96" fmla="*/ 9553416 w 10344472"/>
              <a:gd name="connsiteY96" fmla="*/ 4451649 h 6858000"/>
              <a:gd name="connsiteX97" fmla="*/ 9692209 w 10344472"/>
              <a:gd name="connsiteY97" fmla="*/ 4375552 h 6858000"/>
              <a:gd name="connsiteX98" fmla="*/ 9192440 w 10344472"/>
              <a:gd name="connsiteY98" fmla="*/ 4375552 h 6858000"/>
              <a:gd name="connsiteX99" fmla="*/ 9350185 w 10344472"/>
              <a:gd name="connsiteY99" fmla="*/ 4530079 h 6858000"/>
              <a:gd name="connsiteX100" fmla="*/ 9350185 w 10344472"/>
              <a:gd name="connsiteY100" fmla="*/ 4814935 h 6858000"/>
              <a:gd name="connsiteX101" fmla="*/ 9281664 w 10344472"/>
              <a:gd name="connsiteY101" fmla="*/ 4814935 h 6858000"/>
              <a:gd name="connsiteX102" fmla="*/ 9281664 w 10344472"/>
              <a:gd name="connsiteY102" fmla="*/ 4760413 h 6858000"/>
              <a:gd name="connsiteX103" fmla="*/ 9146954 w 10344472"/>
              <a:gd name="connsiteY103" fmla="*/ 4822224 h 6858000"/>
              <a:gd name="connsiteX104" fmla="*/ 9003497 w 10344472"/>
              <a:gd name="connsiteY104" fmla="*/ 4695394 h 6858000"/>
              <a:gd name="connsiteX105" fmla="*/ 9219849 w 10344472"/>
              <a:gd name="connsiteY105" fmla="*/ 4561568 h 6858000"/>
              <a:gd name="connsiteX106" fmla="*/ 9281664 w 10344472"/>
              <a:gd name="connsiteY106" fmla="*/ 4561568 h 6858000"/>
              <a:gd name="connsiteX107" fmla="*/ 9281664 w 10344472"/>
              <a:gd name="connsiteY107" fmla="*/ 4530079 h 6858000"/>
              <a:gd name="connsiteX108" fmla="*/ 9189234 w 10344472"/>
              <a:gd name="connsiteY108" fmla="*/ 4432698 h 6858000"/>
              <a:gd name="connsiteX109" fmla="*/ 9090096 w 10344472"/>
              <a:gd name="connsiteY109" fmla="*/ 4510253 h 6858000"/>
              <a:gd name="connsiteX110" fmla="*/ 9021575 w 10344472"/>
              <a:gd name="connsiteY110" fmla="*/ 4510253 h 6858000"/>
              <a:gd name="connsiteX111" fmla="*/ 9192440 w 10344472"/>
              <a:gd name="connsiteY111" fmla="*/ 4375552 h 6858000"/>
              <a:gd name="connsiteX112" fmla="*/ 8735535 w 10344472"/>
              <a:gd name="connsiteY112" fmla="*/ 4375552 h 6858000"/>
              <a:gd name="connsiteX113" fmla="*/ 8932060 w 10344472"/>
              <a:gd name="connsiteY113" fmla="*/ 4592765 h 6858000"/>
              <a:gd name="connsiteX114" fmla="*/ 8932060 w 10344472"/>
              <a:gd name="connsiteY114" fmla="*/ 4599471 h 6858000"/>
              <a:gd name="connsiteX115" fmla="*/ 8735535 w 10344472"/>
              <a:gd name="connsiteY115" fmla="*/ 4822515 h 6858000"/>
              <a:gd name="connsiteX116" fmla="*/ 8589453 w 10344472"/>
              <a:gd name="connsiteY116" fmla="*/ 4744085 h 6858000"/>
              <a:gd name="connsiteX117" fmla="*/ 8589453 w 10344472"/>
              <a:gd name="connsiteY117" fmla="*/ 4965380 h 6858000"/>
              <a:gd name="connsiteX118" fmla="*/ 8520932 w 10344472"/>
              <a:gd name="connsiteY118" fmla="*/ 4965380 h 6858000"/>
              <a:gd name="connsiteX119" fmla="*/ 8520932 w 10344472"/>
              <a:gd name="connsiteY119" fmla="*/ 4383133 h 6858000"/>
              <a:gd name="connsiteX120" fmla="*/ 8589453 w 10344472"/>
              <a:gd name="connsiteY120" fmla="*/ 4383133 h 6858000"/>
              <a:gd name="connsiteX121" fmla="*/ 8589453 w 10344472"/>
              <a:gd name="connsiteY121" fmla="*/ 4455731 h 6858000"/>
              <a:gd name="connsiteX122" fmla="*/ 8735535 w 10344472"/>
              <a:gd name="connsiteY122" fmla="*/ 4375552 h 6858000"/>
              <a:gd name="connsiteX123" fmla="*/ 7450543 w 10344472"/>
              <a:gd name="connsiteY123" fmla="*/ 4375552 h 6858000"/>
              <a:gd name="connsiteX124" fmla="*/ 7662813 w 10344472"/>
              <a:gd name="connsiteY124" fmla="*/ 4595389 h 6858000"/>
              <a:gd name="connsiteX125" fmla="*/ 7662813 w 10344472"/>
              <a:gd name="connsiteY125" fmla="*/ 4602095 h 6858000"/>
              <a:gd name="connsiteX126" fmla="*/ 7449668 w 10344472"/>
              <a:gd name="connsiteY126" fmla="*/ 4822515 h 6858000"/>
              <a:gd name="connsiteX127" fmla="*/ 7238273 w 10344472"/>
              <a:gd name="connsiteY127" fmla="*/ 4602678 h 6858000"/>
              <a:gd name="connsiteX128" fmla="*/ 7238273 w 10344472"/>
              <a:gd name="connsiteY128" fmla="*/ 4595972 h 6858000"/>
              <a:gd name="connsiteX129" fmla="*/ 7450543 w 10344472"/>
              <a:gd name="connsiteY129" fmla="*/ 4375552 h 6858000"/>
              <a:gd name="connsiteX130" fmla="*/ 6977308 w 10344472"/>
              <a:gd name="connsiteY130" fmla="*/ 4375552 h 6858000"/>
              <a:gd name="connsiteX131" fmla="*/ 7164794 w 10344472"/>
              <a:gd name="connsiteY131" fmla="*/ 4526581 h 6858000"/>
              <a:gd name="connsiteX132" fmla="*/ 7097148 w 10344472"/>
              <a:gd name="connsiteY132" fmla="*/ 4526581 h 6858000"/>
              <a:gd name="connsiteX133" fmla="*/ 6977308 w 10344472"/>
              <a:gd name="connsiteY133" fmla="*/ 4432406 h 6858000"/>
              <a:gd name="connsiteX134" fmla="*/ 6838517 w 10344472"/>
              <a:gd name="connsiteY134" fmla="*/ 4596847 h 6858000"/>
              <a:gd name="connsiteX135" fmla="*/ 6838517 w 10344472"/>
              <a:gd name="connsiteY135" fmla="*/ 4603553 h 6858000"/>
              <a:gd name="connsiteX136" fmla="*/ 6979641 w 10344472"/>
              <a:gd name="connsiteY136" fmla="*/ 4765369 h 6858000"/>
              <a:gd name="connsiteX137" fmla="*/ 7103563 w 10344472"/>
              <a:gd name="connsiteY137" fmla="*/ 4659532 h 6858000"/>
              <a:gd name="connsiteX138" fmla="*/ 7167127 w 10344472"/>
              <a:gd name="connsiteY138" fmla="*/ 4659532 h 6858000"/>
              <a:gd name="connsiteX139" fmla="*/ 6978766 w 10344472"/>
              <a:gd name="connsiteY139" fmla="*/ 4822224 h 6858000"/>
              <a:gd name="connsiteX140" fmla="*/ 6767371 w 10344472"/>
              <a:gd name="connsiteY140" fmla="*/ 4603553 h 6858000"/>
              <a:gd name="connsiteX141" fmla="*/ 6767371 w 10344472"/>
              <a:gd name="connsiteY141" fmla="*/ 4596847 h 6858000"/>
              <a:gd name="connsiteX142" fmla="*/ 6977308 w 10344472"/>
              <a:gd name="connsiteY142" fmla="*/ 4375552 h 6858000"/>
              <a:gd name="connsiteX143" fmla="*/ 3295240 w 10344472"/>
              <a:gd name="connsiteY143" fmla="*/ 4375552 h 6858000"/>
              <a:gd name="connsiteX144" fmla="*/ 3124374 w 10344472"/>
              <a:gd name="connsiteY144" fmla="*/ 4510253 h 6858000"/>
              <a:gd name="connsiteX145" fmla="*/ 3192895 w 10344472"/>
              <a:gd name="connsiteY145" fmla="*/ 4510253 h 6858000"/>
              <a:gd name="connsiteX146" fmla="*/ 3292032 w 10344472"/>
              <a:gd name="connsiteY146" fmla="*/ 4432698 h 6858000"/>
              <a:gd name="connsiteX147" fmla="*/ 3384463 w 10344472"/>
              <a:gd name="connsiteY147" fmla="*/ 4530079 h 6858000"/>
              <a:gd name="connsiteX148" fmla="*/ 3384463 w 10344472"/>
              <a:gd name="connsiteY148" fmla="*/ 4561568 h 6858000"/>
              <a:gd name="connsiteX149" fmla="*/ 3322648 w 10344472"/>
              <a:gd name="connsiteY149" fmla="*/ 4561568 h 6858000"/>
              <a:gd name="connsiteX150" fmla="*/ 3106296 w 10344472"/>
              <a:gd name="connsiteY150" fmla="*/ 4695394 h 6858000"/>
              <a:gd name="connsiteX151" fmla="*/ 3249753 w 10344472"/>
              <a:gd name="connsiteY151" fmla="*/ 4822224 h 6858000"/>
              <a:gd name="connsiteX152" fmla="*/ 3384463 w 10344472"/>
              <a:gd name="connsiteY152" fmla="*/ 4760413 h 6858000"/>
              <a:gd name="connsiteX153" fmla="*/ 3384463 w 10344472"/>
              <a:gd name="connsiteY153" fmla="*/ 4814935 h 6858000"/>
              <a:gd name="connsiteX154" fmla="*/ 3452984 w 10344472"/>
              <a:gd name="connsiteY154" fmla="*/ 4814935 h 6858000"/>
              <a:gd name="connsiteX155" fmla="*/ 3452984 w 10344472"/>
              <a:gd name="connsiteY155" fmla="*/ 4530079 h 6858000"/>
              <a:gd name="connsiteX156" fmla="*/ 3295240 w 10344472"/>
              <a:gd name="connsiteY156" fmla="*/ 4375552 h 6858000"/>
              <a:gd name="connsiteX157" fmla="*/ 4369128 w 10344472"/>
              <a:gd name="connsiteY157" fmla="*/ 4374094 h 6858000"/>
              <a:gd name="connsiteX158" fmla="*/ 4254537 w 10344472"/>
              <a:gd name="connsiteY158" fmla="*/ 4402667 h 6858000"/>
              <a:gd name="connsiteX159" fmla="*/ 4174935 w 10344472"/>
              <a:gd name="connsiteY159" fmla="*/ 4483721 h 6858000"/>
              <a:gd name="connsiteX160" fmla="*/ 4146944 w 10344472"/>
              <a:gd name="connsiteY160" fmla="*/ 4593639 h 6858000"/>
              <a:gd name="connsiteX161" fmla="*/ 4174935 w 10344472"/>
              <a:gd name="connsiteY161" fmla="*/ 4719594 h 6858000"/>
              <a:gd name="connsiteX162" fmla="*/ 4256869 w 10344472"/>
              <a:gd name="connsiteY162" fmla="*/ 4798023 h 6858000"/>
              <a:gd name="connsiteX163" fmla="*/ 4370002 w 10344472"/>
              <a:gd name="connsiteY163" fmla="*/ 4824847 h 6858000"/>
              <a:gd name="connsiteX164" fmla="*/ 4529205 w 10344472"/>
              <a:gd name="connsiteY164" fmla="*/ 4760412 h 6858000"/>
              <a:gd name="connsiteX165" fmla="*/ 4592478 w 10344472"/>
              <a:gd name="connsiteY165" fmla="*/ 4598304 h 6858000"/>
              <a:gd name="connsiteX166" fmla="*/ 4529788 w 10344472"/>
              <a:gd name="connsiteY166" fmla="*/ 4437654 h 6858000"/>
              <a:gd name="connsiteX167" fmla="*/ 4369128 w 10344472"/>
              <a:gd name="connsiteY167" fmla="*/ 4374094 h 6858000"/>
              <a:gd name="connsiteX168" fmla="*/ 5366331 w 10344472"/>
              <a:gd name="connsiteY168" fmla="*/ 4312574 h 6858000"/>
              <a:gd name="connsiteX169" fmla="*/ 5453221 w 10344472"/>
              <a:gd name="connsiteY169" fmla="*/ 4337940 h 6858000"/>
              <a:gd name="connsiteX170" fmla="*/ 5455785 w 10344472"/>
              <a:gd name="connsiteY170" fmla="*/ 4340581 h 6858000"/>
              <a:gd name="connsiteX171" fmla="*/ 5410884 w 10344472"/>
              <a:gd name="connsiteY171" fmla="*/ 4495966 h 6858000"/>
              <a:gd name="connsiteX172" fmla="*/ 5368372 w 10344472"/>
              <a:gd name="connsiteY172" fmla="*/ 4495966 h 6858000"/>
              <a:gd name="connsiteX173" fmla="*/ 5368372 w 10344472"/>
              <a:gd name="connsiteY173" fmla="*/ 4596263 h 6858000"/>
              <a:gd name="connsiteX174" fmla="*/ 5381902 w 10344472"/>
              <a:gd name="connsiteY174" fmla="*/ 4596263 h 6858000"/>
              <a:gd name="connsiteX175" fmla="*/ 5346461 w 10344472"/>
              <a:gd name="connsiteY175" fmla="*/ 4718911 h 6858000"/>
              <a:gd name="connsiteX176" fmla="*/ 5296024 w 10344472"/>
              <a:gd name="connsiteY176" fmla="*/ 4709207 h 6858000"/>
              <a:gd name="connsiteX177" fmla="*/ 5241534 w 10344472"/>
              <a:gd name="connsiteY177" fmla="*/ 4669445 h 6858000"/>
              <a:gd name="connsiteX178" fmla="*/ 5194298 w 10344472"/>
              <a:gd name="connsiteY178" fmla="*/ 4510544 h 6858000"/>
              <a:gd name="connsiteX179" fmla="*/ 5240951 w 10344472"/>
              <a:gd name="connsiteY179" fmla="*/ 4362431 h 6858000"/>
              <a:gd name="connsiteX180" fmla="*/ 5366331 w 10344472"/>
              <a:gd name="connsiteY180" fmla="*/ 4312574 h 6858000"/>
              <a:gd name="connsiteX181" fmla="*/ 3701993 w 10344472"/>
              <a:gd name="connsiteY181" fmla="*/ 4219566 h 6858000"/>
              <a:gd name="connsiteX182" fmla="*/ 3920386 w 10344472"/>
              <a:gd name="connsiteY182" fmla="*/ 4564191 h 6858000"/>
              <a:gd name="connsiteX183" fmla="*/ 3920386 w 10344472"/>
              <a:gd name="connsiteY183" fmla="*/ 4814642 h 6858000"/>
              <a:gd name="connsiteX184" fmla="*/ 4040226 w 10344472"/>
              <a:gd name="connsiteY184" fmla="*/ 4814642 h 6858000"/>
              <a:gd name="connsiteX185" fmla="*/ 4040226 w 10344472"/>
              <a:gd name="connsiteY185" fmla="*/ 4565066 h 6858000"/>
              <a:gd name="connsiteX186" fmla="*/ 4259202 w 10344472"/>
              <a:gd name="connsiteY186" fmla="*/ 4219858 h 6858000"/>
              <a:gd name="connsiteX187" fmla="*/ 4120410 w 10344472"/>
              <a:gd name="connsiteY187" fmla="*/ 4219858 h 6858000"/>
              <a:gd name="connsiteX188" fmla="*/ 3983076 w 10344472"/>
              <a:gd name="connsiteY188" fmla="*/ 4455148 h 6858000"/>
              <a:gd name="connsiteX189" fmla="*/ 3842826 w 10344472"/>
              <a:gd name="connsiteY189" fmla="*/ 4219858 h 6858000"/>
              <a:gd name="connsiteX190" fmla="*/ 3842826 w 10344472"/>
              <a:gd name="connsiteY190" fmla="*/ 4219566 h 6858000"/>
              <a:gd name="connsiteX191" fmla="*/ 3701993 w 10344472"/>
              <a:gd name="connsiteY191" fmla="*/ 4219566 h 6858000"/>
              <a:gd name="connsiteX192" fmla="*/ 3112711 w 10344472"/>
              <a:gd name="connsiteY192" fmla="*/ 2062597 h 6858000"/>
              <a:gd name="connsiteX193" fmla="*/ 3112711 w 10344472"/>
              <a:gd name="connsiteY193" fmla="*/ 3855407 h 6858000"/>
              <a:gd name="connsiteX194" fmla="*/ 4592478 w 10344472"/>
              <a:gd name="connsiteY194" fmla="*/ 3855407 h 6858000"/>
              <a:gd name="connsiteX195" fmla="*/ 4592478 w 10344472"/>
              <a:gd name="connsiteY195" fmla="*/ 3361794 h 6858000"/>
              <a:gd name="connsiteX196" fmla="*/ 3710741 w 10344472"/>
              <a:gd name="connsiteY196" fmla="*/ 3361794 h 6858000"/>
              <a:gd name="connsiteX197" fmla="*/ 3710741 w 10344472"/>
              <a:gd name="connsiteY197" fmla="*/ 2062597 h 6858000"/>
              <a:gd name="connsiteX198" fmla="*/ 3112711 w 10344472"/>
              <a:gd name="connsiteY198" fmla="*/ 2062597 h 6858000"/>
              <a:gd name="connsiteX199" fmla="*/ 9524550 w 10344472"/>
              <a:gd name="connsiteY199" fmla="*/ 2061139 h 6858000"/>
              <a:gd name="connsiteX200" fmla="*/ 10233964 w 10344472"/>
              <a:gd name="connsiteY200" fmla="*/ 2062014 h 6858000"/>
              <a:gd name="connsiteX201" fmla="*/ 10261664 w 10344472"/>
              <a:gd name="connsiteY201" fmla="*/ 2062014 h 6858000"/>
              <a:gd name="connsiteX202" fmla="*/ 9436493 w 10344472"/>
              <a:gd name="connsiteY202" fmla="*/ 2879843 h 6858000"/>
              <a:gd name="connsiteX203" fmla="*/ 10344472 w 10344472"/>
              <a:gd name="connsiteY203" fmla="*/ 3856281 h 6858000"/>
              <a:gd name="connsiteX204" fmla="*/ 10330185 w 10344472"/>
              <a:gd name="connsiteY204" fmla="*/ 3856281 h 6858000"/>
              <a:gd name="connsiteX205" fmla="*/ 9609108 w 10344472"/>
              <a:gd name="connsiteY205" fmla="*/ 3856573 h 6858000"/>
              <a:gd name="connsiteX206" fmla="*/ 9587239 w 10344472"/>
              <a:gd name="connsiteY206" fmla="*/ 3846660 h 6858000"/>
              <a:gd name="connsiteX207" fmla="*/ 9072309 w 10344472"/>
              <a:gd name="connsiteY207" fmla="*/ 3253041 h 6858000"/>
              <a:gd name="connsiteX208" fmla="*/ 8965591 w 10344472"/>
              <a:gd name="connsiteY208" fmla="*/ 3130294 h 6858000"/>
              <a:gd name="connsiteX209" fmla="*/ 8952470 w 10344472"/>
              <a:gd name="connsiteY209" fmla="*/ 3115424 h 6858000"/>
              <a:gd name="connsiteX210" fmla="*/ 8952470 w 10344472"/>
              <a:gd name="connsiteY210" fmla="*/ 3855407 h 6858000"/>
              <a:gd name="connsiteX211" fmla="*/ 8352982 w 10344472"/>
              <a:gd name="connsiteY211" fmla="*/ 3855407 h 6858000"/>
              <a:gd name="connsiteX212" fmla="*/ 8352982 w 10344472"/>
              <a:gd name="connsiteY212" fmla="*/ 2062888 h 6858000"/>
              <a:gd name="connsiteX213" fmla="*/ 8951595 w 10344472"/>
              <a:gd name="connsiteY213" fmla="*/ 2062888 h 6858000"/>
              <a:gd name="connsiteX214" fmla="*/ 8951595 w 10344472"/>
              <a:gd name="connsiteY214" fmla="*/ 2618604 h 6858000"/>
              <a:gd name="connsiteX215" fmla="*/ 8990667 w 10344472"/>
              <a:gd name="connsiteY215" fmla="*/ 2579243 h 6858000"/>
              <a:gd name="connsiteX216" fmla="*/ 9449030 w 10344472"/>
              <a:gd name="connsiteY216" fmla="*/ 2093211 h 6858000"/>
              <a:gd name="connsiteX217" fmla="*/ 9524550 w 10344472"/>
              <a:gd name="connsiteY217" fmla="*/ 2061139 h 6858000"/>
              <a:gd name="connsiteX218" fmla="*/ 5280607 w 10344472"/>
              <a:gd name="connsiteY218" fmla="*/ 2061139 h 6858000"/>
              <a:gd name="connsiteX219" fmla="*/ 5264570 w 10344472"/>
              <a:gd name="connsiteY219" fmla="*/ 2074842 h 6858000"/>
              <a:gd name="connsiteX220" fmla="*/ 5094870 w 10344472"/>
              <a:gd name="connsiteY220" fmla="*/ 2664671 h 6858000"/>
              <a:gd name="connsiteX221" fmla="*/ 4793085 w 10344472"/>
              <a:gd name="connsiteY221" fmla="*/ 3709043 h 6858000"/>
              <a:gd name="connsiteX222" fmla="*/ 4750806 w 10344472"/>
              <a:gd name="connsiteY222" fmla="*/ 3855698 h 6858000"/>
              <a:gd name="connsiteX223" fmla="*/ 5353501 w 10344472"/>
              <a:gd name="connsiteY223" fmla="*/ 3855698 h 6858000"/>
              <a:gd name="connsiteX224" fmla="*/ 5871347 w 10344472"/>
              <a:gd name="connsiteY224" fmla="*/ 2062305 h 6858000"/>
              <a:gd name="connsiteX225" fmla="*/ 5859392 w 10344472"/>
              <a:gd name="connsiteY225" fmla="*/ 2061431 h 6858000"/>
              <a:gd name="connsiteX226" fmla="*/ 5280607 w 10344472"/>
              <a:gd name="connsiteY226" fmla="*/ 2061139 h 6858000"/>
              <a:gd name="connsiteX227" fmla="*/ 0 w 10344472"/>
              <a:gd name="connsiteY227" fmla="*/ 0 h 6858000"/>
              <a:gd name="connsiteX228" fmla="*/ 6707236 w 10344472"/>
              <a:gd name="connsiteY228" fmla="*/ 0 h 6858000"/>
              <a:gd name="connsiteX229" fmla="*/ 6114289 w 10344472"/>
              <a:gd name="connsiteY229" fmla="*/ 2060916 h 6858000"/>
              <a:gd name="connsiteX230" fmla="*/ 6560000 w 10344472"/>
              <a:gd name="connsiteY230" fmla="*/ 2061141 h 6858000"/>
              <a:gd name="connsiteX231" fmla="*/ 6564947 w 10344472"/>
              <a:gd name="connsiteY231" fmla="*/ 2061503 h 6858000"/>
              <a:gd name="connsiteX232" fmla="*/ 6705555 w 10344472"/>
              <a:gd name="connsiteY232" fmla="*/ 2061431 h 6858000"/>
              <a:gd name="connsiteX233" fmla="*/ 6726841 w 10344472"/>
              <a:gd name="connsiteY233" fmla="*/ 2073677 h 6858000"/>
              <a:gd name="connsiteX234" fmla="*/ 7211738 w 10344472"/>
              <a:gd name="connsiteY234" fmla="*/ 2996759 h 6858000"/>
              <a:gd name="connsiteX235" fmla="*/ 7282883 w 10344472"/>
              <a:gd name="connsiteY235" fmla="*/ 3131461 h 6858000"/>
              <a:gd name="connsiteX236" fmla="*/ 7292797 w 10344472"/>
              <a:gd name="connsiteY236" fmla="*/ 3150121 h 6858000"/>
              <a:gd name="connsiteX237" fmla="*/ 7304460 w 10344472"/>
              <a:gd name="connsiteY237" fmla="*/ 3108136 h 6858000"/>
              <a:gd name="connsiteX238" fmla="*/ 7479700 w 10344472"/>
              <a:gd name="connsiteY238" fmla="*/ 2453581 h 6858000"/>
              <a:gd name="connsiteX239" fmla="*/ 7580003 w 10344472"/>
              <a:gd name="connsiteY239" fmla="*/ 2077467 h 6858000"/>
              <a:gd name="connsiteX240" fmla="*/ 7601288 w 10344472"/>
              <a:gd name="connsiteY240" fmla="*/ 2060848 h 6858000"/>
              <a:gd name="connsiteX241" fmla="*/ 8180074 w 10344472"/>
              <a:gd name="connsiteY241" fmla="*/ 2061140 h 6858000"/>
              <a:gd name="connsiteX242" fmla="*/ 8198153 w 10344472"/>
              <a:gd name="connsiteY242" fmla="*/ 2061140 h 6858000"/>
              <a:gd name="connsiteX243" fmla="*/ 7679140 w 10344472"/>
              <a:gd name="connsiteY243" fmla="*/ 3855699 h 6858000"/>
              <a:gd name="connsiteX244" fmla="*/ 7661354 w 10344472"/>
              <a:gd name="connsiteY244" fmla="*/ 3855699 h 6858000"/>
              <a:gd name="connsiteX245" fmla="*/ 7081110 w 10344472"/>
              <a:gd name="connsiteY245" fmla="*/ 3855990 h 6858000"/>
              <a:gd name="connsiteX246" fmla="*/ 7055743 w 10344472"/>
              <a:gd name="connsiteY246" fmla="*/ 3840829 h 6858000"/>
              <a:gd name="connsiteX247" fmla="*/ 6762997 w 10344472"/>
              <a:gd name="connsiteY247" fmla="*/ 3290070 h 6858000"/>
              <a:gd name="connsiteX248" fmla="*/ 6497367 w 10344472"/>
              <a:gd name="connsiteY248" fmla="*/ 2790626 h 6858000"/>
              <a:gd name="connsiteX249" fmla="*/ 6488620 w 10344472"/>
              <a:gd name="connsiteY249" fmla="*/ 2776339 h 6858000"/>
              <a:gd name="connsiteX250" fmla="*/ 6200539 w 10344472"/>
              <a:gd name="connsiteY250" fmla="*/ 3855116 h 6858000"/>
              <a:gd name="connsiteX251" fmla="*/ 6054232 w 10344472"/>
              <a:gd name="connsiteY251" fmla="*/ 3855116 h 6858000"/>
              <a:gd name="connsiteX252" fmla="*/ 5594353 w 10344472"/>
              <a:gd name="connsiteY252" fmla="*/ 3861048 h 6858000"/>
              <a:gd name="connsiteX253" fmla="*/ 5487296 w 10344472"/>
              <a:gd name="connsiteY253" fmla="*/ 4231534 h 6858000"/>
              <a:gd name="connsiteX254" fmla="*/ 5465213 w 10344472"/>
              <a:gd name="connsiteY254" fmla="*/ 4221243 h 6858000"/>
              <a:gd name="connsiteX255" fmla="*/ 5366331 w 10344472"/>
              <a:gd name="connsiteY255" fmla="*/ 4209653 h 6858000"/>
              <a:gd name="connsiteX256" fmla="*/ 5224040 w 10344472"/>
              <a:gd name="connsiteY256" fmla="*/ 4239684 h 6858000"/>
              <a:gd name="connsiteX257" fmla="*/ 5109740 w 10344472"/>
              <a:gd name="connsiteY257" fmla="*/ 4350477 h 6858000"/>
              <a:gd name="connsiteX258" fmla="*/ 5070669 w 10344472"/>
              <a:gd name="connsiteY258" fmla="*/ 4515501 h 6858000"/>
              <a:gd name="connsiteX259" fmla="*/ 5105658 w 10344472"/>
              <a:gd name="connsiteY259" fmla="*/ 4674110 h 6858000"/>
              <a:gd name="connsiteX260" fmla="*/ 5210044 w 10344472"/>
              <a:gd name="connsiteY260" fmla="*/ 4786070 h 6858000"/>
              <a:gd name="connsiteX261" fmla="*/ 5285527 w 10344472"/>
              <a:gd name="connsiteY261" fmla="*/ 4815335 h 6858000"/>
              <a:gd name="connsiteX262" fmla="*/ 5317561 w 10344472"/>
              <a:gd name="connsiteY262" fmla="*/ 4818924 h 6858000"/>
              <a:gd name="connsiteX263" fmla="*/ 4728343 w 10344472"/>
              <a:gd name="connsiteY263" fmla="*/ 6858000 h 6858000"/>
              <a:gd name="connsiteX264" fmla="*/ 0 w 10344472"/>
              <a:gd name="connsiteY264" fmla="*/ 6858000 h 6858000"/>
              <a:gd name="connsiteX265" fmla="*/ 0 w 10344472"/>
              <a:gd name="connsiteY265" fmla="*/ 0 h 6858000"/>
              <a:gd name="connsiteX0" fmla="*/ 9222182 w 10344472"/>
              <a:gd name="connsiteY0" fmla="*/ 4610259 h 6858000"/>
              <a:gd name="connsiteX1" fmla="*/ 9071727 w 10344472"/>
              <a:gd name="connsiteY1" fmla="*/ 4695394 h 6858000"/>
              <a:gd name="connsiteX2" fmla="*/ 9153369 w 10344472"/>
              <a:gd name="connsiteY2" fmla="*/ 4767993 h 6858000"/>
              <a:gd name="connsiteX3" fmla="*/ 9281664 w 10344472"/>
              <a:gd name="connsiteY3" fmla="*/ 4663906 h 6858000"/>
              <a:gd name="connsiteX4" fmla="*/ 9281664 w 10344472"/>
              <a:gd name="connsiteY4" fmla="*/ 4610259 h 6858000"/>
              <a:gd name="connsiteX5" fmla="*/ 9222182 w 10344472"/>
              <a:gd name="connsiteY5" fmla="*/ 4610259 h 6858000"/>
              <a:gd name="connsiteX6" fmla="*/ 3325272 w 10344472"/>
              <a:gd name="connsiteY6" fmla="*/ 4610259 h 6858000"/>
              <a:gd name="connsiteX7" fmla="*/ 3384755 w 10344472"/>
              <a:gd name="connsiteY7" fmla="*/ 4610259 h 6858000"/>
              <a:gd name="connsiteX8" fmla="*/ 3384755 w 10344472"/>
              <a:gd name="connsiteY8" fmla="*/ 4663906 h 6858000"/>
              <a:gd name="connsiteX9" fmla="*/ 3256460 w 10344472"/>
              <a:gd name="connsiteY9" fmla="*/ 4767993 h 6858000"/>
              <a:gd name="connsiteX10" fmla="*/ 3174817 w 10344472"/>
              <a:gd name="connsiteY10" fmla="*/ 4695394 h 6858000"/>
              <a:gd name="connsiteX11" fmla="*/ 3325272 w 10344472"/>
              <a:gd name="connsiteY11" fmla="*/ 4610259 h 6858000"/>
              <a:gd name="connsiteX12" fmla="*/ 4369419 w 10344472"/>
              <a:gd name="connsiteY12" fmla="*/ 4467101 h 6858000"/>
              <a:gd name="connsiteX13" fmla="*/ 4444355 w 10344472"/>
              <a:gd name="connsiteY13" fmla="*/ 4501214 h 6858000"/>
              <a:gd name="connsiteX14" fmla="*/ 4474679 w 10344472"/>
              <a:gd name="connsiteY14" fmla="*/ 4598596 h 6858000"/>
              <a:gd name="connsiteX15" fmla="*/ 4444355 w 10344472"/>
              <a:gd name="connsiteY15" fmla="*/ 4697726 h 6858000"/>
              <a:gd name="connsiteX16" fmla="*/ 4369419 w 10344472"/>
              <a:gd name="connsiteY16" fmla="*/ 4731839 h 6858000"/>
              <a:gd name="connsiteX17" fmla="*/ 4294192 w 10344472"/>
              <a:gd name="connsiteY17" fmla="*/ 4697726 h 6858000"/>
              <a:gd name="connsiteX18" fmla="*/ 4263576 w 10344472"/>
              <a:gd name="connsiteY18" fmla="*/ 4599470 h 6858000"/>
              <a:gd name="connsiteX19" fmla="*/ 4294192 w 10344472"/>
              <a:gd name="connsiteY19" fmla="*/ 4501214 h 6858000"/>
              <a:gd name="connsiteX20" fmla="*/ 4369419 w 10344472"/>
              <a:gd name="connsiteY20" fmla="*/ 4467101 h 6858000"/>
              <a:gd name="connsiteX21" fmla="*/ 8728245 w 10344472"/>
              <a:gd name="connsiteY21" fmla="*/ 4432406 h 6858000"/>
              <a:gd name="connsiteX22" fmla="*/ 8587121 w 10344472"/>
              <a:gd name="connsiteY22" fmla="*/ 4595972 h 6858000"/>
              <a:gd name="connsiteX23" fmla="*/ 8587121 w 10344472"/>
              <a:gd name="connsiteY23" fmla="*/ 4602678 h 6858000"/>
              <a:gd name="connsiteX24" fmla="*/ 8729120 w 10344472"/>
              <a:gd name="connsiteY24" fmla="*/ 4765369 h 6858000"/>
              <a:gd name="connsiteX25" fmla="*/ 8861206 w 10344472"/>
              <a:gd name="connsiteY25" fmla="*/ 4602678 h 6858000"/>
              <a:gd name="connsiteX26" fmla="*/ 8861206 w 10344472"/>
              <a:gd name="connsiteY26" fmla="*/ 4595972 h 6858000"/>
              <a:gd name="connsiteX27" fmla="*/ 8728245 w 10344472"/>
              <a:gd name="connsiteY27" fmla="*/ 4432406 h 6858000"/>
              <a:gd name="connsiteX28" fmla="*/ 7450543 w 10344472"/>
              <a:gd name="connsiteY28" fmla="*/ 4432406 h 6858000"/>
              <a:gd name="connsiteX29" fmla="*/ 7309419 w 10344472"/>
              <a:gd name="connsiteY29" fmla="*/ 4595972 h 6858000"/>
              <a:gd name="connsiteX30" fmla="*/ 7309419 w 10344472"/>
              <a:gd name="connsiteY30" fmla="*/ 4602678 h 6858000"/>
              <a:gd name="connsiteX31" fmla="*/ 7450543 w 10344472"/>
              <a:gd name="connsiteY31" fmla="*/ 4765369 h 6858000"/>
              <a:gd name="connsiteX32" fmla="*/ 7591668 w 10344472"/>
              <a:gd name="connsiteY32" fmla="*/ 4602678 h 6858000"/>
              <a:gd name="connsiteX33" fmla="*/ 7591668 w 10344472"/>
              <a:gd name="connsiteY33" fmla="*/ 4596847 h 6858000"/>
              <a:gd name="connsiteX34" fmla="*/ 7450543 w 10344472"/>
              <a:gd name="connsiteY34" fmla="*/ 4432406 h 6858000"/>
              <a:gd name="connsiteX35" fmla="*/ 4629508 w 10344472"/>
              <a:gd name="connsiteY35" fmla="*/ 4383423 h 6858000"/>
              <a:gd name="connsiteX36" fmla="*/ 4629508 w 10344472"/>
              <a:gd name="connsiteY36" fmla="*/ 4656033 h 6858000"/>
              <a:gd name="connsiteX37" fmla="*/ 4644962 w 10344472"/>
              <a:gd name="connsiteY37" fmla="*/ 4751374 h 6858000"/>
              <a:gd name="connsiteX38" fmla="*/ 4694822 w 10344472"/>
              <a:gd name="connsiteY38" fmla="*/ 4805021 h 6858000"/>
              <a:gd name="connsiteX39" fmla="*/ 4772966 w 10344472"/>
              <a:gd name="connsiteY39" fmla="*/ 4823972 h 6858000"/>
              <a:gd name="connsiteX40" fmla="*/ 4854025 w 10344472"/>
              <a:gd name="connsiteY40" fmla="*/ 4804146 h 6858000"/>
              <a:gd name="connsiteX41" fmla="*/ 4916131 w 10344472"/>
              <a:gd name="connsiteY41" fmla="*/ 4749916 h 6858000"/>
              <a:gd name="connsiteX42" fmla="*/ 4916131 w 10344472"/>
              <a:gd name="connsiteY42" fmla="*/ 4814351 h 6858000"/>
              <a:gd name="connsiteX43" fmla="*/ 5022266 w 10344472"/>
              <a:gd name="connsiteY43" fmla="*/ 4814351 h 6858000"/>
              <a:gd name="connsiteX44" fmla="*/ 5022266 w 10344472"/>
              <a:gd name="connsiteY44" fmla="*/ 4383423 h 6858000"/>
              <a:gd name="connsiteX45" fmla="*/ 4907967 w 10344472"/>
              <a:gd name="connsiteY45" fmla="*/ 4383423 h 6858000"/>
              <a:gd name="connsiteX46" fmla="*/ 4907967 w 10344472"/>
              <a:gd name="connsiteY46" fmla="*/ 4565358 h 6858000"/>
              <a:gd name="connsiteX47" fmla="*/ 4899511 w 10344472"/>
              <a:gd name="connsiteY47" fmla="*/ 4681691 h 6858000"/>
              <a:gd name="connsiteX48" fmla="*/ 4867729 w 10344472"/>
              <a:gd name="connsiteY48" fmla="*/ 4721343 h 6858000"/>
              <a:gd name="connsiteX49" fmla="*/ 4815245 w 10344472"/>
              <a:gd name="connsiteY49" fmla="*/ 4737379 h 6858000"/>
              <a:gd name="connsiteX50" fmla="*/ 4772966 w 10344472"/>
              <a:gd name="connsiteY50" fmla="*/ 4725425 h 6858000"/>
              <a:gd name="connsiteX51" fmla="*/ 4749931 w 10344472"/>
              <a:gd name="connsiteY51" fmla="*/ 4693061 h 6858000"/>
              <a:gd name="connsiteX52" fmla="*/ 4743516 w 10344472"/>
              <a:gd name="connsiteY52" fmla="*/ 4581685 h 6858000"/>
              <a:gd name="connsiteX53" fmla="*/ 4743516 w 10344472"/>
              <a:gd name="connsiteY53" fmla="*/ 4383715 h 6858000"/>
              <a:gd name="connsiteX54" fmla="*/ 4743516 w 10344472"/>
              <a:gd name="connsiteY54" fmla="*/ 4383423 h 6858000"/>
              <a:gd name="connsiteX55" fmla="*/ 4629508 w 10344472"/>
              <a:gd name="connsiteY55" fmla="*/ 4383423 h 6858000"/>
              <a:gd name="connsiteX56" fmla="*/ 9917600 w 10344472"/>
              <a:gd name="connsiteY56" fmla="*/ 4382841 h 6858000"/>
              <a:gd name="connsiteX57" fmla="*/ 9991078 w 10344472"/>
              <a:gd name="connsiteY57" fmla="*/ 4382841 h 6858000"/>
              <a:gd name="connsiteX58" fmla="*/ 10123164 w 10344472"/>
              <a:gd name="connsiteY58" fmla="*/ 4692479 h 6858000"/>
              <a:gd name="connsiteX59" fmla="*/ 10243003 w 10344472"/>
              <a:gd name="connsiteY59" fmla="*/ 4382841 h 6858000"/>
              <a:gd name="connsiteX60" fmla="*/ 10313274 w 10344472"/>
              <a:gd name="connsiteY60" fmla="*/ 4382841 h 6858000"/>
              <a:gd name="connsiteX61" fmla="*/ 10074469 w 10344472"/>
              <a:gd name="connsiteY61" fmla="*/ 4965089 h 6858000"/>
              <a:gd name="connsiteX62" fmla="*/ 10005074 w 10344472"/>
              <a:gd name="connsiteY62" fmla="*/ 4965089 h 6858000"/>
              <a:gd name="connsiteX63" fmla="*/ 10087007 w 10344472"/>
              <a:gd name="connsiteY63" fmla="*/ 4770326 h 6858000"/>
              <a:gd name="connsiteX64" fmla="*/ 9917600 w 10344472"/>
              <a:gd name="connsiteY64" fmla="*/ 4382841 h 6858000"/>
              <a:gd name="connsiteX65" fmla="*/ 7966639 w 10344472"/>
              <a:gd name="connsiteY65" fmla="*/ 4375843 h 6858000"/>
              <a:gd name="connsiteX66" fmla="*/ 8092894 w 10344472"/>
              <a:gd name="connsiteY66" fmla="*/ 4456897 h 6858000"/>
              <a:gd name="connsiteX67" fmla="*/ 8240724 w 10344472"/>
              <a:gd name="connsiteY67" fmla="*/ 4375843 h 6858000"/>
              <a:gd name="connsiteX68" fmla="*/ 8386223 w 10344472"/>
              <a:gd name="connsiteY68" fmla="*/ 4547573 h 6858000"/>
              <a:gd name="connsiteX69" fmla="*/ 8386223 w 10344472"/>
              <a:gd name="connsiteY69" fmla="*/ 4815226 h 6858000"/>
              <a:gd name="connsiteX70" fmla="*/ 8317702 w 10344472"/>
              <a:gd name="connsiteY70" fmla="*/ 4815226 h 6858000"/>
              <a:gd name="connsiteX71" fmla="*/ 8317702 w 10344472"/>
              <a:gd name="connsiteY71" fmla="*/ 4542616 h 6858000"/>
              <a:gd name="connsiteX72" fmla="*/ 8226145 w 10344472"/>
              <a:gd name="connsiteY72" fmla="*/ 4435322 h 6858000"/>
              <a:gd name="connsiteX73" fmla="*/ 8112138 w 10344472"/>
              <a:gd name="connsiteY73" fmla="*/ 4551071 h 6858000"/>
              <a:gd name="connsiteX74" fmla="*/ 8112138 w 10344472"/>
              <a:gd name="connsiteY74" fmla="*/ 4815226 h 6858000"/>
              <a:gd name="connsiteX75" fmla="*/ 8043617 w 10344472"/>
              <a:gd name="connsiteY75" fmla="*/ 4815226 h 6858000"/>
              <a:gd name="connsiteX76" fmla="*/ 8043617 w 10344472"/>
              <a:gd name="connsiteY76" fmla="*/ 4542616 h 6858000"/>
              <a:gd name="connsiteX77" fmla="*/ 7952060 w 10344472"/>
              <a:gd name="connsiteY77" fmla="*/ 4435322 h 6858000"/>
              <a:gd name="connsiteX78" fmla="*/ 7838053 w 10344472"/>
              <a:gd name="connsiteY78" fmla="*/ 4551071 h 6858000"/>
              <a:gd name="connsiteX79" fmla="*/ 7838053 w 10344472"/>
              <a:gd name="connsiteY79" fmla="*/ 4815226 h 6858000"/>
              <a:gd name="connsiteX80" fmla="*/ 7769532 w 10344472"/>
              <a:gd name="connsiteY80" fmla="*/ 4815226 h 6858000"/>
              <a:gd name="connsiteX81" fmla="*/ 7769532 w 10344472"/>
              <a:gd name="connsiteY81" fmla="*/ 4383132 h 6858000"/>
              <a:gd name="connsiteX82" fmla="*/ 7837761 w 10344472"/>
              <a:gd name="connsiteY82" fmla="*/ 4383132 h 6858000"/>
              <a:gd name="connsiteX83" fmla="*/ 7837761 w 10344472"/>
              <a:gd name="connsiteY83" fmla="*/ 4449316 h 6858000"/>
              <a:gd name="connsiteX84" fmla="*/ 7966639 w 10344472"/>
              <a:gd name="connsiteY84" fmla="*/ 4375843 h 6858000"/>
              <a:gd name="connsiteX85" fmla="*/ 9692209 w 10344472"/>
              <a:gd name="connsiteY85" fmla="*/ 4375552 h 6858000"/>
              <a:gd name="connsiteX86" fmla="*/ 9844121 w 10344472"/>
              <a:gd name="connsiteY86" fmla="*/ 4549906 h 6858000"/>
              <a:gd name="connsiteX87" fmla="*/ 9844121 w 10344472"/>
              <a:gd name="connsiteY87" fmla="*/ 4814935 h 6858000"/>
              <a:gd name="connsiteX88" fmla="*/ 9775600 w 10344472"/>
              <a:gd name="connsiteY88" fmla="*/ 4814935 h 6858000"/>
              <a:gd name="connsiteX89" fmla="*/ 9775600 w 10344472"/>
              <a:gd name="connsiteY89" fmla="*/ 4544949 h 6858000"/>
              <a:gd name="connsiteX90" fmla="*/ 9674131 w 10344472"/>
              <a:gd name="connsiteY90" fmla="*/ 4435030 h 6858000"/>
              <a:gd name="connsiteX91" fmla="*/ 9553416 w 10344472"/>
              <a:gd name="connsiteY91" fmla="*/ 4553113 h 6858000"/>
              <a:gd name="connsiteX92" fmla="*/ 9553416 w 10344472"/>
              <a:gd name="connsiteY92" fmla="*/ 4814935 h 6858000"/>
              <a:gd name="connsiteX93" fmla="*/ 9484895 w 10344472"/>
              <a:gd name="connsiteY93" fmla="*/ 4814935 h 6858000"/>
              <a:gd name="connsiteX94" fmla="*/ 9484895 w 10344472"/>
              <a:gd name="connsiteY94" fmla="*/ 4383133 h 6858000"/>
              <a:gd name="connsiteX95" fmla="*/ 9553416 w 10344472"/>
              <a:gd name="connsiteY95" fmla="*/ 4383133 h 6858000"/>
              <a:gd name="connsiteX96" fmla="*/ 9553416 w 10344472"/>
              <a:gd name="connsiteY96" fmla="*/ 4451649 h 6858000"/>
              <a:gd name="connsiteX97" fmla="*/ 9692209 w 10344472"/>
              <a:gd name="connsiteY97" fmla="*/ 4375552 h 6858000"/>
              <a:gd name="connsiteX98" fmla="*/ 9192440 w 10344472"/>
              <a:gd name="connsiteY98" fmla="*/ 4375552 h 6858000"/>
              <a:gd name="connsiteX99" fmla="*/ 9350185 w 10344472"/>
              <a:gd name="connsiteY99" fmla="*/ 4530079 h 6858000"/>
              <a:gd name="connsiteX100" fmla="*/ 9350185 w 10344472"/>
              <a:gd name="connsiteY100" fmla="*/ 4814935 h 6858000"/>
              <a:gd name="connsiteX101" fmla="*/ 9281664 w 10344472"/>
              <a:gd name="connsiteY101" fmla="*/ 4814935 h 6858000"/>
              <a:gd name="connsiteX102" fmla="*/ 9281664 w 10344472"/>
              <a:gd name="connsiteY102" fmla="*/ 4760413 h 6858000"/>
              <a:gd name="connsiteX103" fmla="*/ 9146954 w 10344472"/>
              <a:gd name="connsiteY103" fmla="*/ 4822224 h 6858000"/>
              <a:gd name="connsiteX104" fmla="*/ 9003497 w 10344472"/>
              <a:gd name="connsiteY104" fmla="*/ 4695394 h 6858000"/>
              <a:gd name="connsiteX105" fmla="*/ 9219849 w 10344472"/>
              <a:gd name="connsiteY105" fmla="*/ 4561568 h 6858000"/>
              <a:gd name="connsiteX106" fmla="*/ 9281664 w 10344472"/>
              <a:gd name="connsiteY106" fmla="*/ 4561568 h 6858000"/>
              <a:gd name="connsiteX107" fmla="*/ 9281664 w 10344472"/>
              <a:gd name="connsiteY107" fmla="*/ 4530079 h 6858000"/>
              <a:gd name="connsiteX108" fmla="*/ 9189234 w 10344472"/>
              <a:gd name="connsiteY108" fmla="*/ 4432698 h 6858000"/>
              <a:gd name="connsiteX109" fmla="*/ 9090096 w 10344472"/>
              <a:gd name="connsiteY109" fmla="*/ 4510253 h 6858000"/>
              <a:gd name="connsiteX110" fmla="*/ 9021575 w 10344472"/>
              <a:gd name="connsiteY110" fmla="*/ 4510253 h 6858000"/>
              <a:gd name="connsiteX111" fmla="*/ 9192440 w 10344472"/>
              <a:gd name="connsiteY111" fmla="*/ 4375552 h 6858000"/>
              <a:gd name="connsiteX112" fmla="*/ 8735535 w 10344472"/>
              <a:gd name="connsiteY112" fmla="*/ 4375552 h 6858000"/>
              <a:gd name="connsiteX113" fmla="*/ 8932060 w 10344472"/>
              <a:gd name="connsiteY113" fmla="*/ 4592765 h 6858000"/>
              <a:gd name="connsiteX114" fmla="*/ 8932060 w 10344472"/>
              <a:gd name="connsiteY114" fmla="*/ 4599471 h 6858000"/>
              <a:gd name="connsiteX115" fmla="*/ 8735535 w 10344472"/>
              <a:gd name="connsiteY115" fmla="*/ 4822515 h 6858000"/>
              <a:gd name="connsiteX116" fmla="*/ 8589453 w 10344472"/>
              <a:gd name="connsiteY116" fmla="*/ 4744085 h 6858000"/>
              <a:gd name="connsiteX117" fmla="*/ 8589453 w 10344472"/>
              <a:gd name="connsiteY117" fmla="*/ 4965380 h 6858000"/>
              <a:gd name="connsiteX118" fmla="*/ 8520932 w 10344472"/>
              <a:gd name="connsiteY118" fmla="*/ 4965380 h 6858000"/>
              <a:gd name="connsiteX119" fmla="*/ 8520932 w 10344472"/>
              <a:gd name="connsiteY119" fmla="*/ 4383133 h 6858000"/>
              <a:gd name="connsiteX120" fmla="*/ 8589453 w 10344472"/>
              <a:gd name="connsiteY120" fmla="*/ 4383133 h 6858000"/>
              <a:gd name="connsiteX121" fmla="*/ 8589453 w 10344472"/>
              <a:gd name="connsiteY121" fmla="*/ 4455731 h 6858000"/>
              <a:gd name="connsiteX122" fmla="*/ 8735535 w 10344472"/>
              <a:gd name="connsiteY122" fmla="*/ 4375552 h 6858000"/>
              <a:gd name="connsiteX123" fmla="*/ 7450543 w 10344472"/>
              <a:gd name="connsiteY123" fmla="*/ 4375552 h 6858000"/>
              <a:gd name="connsiteX124" fmla="*/ 7662813 w 10344472"/>
              <a:gd name="connsiteY124" fmla="*/ 4595389 h 6858000"/>
              <a:gd name="connsiteX125" fmla="*/ 7662813 w 10344472"/>
              <a:gd name="connsiteY125" fmla="*/ 4602095 h 6858000"/>
              <a:gd name="connsiteX126" fmla="*/ 7449668 w 10344472"/>
              <a:gd name="connsiteY126" fmla="*/ 4822515 h 6858000"/>
              <a:gd name="connsiteX127" fmla="*/ 7238273 w 10344472"/>
              <a:gd name="connsiteY127" fmla="*/ 4602678 h 6858000"/>
              <a:gd name="connsiteX128" fmla="*/ 7238273 w 10344472"/>
              <a:gd name="connsiteY128" fmla="*/ 4595972 h 6858000"/>
              <a:gd name="connsiteX129" fmla="*/ 7450543 w 10344472"/>
              <a:gd name="connsiteY129" fmla="*/ 4375552 h 6858000"/>
              <a:gd name="connsiteX130" fmla="*/ 6977308 w 10344472"/>
              <a:gd name="connsiteY130" fmla="*/ 4375552 h 6858000"/>
              <a:gd name="connsiteX131" fmla="*/ 7164794 w 10344472"/>
              <a:gd name="connsiteY131" fmla="*/ 4526581 h 6858000"/>
              <a:gd name="connsiteX132" fmla="*/ 7097148 w 10344472"/>
              <a:gd name="connsiteY132" fmla="*/ 4526581 h 6858000"/>
              <a:gd name="connsiteX133" fmla="*/ 6977308 w 10344472"/>
              <a:gd name="connsiteY133" fmla="*/ 4432406 h 6858000"/>
              <a:gd name="connsiteX134" fmla="*/ 6838517 w 10344472"/>
              <a:gd name="connsiteY134" fmla="*/ 4596847 h 6858000"/>
              <a:gd name="connsiteX135" fmla="*/ 6838517 w 10344472"/>
              <a:gd name="connsiteY135" fmla="*/ 4603553 h 6858000"/>
              <a:gd name="connsiteX136" fmla="*/ 6979641 w 10344472"/>
              <a:gd name="connsiteY136" fmla="*/ 4765369 h 6858000"/>
              <a:gd name="connsiteX137" fmla="*/ 7103563 w 10344472"/>
              <a:gd name="connsiteY137" fmla="*/ 4659532 h 6858000"/>
              <a:gd name="connsiteX138" fmla="*/ 7167127 w 10344472"/>
              <a:gd name="connsiteY138" fmla="*/ 4659532 h 6858000"/>
              <a:gd name="connsiteX139" fmla="*/ 6978766 w 10344472"/>
              <a:gd name="connsiteY139" fmla="*/ 4822224 h 6858000"/>
              <a:gd name="connsiteX140" fmla="*/ 6767371 w 10344472"/>
              <a:gd name="connsiteY140" fmla="*/ 4603553 h 6858000"/>
              <a:gd name="connsiteX141" fmla="*/ 6767371 w 10344472"/>
              <a:gd name="connsiteY141" fmla="*/ 4596847 h 6858000"/>
              <a:gd name="connsiteX142" fmla="*/ 6977308 w 10344472"/>
              <a:gd name="connsiteY142" fmla="*/ 4375552 h 6858000"/>
              <a:gd name="connsiteX143" fmla="*/ 3295240 w 10344472"/>
              <a:gd name="connsiteY143" fmla="*/ 4375552 h 6858000"/>
              <a:gd name="connsiteX144" fmla="*/ 3124374 w 10344472"/>
              <a:gd name="connsiteY144" fmla="*/ 4510253 h 6858000"/>
              <a:gd name="connsiteX145" fmla="*/ 3192895 w 10344472"/>
              <a:gd name="connsiteY145" fmla="*/ 4510253 h 6858000"/>
              <a:gd name="connsiteX146" fmla="*/ 3292032 w 10344472"/>
              <a:gd name="connsiteY146" fmla="*/ 4432698 h 6858000"/>
              <a:gd name="connsiteX147" fmla="*/ 3384463 w 10344472"/>
              <a:gd name="connsiteY147" fmla="*/ 4530079 h 6858000"/>
              <a:gd name="connsiteX148" fmla="*/ 3384463 w 10344472"/>
              <a:gd name="connsiteY148" fmla="*/ 4561568 h 6858000"/>
              <a:gd name="connsiteX149" fmla="*/ 3322648 w 10344472"/>
              <a:gd name="connsiteY149" fmla="*/ 4561568 h 6858000"/>
              <a:gd name="connsiteX150" fmla="*/ 3106296 w 10344472"/>
              <a:gd name="connsiteY150" fmla="*/ 4695394 h 6858000"/>
              <a:gd name="connsiteX151" fmla="*/ 3249753 w 10344472"/>
              <a:gd name="connsiteY151" fmla="*/ 4822224 h 6858000"/>
              <a:gd name="connsiteX152" fmla="*/ 3384463 w 10344472"/>
              <a:gd name="connsiteY152" fmla="*/ 4760413 h 6858000"/>
              <a:gd name="connsiteX153" fmla="*/ 3384463 w 10344472"/>
              <a:gd name="connsiteY153" fmla="*/ 4814935 h 6858000"/>
              <a:gd name="connsiteX154" fmla="*/ 3452984 w 10344472"/>
              <a:gd name="connsiteY154" fmla="*/ 4814935 h 6858000"/>
              <a:gd name="connsiteX155" fmla="*/ 3452984 w 10344472"/>
              <a:gd name="connsiteY155" fmla="*/ 4530079 h 6858000"/>
              <a:gd name="connsiteX156" fmla="*/ 3295240 w 10344472"/>
              <a:gd name="connsiteY156" fmla="*/ 4375552 h 6858000"/>
              <a:gd name="connsiteX157" fmla="*/ 4369128 w 10344472"/>
              <a:gd name="connsiteY157" fmla="*/ 4374094 h 6858000"/>
              <a:gd name="connsiteX158" fmla="*/ 4254537 w 10344472"/>
              <a:gd name="connsiteY158" fmla="*/ 4402667 h 6858000"/>
              <a:gd name="connsiteX159" fmla="*/ 4174935 w 10344472"/>
              <a:gd name="connsiteY159" fmla="*/ 4483721 h 6858000"/>
              <a:gd name="connsiteX160" fmla="*/ 4146944 w 10344472"/>
              <a:gd name="connsiteY160" fmla="*/ 4593639 h 6858000"/>
              <a:gd name="connsiteX161" fmla="*/ 4174935 w 10344472"/>
              <a:gd name="connsiteY161" fmla="*/ 4719594 h 6858000"/>
              <a:gd name="connsiteX162" fmla="*/ 4256869 w 10344472"/>
              <a:gd name="connsiteY162" fmla="*/ 4798023 h 6858000"/>
              <a:gd name="connsiteX163" fmla="*/ 4370002 w 10344472"/>
              <a:gd name="connsiteY163" fmla="*/ 4824847 h 6858000"/>
              <a:gd name="connsiteX164" fmla="*/ 4529205 w 10344472"/>
              <a:gd name="connsiteY164" fmla="*/ 4760412 h 6858000"/>
              <a:gd name="connsiteX165" fmla="*/ 4592478 w 10344472"/>
              <a:gd name="connsiteY165" fmla="*/ 4598304 h 6858000"/>
              <a:gd name="connsiteX166" fmla="*/ 4529788 w 10344472"/>
              <a:gd name="connsiteY166" fmla="*/ 4437654 h 6858000"/>
              <a:gd name="connsiteX167" fmla="*/ 4369128 w 10344472"/>
              <a:gd name="connsiteY167" fmla="*/ 4374094 h 6858000"/>
              <a:gd name="connsiteX168" fmla="*/ 5366331 w 10344472"/>
              <a:gd name="connsiteY168" fmla="*/ 4312574 h 6858000"/>
              <a:gd name="connsiteX169" fmla="*/ 5453221 w 10344472"/>
              <a:gd name="connsiteY169" fmla="*/ 4337940 h 6858000"/>
              <a:gd name="connsiteX170" fmla="*/ 5455785 w 10344472"/>
              <a:gd name="connsiteY170" fmla="*/ 4340581 h 6858000"/>
              <a:gd name="connsiteX171" fmla="*/ 5410884 w 10344472"/>
              <a:gd name="connsiteY171" fmla="*/ 4495966 h 6858000"/>
              <a:gd name="connsiteX172" fmla="*/ 5368372 w 10344472"/>
              <a:gd name="connsiteY172" fmla="*/ 4495966 h 6858000"/>
              <a:gd name="connsiteX173" fmla="*/ 5368372 w 10344472"/>
              <a:gd name="connsiteY173" fmla="*/ 4596263 h 6858000"/>
              <a:gd name="connsiteX174" fmla="*/ 5381902 w 10344472"/>
              <a:gd name="connsiteY174" fmla="*/ 4596263 h 6858000"/>
              <a:gd name="connsiteX175" fmla="*/ 5346461 w 10344472"/>
              <a:gd name="connsiteY175" fmla="*/ 4718911 h 6858000"/>
              <a:gd name="connsiteX176" fmla="*/ 5296024 w 10344472"/>
              <a:gd name="connsiteY176" fmla="*/ 4709207 h 6858000"/>
              <a:gd name="connsiteX177" fmla="*/ 5241534 w 10344472"/>
              <a:gd name="connsiteY177" fmla="*/ 4669445 h 6858000"/>
              <a:gd name="connsiteX178" fmla="*/ 5194298 w 10344472"/>
              <a:gd name="connsiteY178" fmla="*/ 4510544 h 6858000"/>
              <a:gd name="connsiteX179" fmla="*/ 5240951 w 10344472"/>
              <a:gd name="connsiteY179" fmla="*/ 4362431 h 6858000"/>
              <a:gd name="connsiteX180" fmla="*/ 5366331 w 10344472"/>
              <a:gd name="connsiteY180" fmla="*/ 4312574 h 6858000"/>
              <a:gd name="connsiteX181" fmla="*/ 3701993 w 10344472"/>
              <a:gd name="connsiteY181" fmla="*/ 4219566 h 6858000"/>
              <a:gd name="connsiteX182" fmla="*/ 3920386 w 10344472"/>
              <a:gd name="connsiteY182" fmla="*/ 4564191 h 6858000"/>
              <a:gd name="connsiteX183" fmla="*/ 3920386 w 10344472"/>
              <a:gd name="connsiteY183" fmla="*/ 4814642 h 6858000"/>
              <a:gd name="connsiteX184" fmla="*/ 4040226 w 10344472"/>
              <a:gd name="connsiteY184" fmla="*/ 4814642 h 6858000"/>
              <a:gd name="connsiteX185" fmla="*/ 4040226 w 10344472"/>
              <a:gd name="connsiteY185" fmla="*/ 4565066 h 6858000"/>
              <a:gd name="connsiteX186" fmla="*/ 4259202 w 10344472"/>
              <a:gd name="connsiteY186" fmla="*/ 4219858 h 6858000"/>
              <a:gd name="connsiteX187" fmla="*/ 4120410 w 10344472"/>
              <a:gd name="connsiteY187" fmla="*/ 4219858 h 6858000"/>
              <a:gd name="connsiteX188" fmla="*/ 3983076 w 10344472"/>
              <a:gd name="connsiteY188" fmla="*/ 4455148 h 6858000"/>
              <a:gd name="connsiteX189" fmla="*/ 3842826 w 10344472"/>
              <a:gd name="connsiteY189" fmla="*/ 4219858 h 6858000"/>
              <a:gd name="connsiteX190" fmla="*/ 3842826 w 10344472"/>
              <a:gd name="connsiteY190" fmla="*/ 4219566 h 6858000"/>
              <a:gd name="connsiteX191" fmla="*/ 3701993 w 10344472"/>
              <a:gd name="connsiteY191" fmla="*/ 4219566 h 6858000"/>
              <a:gd name="connsiteX192" fmla="*/ 3112711 w 10344472"/>
              <a:gd name="connsiteY192" fmla="*/ 2062597 h 6858000"/>
              <a:gd name="connsiteX193" fmla="*/ 3112711 w 10344472"/>
              <a:gd name="connsiteY193" fmla="*/ 3855407 h 6858000"/>
              <a:gd name="connsiteX194" fmla="*/ 4592478 w 10344472"/>
              <a:gd name="connsiteY194" fmla="*/ 3855407 h 6858000"/>
              <a:gd name="connsiteX195" fmla="*/ 4592478 w 10344472"/>
              <a:gd name="connsiteY195" fmla="*/ 3361794 h 6858000"/>
              <a:gd name="connsiteX196" fmla="*/ 3710741 w 10344472"/>
              <a:gd name="connsiteY196" fmla="*/ 3361794 h 6858000"/>
              <a:gd name="connsiteX197" fmla="*/ 3710741 w 10344472"/>
              <a:gd name="connsiteY197" fmla="*/ 2062597 h 6858000"/>
              <a:gd name="connsiteX198" fmla="*/ 3112711 w 10344472"/>
              <a:gd name="connsiteY198" fmla="*/ 2062597 h 6858000"/>
              <a:gd name="connsiteX199" fmla="*/ 9524550 w 10344472"/>
              <a:gd name="connsiteY199" fmla="*/ 2061139 h 6858000"/>
              <a:gd name="connsiteX200" fmla="*/ 10233964 w 10344472"/>
              <a:gd name="connsiteY200" fmla="*/ 2062014 h 6858000"/>
              <a:gd name="connsiteX201" fmla="*/ 10261664 w 10344472"/>
              <a:gd name="connsiteY201" fmla="*/ 2062014 h 6858000"/>
              <a:gd name="connsiteX202" fmla="*/ 9436493 w 10344472"/>
              <a:gd name="connsiteY202" fmla="*/ 2879843 h 6858000"/>
              <a:gd name="connsiteX203" fmla="*/ 10344472 w 10344472"/>
              <a:gd name="connsiteY203" fmla="*/ 3856281 h 6858000"/>
              <a:gd name="connsiteX204" fmla="*/ 10330185 w 10344472"/>
              <a:gd name="connsiteY204" fmla="*/ 3856281 h 6858000"/>
              <a:gd name="connsiteX205" fmla="*/ 9609108 w 10344472"/>
              <a:gd name="connsiteY205" fmla="*/ 3856573 h 6858000"/>
              <a:gd name="connsiteX206" fmla="*/ 9587239 w 10344472"/>
              <a:gd name="connsiteY206" fmla="*/ 3846660 h 6858000"/>
              <a:gd name="connsiteX207" fmla="*/ 9072309 w 10344472"/>
              <a:gd name="connsiteY207" fmla="*/ 3253041 h 6858000"/>
              <a:gd name="connsiteX208" fmla="*/ 8965591 w 10344472"/>
              <a:gd name="connsiteY208" fmla="*/ 3130294 h 6858000"/>
              <a:gd name="connsiteX209" fmla="*/ 8952470 w 10344472"/>
              <a:gd name="connsiteY209" fmla="*/ 3115424 h 6858000"/>
              <a:gd name="connsiteX210" fmla="*/ 8952470 w 10344472"/>
              <a:gd name="connsiteY210" fmla="*/ 3855407 h 6858000"/>
              <a:gd name="connsiteX211" fmla="*/ 8352982 w 10344472"/>
              <a:gd name="connsiteY211" fmla="*/ 3855407 h 6858000"/>
              <a:gd name="connsiteX212" fmla="*/ 8352982 w 10344472"/>
              <a:gd name="connsiteY212" fmla="*/ 2062888 h 6858000"/>
              <a:gd name="connsiteX213" fmla="*/ 8951595 w 10344472"/>
              <a:gd name="connsiteY213" fmla="*/ 2062888 h 6858000"/>
              <a:gd name="connsiteX214" fmla="*/ 8951595 w 10344472"/>
              <a:gd name="connsiteY214" fmla="*/ 2618604 h 6858000"/>
              <a:gd name="connsiteX215" fmla="*/ 8990667 w 10344472"/>
              <a:gd name="connsiteY215" fmla="*/ 2579243 h 6858000"/>
              <a:gd name="connsiteX216" fmla="*/ 9449030 w 10344472"/>
              <a:gd name="connsiteY216" fmla="*/ 2093211 h 6858000"/>
              <a:gd name="connsiteX217" fmla="*/ 9524550 w 10344472"/>
              <a:gd name="connsiteY217" fmla="*/ 2061139 h 6858000"/>
              <a:gd name="connsiteX218" fmla="*/ 5280607 w 10344472"/>
              <a:gd name="connsiteY218" fmla="*/ 2061139 h 6858000"/>
              <a:gd name="connsiteX219" fmla="*/ 5264570 w 10344472"/>
              <a:gd name="connsiteY219" fmla="*/ 2074842 h 6858000"/>
              <a:gd name="connsiteX220" fmla="*/ 5094870 w 10344472"/>
              <a:gd name="connsiteY220" fmla="*/ 2664671 h 6858000"/>
              <a:gd name="connsiteX221" fmla="*/ 4793085 w 10344472"/>
              <a:gd name="connsiteY221" fmla="*/ 3709043 h 6858000"/>
              <a:gd name="connsiteX222" fmla="*/ 4750806 w 10344472"/>
              <a:gd name="connsiteY222" fmla="*/ 3855698 h 6858000"/>
              <a:gd name="connsiteX223" fmla="*/ 5353501 w 10344472"/>
              <a:gd name="connsiteY223" fmla="*/ 3855698 h 6858000"/>
              <a:gd name="connsiteX224" fmla="*/ 5871347 w 10344472"/>
              <a:gd name="connsiteY224" fmla="*/ 2062305 h 6858000"/>
              <a:gd name="connsiteX225" fmla="*/ 5859392 w 10344472"/>
              <a:gd name="connsiteY225" fmla="*/ 2061431 h 6858000"/>
              <a:gd name="connsiteX226" fmla="*/ 5280607 w 10344472"/>
              <a:gd name="connsiteY226" fmla="*/ 2061139 h 6858000"/>
              <a:gd name="connsiteX227" fmla="*/ 0 w 10344472"/>
              <a:gd name="connsiteY227" fmla="*/ 0 h 6858000"/>
              <a:gd name="connsiteX228" fmla="*/ 6707236 w 10344472"/>
              <a:gd name="connsiteY228" fmla="*/ 0 h 6858000"/>
              <a:gd name="connsiteX229" fmla="*/ 6114289 w 10344472"/>
              <a:gd name="connsiteY229" fmla="*/ 2060916 h 6858000"/>
              <a:gd name="connsiteX230" fmla="*/ 6560000 w 10344472"/>
              <a:gd name="connsiteY230" fmla="*/ 2061141 h 6858000"/>
              <a:gd name="connsiteX231" fmla="*/ 6564947 w 10344472"/>
              <a:gd name="connsiteY231" fmla="*/ 2061503 h 6858000"/>
              <a:gd name="connsiteX232" fmla="*/ 6705555 w 10344472"/>
              <a:gd name="connsiteY232" fmla="*/ 2061431 h 6858000"/>
              <a:gd name="connsiteX233" fmla="*/ 6726841 w 10344472"/>
              <a:gd name="connsiteY233" fmla="*/ 2073677 h 6858000"/>
              <a:gd name="connsiteX234" fmla="*/ 7211738 w 10344472"/>
              <a:gd name="connsiteY234" fmla="*/ 2996759 h 6858000"/>
              <a:gd name="connsiteX235" fmla="*/ 7282883 w 10344472"/>
              <a:gd name="connsiteY235" fmla="*/ 3131461 h 6858000"/>
              <a:gd name="connsiteX236" fmla="*/ 7292797 w 10344472"/>
              <a:gd name="connsiteY236" fmla="*/ 3150121 h 6858000"/>
              <a:gd name="connsiteX237" fmla="*/ 7304460 w 10344472"/>
              <a:gd name="connsiteY237" fmla="*/ 3108136 h 6858000"/>
              <a:gd name="connsiteX238" fmla="*/ 7479700 w 10344472"/>
              <a:gd name="connsiteY238" fmla="*/ 2453581 h 6858000"/>
              <a:gd name="connsiteX239" fmla="*/ 7580003 w 10344472"/>
              <a:gd name="connsiteY239" fmla="*/ 2077467 h 6858000"/>
              <a:gd name="connsiteX240" fmla="*/ 7601288 w 10344472"/>
              <a:gd name="connsiteY240" fmla="*/ 2060848 h 6858000"/>
              <a:gd name="connsiteX241" fmla="*/ 8180074 w 10344472"/>
              <a:gd name="connsiteY241" fmla="*/ 2061140 h 6858000"/>
              <a:gd name="connsiteX242" fmla="*/ 8198153 w 10344472"/>
              <a:gd name="connsiteY242" fmla="*/ 2061140 h 6858000"/>
              <a:gd name="connsiteX243" fmla="*/ 7679140 w 10344472"/>
              <a:gd name="connsiteY243" fmla="*/ 3855699 h 6858000"/>
              <a:gd name="connsiteX244" fmla="*/ 7661354 w 10344472"/>
              <a:gd name="connsiteY244" fmla="*/ 3855699 h 6858000"/>
              <a:gd name="connsiteX245" fmla="*/ 7081110 w 10344472"/>
              <a:gd name="connsiteY245" fmla="*/ 3855990 h 6858000"/>
              <a:gd name="connsiteX246" fmla="*/ 7055743 w 10344472"/>
              <a:gd name="connsiteY246" fmla="*/ 3840829 h 6858000"/>
              <a:gd name="connsiteX247" fmla="*/ 6762997 w 10344472"/>
              <a:gd name="connsiteY247" fmla="*/ 3290070 h 6858000"/>
              <a:gd name="connsiteX248" fmla="*/ 6497367 w 10344472"/>
              <a:gd name="connsiteY248" fmla="*/ 2790626 h 6858000"/>
              <a:gd name="connsiteX249" fmla="*/ 6488620 w 10344472"/>
              <a:gd name="connsiteY249" fmla="*/ 2776339 h 6858000"/>
              <a:gd name="connsiteX250" fmla="*/ 6200539 w 10344472"/>
              <a:gd name="connsiteY250" fmla="*/ 3855116 h 6858000"/>
              <a:gd name="connsiteX251" fmla="*/ 5594353 w 10344472"/>
              <a:gd name="connsiteY251" fmla="*/ 3861048 h 6858000"/>
              <a:gd name="connsiteX252" fmla="*/ 5487296 w 10344472"/>
              <a:gd name="connsiteY252" fmla="*/ 4231534 h 6858000"/>
              <a:gd name="connsiteX253" fmla="*/ 5465213 w 10344472"/>
              <a:gd name="connsiteY253" fmla="*/ 4221243 h 6858000"/>
              <a:gd name="connsiteX254" fmla="*/ 5366331 w 10344472"/>
              <a:gd name="connsiteY254" fmla="*/ 4209653 h 6858000"/>
              <a:gd name="connsiteX255" fmla="*/ 5224040 w 10344472"/>
              <a:gd name="connsiteY255" fmla="*/ 4239684 h 6858000"/>
              <a:gd name="connsiteX256" fmla="*/ 5109740 w 10344472"/>
              <a:gd name="connsiteY256" fmla="*/ 4350477 h 6858000"/>
              <a:gd name="connsiteX257" fmla="*/ 5070669 w 10344472"/>
              <a:gd name="connsiteY257" fmla="*/ 4515501 h 6858000"/>
              <a:gd name="connsiteX258" fmla="*/ 5105658 w 10344472"/>
              <a:gd name="connsiteY258" fmla="*/ 4674110 h 6858000"/>
              <a:gd name="connsiteX259" fmla="*/ 5210044 w 10344472"/>
              <a:gd name="connsiteY259" fmla="*/ 4786070 h 6858000"/>
              <a:gd name="connsiteX260" fmla="*/ 5285527 w 10344472"/>
              <a:gd name="connsiteY260" fmla="*/ 4815335 h 6858000"/>
              <a:gd name="connsiteX261" fmla="*/ 5317561 w 10344472"/>
              <a:gd name="connsiteY261" fmla="*/ 4818924 h 6858000"/>
              <a:gd name="connsiteX262" fmla="*/ 4728343 w 10344472"/>
              <a:gd name="connsiteY262" fmla="*/ 6858000 h 6858000"/>
              <a:gd name="connsiteX263" fmla="*/ 0 w 10344472"/>
              <a:gd name="connsiteY263" fmla="*/ 6858000 h 6858000"/>
              <a:gd name="connsiteX264" fmla="*/ 0 w 10344472"/>
              <a:gd name="connsiteY264" fmla="*/ 0 h 6858000"/>
              <a:gd name="connsiteX0" fmla="*/ 9222182 w 10344472"/>
              <a:gd name="connsiteY0" fmla="*/ 4610259 h 6858000"/>
              <a:gd name="connsiteX1" fmla="*/ 9071727 w 10344472"/>
              <a:gd name="connsiteY1" fmla="*/ 4695394 h 6858000"/>
              <a:gd name="connsiteX2" fmla="*/ 9153369 w 10344472"/>
              <a:gd name="connsiteY2" fmla="*/ 4767993 h 6858000"/>
              <a:gd name="connsiteX3" fmla="*/ 9281664 w 10344472"/>
              <a:gd name="connsiteY3" fmla="*/ 4663906 h 6858000"/>
              <a:gd name="connsiteX4" fmla="*/ 9281664 w 10344472"/>
              <a:gd name="connsiteY4" fmla="*/ 4610259 h 6858000"/>
              <a:gd name="connsiteX5" fmla="*/ 9222182 w 10344472"/>
              <a:gd name="connsiteY5" fmla="*/ 4610259 h 6858000"/>
              <a:gd name="connsiteX6" fmla="*/ 3325272 w 10344472"/>
              <a:gd name="connsiteY6" fmla="*/ 4610259 h 6858000"/>
              <a:gd name="connsiteX7" fmla="*/ 3384755 w 10344472"/>
              <a:gd name="connsiteY7" fmla="*/ 4610259 h 6858000"/>
              <a:gd name="connsiteX8" fmla="*/ 3384755 w 10344472"/>
              <a:gd name="connsiteY8" fmla="*/ 4663906 h 6858000"/>
              <a:gd name="connsiteX9" fmla="*/ 3256460 w 10344472"/>
              <a:gd name="connsiteY9" fmla="*/ 4767993 h 6858000"/>
              <a:gd name="connsiteX10" fmla="*/ 3174817 w 10344472"/>
              <a:gd name="connsiteY10" fmla="*/ 4695394 h 6858000"/>
              <a:gd name="connsiteX11" fmla="*/ 3325272 w 10344472"/>
              <a:gd name="connsiteY11" fmla="*/ 4610259 h 6858000"/>
              <a:gd name="connsiteX12" fmla="*/ 4369419 w 10344472"/>
              <a:gd name="connsiteY12" fmla="*/ 4467101 h 6858000"/>
              <a:gd name="connsiteX13" fmla="*/ 4444355 w 10344472"/>
              <a:gd name="connsiteY13" fmla="*/ 4501214 h 6858000"/>
              <a:gd name="connsiteX14" fmla="*/ 4474679 w 10344472"/>
              <a:gd name="connsiteY14" fmla="*/ 4598596 h 6858000"/>
              <a:gd name="connsiteX15" fmla="*/ 4444355 w 10344472"/>
              <a:gd name="connsiteY15" fmla="*/ 4697726 h 6858000"/>
              <a:gd name="connsiteX16" fmla="*/ 4369419 w 10344472"/>
              <a:gd name="connsiteY16" fmla="*/ 4731839 h 6858000"/>
              <a:gd name="connsiteX17" fmla="*/ 4294192 w 10344472"/>
              <a:gd name="connsiteY17" fmla="*/ 4697726 h 6858000"/>
              <a:gd name="connsiteX18" fmla="*/ 4263576 w 10344472"/>
              <a:gd name="connsiteY18" fmla="*/ 4599470 h 6858000"/>
              <a:gd name="connsiteX19" fmla="*/ 4294192 w 10344472"/>
              <a:gd name="connsiteY19" fmla="*/ 4501214 h 6858000"/>
              <a:gd name="connsiteX20" fmla="*/ 4369419 w 10344472"/>
              <a:gd name="connsiteY20" fmla="*/ 4467101 h 6858000"/>
              <a:gd name="connsiteX21" fmla="*/ 8728245 w 10344472"/>
              <a:gd name="connsiteY21" fmla="*/ 4432406 h 6858000"/>
              <a:gd name="connsiteX22" fmla="*/ 8587121 w 10344472"/>
              <a:gd name="connsiteY22" fmla="*/ 4595972 h 6858000"/>
              <a:gd name="connsiteX23" fmla="*/ 8587121 w 10344472"/>
              <a:gd name="connsiteY23" fmla="*/ 4602678 h 6858000"/>
              <a:gd name="connsiteX24" fmla="*/ 8729120 w 10344472"/>
              <a:gd name="connsiteY24" fmla="*/ 4765369 h 6858000"/>
              <a:gd name="connsiteX25" fmla="*/ 8861206 w 10344472"/>
              <a:gd name="connsiteY25" fmla="*/ 4602678 h 6858000"/>
              <a:gd name="connsiteX26" fmla="*/ 8861206 w 10344472"/>
              <a:gd name="connsiteY26" fmla="*/ 4595972 h 6858000"/>
              <a:gd name="connsiteX27" fmla="*/ 8728245 w 10344472"/>
              <a:gd name="connsiteY27" fmla="*/ 4432406 h 6858000"/>
              <a:gd name="connsiteX28" fmla="*/ 7450543 w 10344472"/>
              <a:gd name="connsiteY28" fmla="*/ 4432406 h 6858000"/>
              <a:gd name="connsiteX29" fmla="*/ 7309419 w 10344472"/>
              <a:gd name="connsiteY29" fmla="*/ 4595972 h 6858000"/>
              <a:gd name="connsiteX30" fmla="*/ 7309419 w 10344472"/>
              <a:gd name="connsiteY30" fmla="*/ 4602678 h 6858000"/>
              <a:gd name="connsiteX31" fmla="*/ 7450543 w 10344472"/>
              <a:gd name="connsiteY31" fmla="*/ 4765369 h 6858000"/>
              <a:gd name="connsiteX32" fmla="*/ 7591668 w 10344472"/>
              <a:gd name="connsiteY32" fmla="*/ 4602678 h 6858000"/>
              <a:gd name="connsiteX33" fmla="*/ 7591668 w 10344472"/>
              <a:gd name="connsiteY33" fmla="*/ 4596847 h 6858000"/>
              <a:gd name="connsiteX34" fmla="*/ 7450543 w 10344472"/>
              <a:gd name="connsiteY34" fmla="*/ 4432406 h 6858000"/>
              <a:gd name="connsiteX35" fmla="*/ 4629508 w 10344472"/>
              <a:gd name="connsiteY35" fmla="*/ 4383423 h 6858000"/>
              <a:gd name="connsiteX36" fmla="*/ 4629508 w 10344472"/>
              <a:gd name="connsiteY36" fmla="*/ 4656033 h 6858000"/>
              <a:gd name="connsiteX37" fmla="*/ 4644962 w 10344472"/>
              <a:gd name="connsiteY37" fmla="*/ 4751374 h 6858000"/>
              <a:gd name="connsiteX38" fmla="*/ 4694822 w 10344472"/>
              <a:gd name="connsiteY38" fmla="*/ 4805021 h 6858000"/>
              <a:gd name="connsiteX39" fmla="*/ 4772966 w 10344472"/>
              <a:gd name="connsiteY39" fmla="*/ 4823972 h 6858000"/>
              <a:gd name="connsiteX40" fmla="*/ 4854025 w 10344472"/>
              <a:gd name="connsiteY40" fmla="*/ 4804146 h 6858000"/>
              <a:gd name="connsiteX41" fmla="*/ 4916131 w 10344472"/>
              <a:gd name="connsiteY41" fmla="*/ 4749916 h 6858000"/>
              <a:gd name="connsiteX42" fmla="*/ 4916131 w 10344472"/>
              <a:gd name="connsiteY42" fmla="*/ 4814351 h 6858000"/>
              <a:gd name="connsiteX43" fmla="*/ 5022266 w 10344472"/>
              <a:gd name="connsiteY43" fmla="*/ 4814351 h 6858000"/>
              <a:gd name="connsiteX44" fmla="*/ 5022266 w 10344472"/>
              <a:gd name="connsiteY44" fmla="*/ 4383423 h 6858000"/>
              <a:gd name="connsiteX45" fmla="*/ 4907967 w 10344472"/>
              <a:gd name="connsiteY45" fmla="*/ 4383423 h 6858000"/>
              <a:gd name="connsiteX46" fmla="*/ 4907967 w 10344472"/>
              <a:gd name="connsiteY46" fmla="*/ 4565358 h 6858000"/>
              <a:gd name="connsiteX47" fmla="*/ 4899511 w 10344472"/>
              <a:gd name="connsiteY47" fmla="*/ 4681691 h 6858000"/>
              <a:gd name="connsiteX48" fmla="*/ 4867729 w 10344472"/>
              <a:gd name="connsiteY48" fmla="*/ 4721343 h 6858000"/>
              <a:gd name="connsiteX49" fmla="*/ 4815245 w 10344472"/>
              <a:gd name="connsiteY49" fmla="*/ 4737379 h 6858000"/>
              <a:gd name="connsiteX50" fmla="*/ 4772966 w 10344472"/>
              <a:gd name="connsiteY50" fmla="*/ 4725425 h 6858000"/>
              <a:gd name="connsiteX51" fmla="*/ 4749931 w 10344472"/>
              <a:gd name="connsiteY51" fmla="*/ 4693061 h 6858000"/>
              <a:gd name="connsiteX52" fmla="*/ 4743516 w 10344472"/>
              <a:gd name="connsiteY52" fmla="*/ 4581685 h 6858000"/>
              <a:gd name="connsiteX53" fmla="*/ 4743516 w 10344472"/>
              <a:gd name="connsiteY53" fmla="*/ 4383715 h 6858000"/>
              <a:gd name="connsiteX54" fmla="*/ 4743516 w 10344472"/>
              <a:gd name="connsiteY54" fmla="*/ 4383423 h 6858000"/>
              <a:gd name="connsiteX55" fmla="*/ 4629508 w 10344472"/>
              <a:gd name="connsiteY55" fmla="*/ 4383423 h 6858000"/>
              <a:gd name="connsiteX56" fmla="*/ 9917600 w 10344472"/>
              <a:gd name="connsiteY56" fmla="*/ 4382841 h 6858000"/>
              <a:gd name="connsiteX57" fmla="*/ 9991078 w 10344472"/>
              <a:gd name="connsiteY57" fmla="*/ 4382841 h 6858000"/>
              <a:gd name="connsiteX58" fmla="*/ 10123164 w 10344472"/>
              <a:gd name="connsiteY58" fmla="*/ 4692479 h 6858000"/>
              <a:gd name="connsiteX59" fmla="*/ 10243003 w 10344472"/>
              <a:gd name="connsiteY59" fmla="*/ 4382841 h 6858000"/>
              <a:gd name="connsiteX60" fmla="*/ 10313274 w 10344472"/>
              <a:gd name="connsiteY60" fmla="*/ 4382841 h 6858000"/>
              <a:gd name="connsiteX61" fmla="*/ 10074469 w 10344472"/>
              <a:gd name="connsiteY61" fmla="*/ 4965089 h 6858000"/>
              <a:gd name="connsiteX62" fmla="*/ 10005074 w 10344472"/>
              <a:gd name="connsiteY62" fmla="*/ 4965089 h 6858000"/>
              <a:gd name="connsiteX63" fmla="*/ 10087007 w 10344472"/>
              <a:gd name="connsiteY63" fmla="*/ 4770326 h 6858000"/>
              <a:gd name="connsiteX64" fmla="*/ 9917600 w 10344472"/>
              <a:gd name="connsiteY64" fmla="*/ 4382841 h 6858000"/>
              <a:gd name="connsiteX65" fmla="*/ 7966639 w 10344472"/>
              <a:gd name="connsiteY65" fmla="*/ 4375843 h 6858000"/>
              <a:gd name="connsiteX66" fmla="*/ 8092894 w 10344472"/>
              <a:gd name="connsiteY66" fmla="*/ 4456897 h 6858000"/>
              <a:gd name="connsiteX67" fmla="*/ 8240724 w 10344472"/>
              <a:gd name="connsiteY67" fmla="*/ 4375843 h 6858000"/>
              <a:gd name="connsiteX68" fmla="*/ 8386223 w 10344472"/>
              <a:gd name="connsiteY68" fmla="*/ 4547573 h 6858000"/>
              <a:gd name="connsiteX69" fmla="*/ 8386223 w 10344472"/>
              <a:gd name="connsiteY69" fmla="*/ 4815226 h 6858000"/>
              <a:gd name="connsiteX70" fmla="*/ 8317702 w 10344472"/>
              <a:gd name="connsiteY70" fmla="*/ 4815226 h 6858000"/>
              <a:gd name="connsiteX71" fmla="*/ 8317702 w 10344472"/>
              <a:gd name="connsiteY71" fmla="*/ 4542616 h 6858000"/>
              <a:gd name="connsiteX72" fmla="*/ 8226145 w 10344472"/>
              <a:gd name="connsiteY72" fmla="*/ 4435322 h 6858000"/>
              <a:gd name="connsiteX73" fmla="*/ 8112138 w 10344472"/>
              <a:gd name="connsiteY73" fmla="*/ 4551071 h 6858000"/>
              <a:gd name="connsiteX74" fmla="*/ 8112138 w 10344472"/>
              <a:gd name="connsiteY74" fmla="*/ 4815226 h 6858000"/>
              <a:gd name="connsiteX75" fmla="*/ 8043617 w 10344472"/>
              <a:gd name="connsiteY75" fmla="*/ 4815226 h 6858000"/>
              <a:gd name="connsiteX76" fmla="*/ 8043617 w 10344472"/>
              <a:gd name="connsiteY76" fmla="*/ 4542616 h 6858000"/>
              <a:gd name="connsiteX77" fmla="*/ 7952060 w 10344472"/>
              <a:gd name="connsiteY77" fmla="*/ 4435322 h 6858000"/>
              <a:gd name="connsiteX78" fmla="*/ 7838053 w 10344472"/>
              <a:gd name="connsiteY78" fmla="*/ 4551071 h 6858000"/>
              <a:gd name="connsiteX79" fmla="*/ 7838053 w 10344472"/>
              <a:gd name="connsiteY79" fmla="*/ 4815226 h 6858000"/>
              <a:gd name="connsiteX80" fmla="*/ 7769532 w 10344472"/>
              <a:gd name="connsiteY80" fmla="*/ 4815226 h 6858000"/>
              <a:gd name="connsiteX81" fmla="*/ 7769532 w 10344472"/>
              <a:gd name="connsiteY81" fmla="*/ 4383132 h 6858000"/>
              <a:gd name="connsiteX82" fmla="*/ 7837761 w 10344472"/>
              <a:gd name="connsiteY82" fmla="*/ 4383132 h 6858000"/>
              <a:gd name="connsiteX83" fmla="*/ 7837761 w 10344472"/>
              <a:gd name="connsiteY83" fmla="*/ 4449316 h 6858000"/>
              <a:gd name="connsiteX84" fmla="*/ 7966639 w 10344472"/>
              <a:gd name="connsiteY84" fmla="*/ 4375843 h 6858000"/>
              <a:gd name="connsiteX85" fmla="*/ 9692209 w 10344472"/>
              <a:gd name="connsiteY85" fmla="*/ 4375552 h 6858000"/>
              <a:gd name="connsiteX86" fmla="*/ 9844121 w 10344472"/>
              <a:gd name="connsiteY86" fmla="*/ 4549906 h 6858000"/>
              <a:gd name="connsiteX87" fmla="*/ 9844121 w 10344472"/>
              <a:gd name="connsiteY87" fmla="*/ 4814935 h 6858000"/>
              <a:gd name="connsiteX88" fmla="*/ 9775600 w 10344472"/>
              <a:gd name="connsiteY88" fmla="*/ 4814935 h 6858000"/>
              <a:gd name="connsiteX89" fmla="*/ 9775600 w 10344472"/>
              <a:gd name="connsiteY89" fmla="*/ 4544949 h 6858000"/>
              <a:gd name="connsiteX90" fmla="*/ 9674131 w 10344472"/>
              <a:gd name="connsiteY90" fmla="*/ 4435030 h 6858000"/>
              <a:gd name="connsiteX91" fmla="*/ 9553416 w 10344472"/>
              <a:gd name="connsiteY91" fmla="*/ 4553113 h 6858000"/>
              <a:gd name="connsiteX92" fmla="*/ 9553416 w 10344472"/>
              <a:gd name="connsiteY92" fmla="*/ 4814935 h 6858000"/>
              <a:gd name="connsiteX93" fmla="*/ 9484895 w 10344472"/>
              <a:gd name="connsiteY93" fmla="*/ 4814935 h 6858000"/>
              <a:gd name="connsiteX94" fmla="*/ 9484895 w 10344472"/>
              <a:gd name="connsiteY94" fmla="*/ 4383133 h 6858000"/>
              <a:gd name="connsiteX95" fmla="*/ 9553416 w 10344472"/>
              <a:gd name="connsiteY95" fmla="*/ 4383133 h 6858000"/>
              <a:gd name="connsiteX96" fmla="*/ 9553416 w 10344472"/>
              <a:gd name="connsiteY96" fmla="*/ 4451649 h 6858000"/>
              <a:gd name="connsiteX97" fmla="*/ 9692209 w 10344472"/>
              <a:gd name="connsiteY97" fmla="*/ 4375552 h 6858000"/>
              <a:gd name="connsiteX98" fmla="*/ 9192440 w 10344472"/>
              <a:gd name="connsiteY98" fmla="*/ 4375552 h 6858000"/>
              <a:gd name="connsiteX99" fmla="*/ 9350185 w 10344472"/>
              <a:gd name="connsiteY99" fmla="*/ 4530079 h 6858000"/>
              <a:gd name="connsiteX100" fmla="*/ 9350185 w 10344472"/>
              <a:gd name="connsiteY100" fmla="*/ 4814935 h 6858000"/>
              <a:gd name="connsiteX101" fmla="*/ 9281664 w 10344472"/>
              <a:gd name="connsiteY101" fmla="*/ 4814935 h 6858000"/>
              <a:gd name="connsiteX102" fmla="*/ 9281664 w 10344472"/>
              <a:gd name="connsiteY102" fmla="*/ 4760413 h 6858000"/>
              <a:gd name="connsiteX103" fmla="*/ 9146954 w 10344472"/>
              <a:gd name="connsiteY103" fmla="*/ 4822224 h 6858000"/>
              <a:gd name="connsiteX104" fmla="*/ 9003497 w 10344472"/>
              <a:gd name="connsiteY104" fmla="*/ 4695394 h 6858000"/>
              <a:gd name="connsiteX105" fmla="*/ 9219849 w 10344472"/>
              <a:gd name="connsiteY105" fmla="*/ 4561568 h 6858000"/>
              <a:gd name="connsiteX106" fmla="*/ 9281664 w 10344472"/>
              <a:gd name="connsiteY106" fmla="*/ 4561568 h 6858000"/>
              <a:gd name="connsiteX107" fmla="*/ 9281664 w 10344472"/>
              <a:gd name="connsiteY107" fmla="*/ 4530079 h 6858000"/>
              <a:gd name="connsiteX108" fmla="*/ 9189234 w 10344472"/>
              <a:gd name="connsiteY108" fmla="*/ 4432698 h 6858000"/>
              <a:gd name="connsiteX109" fmla="*/ 9090096 w 10344472"/>
              <a:gd name="connsiteY109" fmla="*/ 4510253 h 6858000"/>
              <a:gd name="connsiteX110" fmla="*/ 9021575 w 10344472"/>
              <a:gd name="connsiteY110" fmla="*/ 4510253 h 6858000"/>
              <a:gd name="connsiteX111" fmla="*/ 9192440 w 10344472"/>
              <a:gd name="connsiteY111" fmla="*/ 4375552 h 6858000"/>
              <a:gd name="connsiteX112" fmla="*/ 8735535 w 10344472"/>
              <a:gd name="connsiteY112" fmla="*/ 4375552 h 6858000"/>
              <a:gd name="connsiteX113" fmla="*/ 8932060 w 10344472"/>
              <a:gd name="connsiteY113" fmla="*/ 4592765 h 6858000"/>
              <a:gd name="connsiteX114" fmla="*/ 8932060 w 10344472"/>
              <a:gd name="connsiteY114" fmla="*/ 4599471 h 6858000"/>
              <a:gd name="connsiteX115" fmla="*/ 8735535 w 10344472"/>
              <a:gd name="connsiteY115" fmla="*/ 4822515 h 6858000"/>
              <a:gd name="connsiteX116" fmla="*/ 8589453 w 10344472"/>
              <a:gd name="connsiteY116" fmla="*/ 4744085 h 6858000"/>
              <a:gd name="connsiteX117" fmla="*/ 8589453 w 10344472"/>
              <a:gd name="connsiteY117" fmla="*/ 4965380 h 6858000"/>
              <a:gd name="connsiteX118" fmla="*/ 8520932 w 10344472"/>
              <a:gd name="connsiteY118" fmla="*/ 4965380 h 6858000"/>
              <a:gd name="connsiteX119" fmla="*/ 8520932 w 10344472"/>
              <a:gd name="connsiteY119" fmla="*/ 4383133 h 6858000"/>
              <a:gd name="connsiteX120" fmla="*/ 8589453 w 10344472"/>
              <a:gd name="connsiteY120" fmla="*/ 4383133 h 6858000"/>
              <a:gd name="connsiteX121" fmla="*/ 8589453 w 10344472"/>
              <a:gd name="connsiteY121" fmla="*/ 4455731 h 6858000"/>
              <a:gd name="connsiteX122" fmla="*/ 8735535 w 10344472"/>
              <a:gd name="connsiteY122" fmla="*/ 4375552 h 6858000"/>
              <a:gd name="connsiteX123" fmla="*/ 7450543 w 10344472"/>
              <a:gd name="connsiteY123" fmla="*/ 4375552 h 6858000"/>
              <a:gd name="connsiteX124" fmla="*/ 7662813 w 10344472"/>
              <a:gd name="connsiteY124" fmla="*/ 4595389 h 6858000"/>
              <a:gd name="connsiteX125" fmla="*/ 7662813 w 10344472"/>
              <a:gd name="connsiteY125" fmla="*/ 4602095 h 6858000"/>
              <a:gd name="connsiteX126" fmla="*/ 7449668 w 10344472"/>
              <a:gd name="connsiteY126" fmla="*/ 4822515 h 6858000"/>
              <a:gd name="connsiteX127" fmla="*/ 7238273 w 10344472"/>
              <a:gd name="connsiteY127" fmla="*/ 4602678 h 6858000"/>
              <a:gd name="connsiteX128" fmla="*/ 7238273 w 10344472"/>
              <a:gd name="connsiteY128" fmla="*/ 4595972 h 6858000"/>
              <a:gd name="connsiteX129" fmla="*/ 7450543 w 10344472"/>
              <a:gd name="connsiteY129" fmla="*/ 4375552 h 6858000"/>
              <a:gd name="connsiteX130" fmla="*/ 6977308 w 10344472"/>
              <a:gd name="connsiteY130" fmla="*/ 4375552 h 6858000"/>
              <a:gd name="connsiteX131" fmla="*/ 7164794 w 10344472"/>
              <a:gd name="connsiteY131" fmla="*/ 4526581 h 6858000"/>
              <a:gd name="connsiteX132" fmla="*/ 7097148 w 10344472"/>
              <a:gd name="connsiteY132" fmla="*/ 4526581 h 6858000"/>
              <a:gd name="connsiteX133" fmla="*/ 6977308 w 10344472"/>
              <a:gd name="connsiteY133" fmla="*/ 4432406 h 6858000"/>
              <a:gd name="connsiteX134" fmla="*/ 6838517 w 10344472"/>
              <a:gd name="connsiteY134" fmla="*/ 4596847 h 6858000"/>
              <a:gd name="connsiteX135" fmla="*/ 6838517 w 10344472"/>
              <a:gd name="connsiteY135" fmla="*/ 4603553 h 6858000"/>
              <a:gd name="connsiteX136" fmla="*/ 6979641 w 10344472"/>
              <a:gd name="connsiteY136" fmla="*/ 4765369 h 6858000"/>
              <a:gd name="connsiteX137" fmla="*/ 7103563 w 10344472"/>
              <a:gd name="connsiteY137" fmla="*/ 4659532 h 6858000"/>
              <a:gd name="connsiteX138" fmla="*/ 7167127 w 10344472"/>
              <a:gd name="connsiteY138" fmla="*/ 4659532 h 6858000"/>
              <a:gd name="connsiteX139" fmla="*/ 6978766 w 10344472"/>
              <a:gd name="connsiteY139" fmla="*/ 4822224 h 6858000"/>
              <a:gd name="connsiteX140" fmla="*/ 6767371 w 10344472"/>
              <a:gd name="connsiteY140" fmla="*/ 4603553 h 6858000"/>
              <a:gd name="connsiteX141" fmla="*/ 6767371 w 10344472"/>
              <a:gd name="connsiteY141" fmla="*/ 4596847 h 6858000"/>
              <a:gd name="connsiteX142" fmla="*/ 6977308 w 10344472"/>
              <a:gd name="connsiteY142" fmla="*/ 4375552 h 6858000"/>
              <a:gd name="connsiteX143" fmla="*/ 3295240 w 10344472"/>
              <a:gd name="connsiteY143" fmla="*/ 4375552 h 6858000"/>
              <a:gd name="connsiteX144" fmla="*/ 3124374 w 10344472"/>
              <a:gd name="connsiteY144" fmla="*/ 4510253 h 6858000"/>
              <a:gd name="connsiteX145" fmla="*/ 3192895 w 10344472"/>
              <a:gd name="connsiteY145" fmla="*/ 4510253 h 6858000"/>
              <a:gd name="connsiteX146" fmla="*/ 3292032 w 10344472"/>
              <a:gd name="connsiteY146" fmla="*/ 4432698 h 6858000"/>
              <a:gd name="connsiteX147" fmla="*/ 3384463 w 10344472"/>
              <a:gd name="connsiteY147" fmla="*/ 4530079 h 6858000"/>
              <a:gd name="connsiteX148" fmla="*/ 3384463 w 10344472"/>
              <a:gd name="connsiteY148" fmla="*/ 4561568 h 6858000"/>
              <a:gd name="connsiteX149" fmla="*/ 3322648 w 10344472"/>
              <a:gd name="connsiteY149" fmla="*/ 4561568 h 6858000"/>
              <a:gd name="connsiteX150" fmla="*/ 3106296 w 10344472"/>
              <a:gd name="connsiteY150" fmla="*/ 4695394 h 6858000"/>
              <a:gd name="connsiteX151" fmla="*/ 3249753 w 10344472"/>
              <a:gd name="connsiteY151" fmla="*/ 4822224 h 6858000"/>
              <a:gd name="connsiteX152" fmla="*/ 3384463 w 10344472"/>
              <a:gd name="connsiteY152" fmla="*/ 4760413 h 6858000"/>
              <a:gd name="connsiteX153" fmla="*/ 3384463 w 10344472"/>
              <a:gd name="connsiteY153" fmla="*/ 4814935 h 6858000"/>
              <a:gd name="connsiteX154" fmla="*/ 3452984 w 10344472"/>
              <a:gd name="connsiteY154" fmla="*/ 4814935 h 6858000"/>
              <a:gd name="connsiteX155" fmla="*/ 3452984 w 10344472"/>
              <a:gd name="connsiteY155" fmla="*/ 4530079 h 6858000"/>
              <a:gd name="connsiteX156" fmla="*/ 3295240 w 10344472"/>
              <a:gd name="connsiteY156" fmla="*/ 4375552 h 6858000"/>
              <a:gd name="connsiteX157" fmla="*/ 4369128 w 10344472"/>
              <a:gd name="connsiteY157" fmla="*/ 4374094 h 6858000"/>
              <a:gd name="connsiteX158" fmla="*/ 4254537 w 10344472"/>
              <a:gd name="connsiteY158" fmla="*/ 4402667 h 6858000"/>
              <a:gd name="connsiteX159" fmla="*/ 4174935 w 10344472"/>
              <a:gd name="connsiteY159" fmla="*/ 4483721 h 6858000"/>
              <a:gd name="connsiteX160" fmla="*/ 4146944 w 10344472"/>
              <a:gd name="connsiteY160" fmla="*/ 4593639 h 6858000"/>
              <a:gd name="connsiteX161" fmla="*/ 4174935 w 10344472"/>
              <a:gd name="connsiteY161" fmla="*/ 4719594 h 6858000"/>
              <a:gd name="connsiteX162" fmla="*/ 4256869 w 10344472"/>
              <a:gd name="connsiteY162" fmla="*/ 4798023 h 6858000"/>
              <a:gd name="connsiteX163" fmla="*/ 4370002 w 10344472"/>
              <a:gd name="connsiteY163" fmla="*/ 4824847 h 6858000"/>
              <a:gd name="connsiteX164" fmla="*/ 4529205 w 10344472"/>
              <a:gd name="connsiteY164" fmla="*/ 4760412 h 6858000"/>
              <a:gd name="connsiteX165" fmla="*/ 4592478 w 10344472"/>
              <a:gd name="connsiteY165" fmla="*/ 4598304 h 6858000"/>
              <a:gd name="connsiteX166" fmla="*/ 4529788 w 10344472"/>
              <a:gd name="connsiteY166" fmla="*/ 4437654 h 6858000"/>
              <a:gd name="connsiteX167" fmla="*/ 4369128 w 10344472"/>
              <a:gd name="connsiteY167" fmla="*/ 4374094 h 6858000"/>
              <a:gd name="connsiteX168" fmla="*/ 5366331 w 10344472"/>
              <a:gd name="connsiteY168" fmla="*/ 4312574 h 6858000"/>
              <a:gd name="connsiteX169" fmla="*/ 5453221 w 10344472"/>
              <a:gd name="connsiteY169" fmla="*/ 4337940 h 6858000"/>
              <a:gd name="connsiteX170" fmla="*/ 5455785 w 10344472"/>
              <a:gd name="connsiteY170" fmla="*/ 4340581 h 6858000"/>
              <a:gd name="connsiteX171" fmla="*/ 5410884 w 10344472"/>
              <a:gd name="connsiteY171" fmla="*/ 4495966 h 6858000"/>
              <a:gd name="connsiteX172" fmla="*/ 5368372 w 10344472"/>
              <a:gd name="connsiteY172" fmla="*/ 4495966 h 6858000"/>
              <a:gd name="connsiteX173" fmla="*/ 5368372 w 10344472"/>
              <a:gd name="connsiteY173" fmla="*/ 4596263 h 6858000"/>
              <a:gd name="connsiteX174" fmla="*/ 5381902 w 10344472"/>
              <a:gd name="connsiteY174" fmla="*/ 4596263 h 6858000"/>
              <a:gd name="connsiteX175" fmla="*/ 5346461 w 10344472"/>
              <a:gd name="connsiteY175" fmla="*/ 4718911 h 6858000"/>
              <a:gd name="connsiteX176" fmla="*/ 5296024 w 10344472"/>
              <a:gd name="connsiteY176" fmla="*/ 4709207 h 6858000"/>
              <a:gd name="connsiteX177" fmla="*/ 5241534 w 10344472"/>
              <a:gd name="connsiteY177" fmla="*/ 4669445 h 6858000"/>
              <a:gd name="connsiteX178" fmla="*/ 5194298 w 10344472"/>
              <a:gd name="connsiteY178" fmla="*/ 4510544 h 6858000"/>
              <a:gd name="connsiteX179" fmla="*/ 5240951 w 10344472"/>
              <a:gd name="connsiteY179" fmla="*/ 4362431 h 6858000"/>
              <a:gd name="connsiteX180" fmla="*/ 5366331 w 10344472"/>
              <a:gd name="connsiteY180" fmla="*/ 4312574 h 6858000"/>
              <a:gd name="connsiteX181" fmla="*/ 3701993 w 10344472"/>
              <a:gd name="connsiteY181" fmla="*/ 4219566 h 6858000"/>
              <a:gd name="connsiteX182" fmla="*/ 3920386 w 10344472"/>
              <a:gd name="connsiteY182" fmla="*/ 4564191 h 6858000"/>
              <a:gd name="connsiteX183" fmla="*/ 3920386 w 10344472"/>
              <a:gd name="connsiteY183" fmla="*/ 4814642 h 6858000"/>
              <a:gd name="connsiteX184" fmla="*/ 4040226 w 10344472"/>
              <a:gd name="connsiteY184" fmla="*/ 4814642 h 6858000"/>
              <a:gd name="connsiteX185" fmla="*/ 4040226 w 10344472"/>
              <a:gd name="connsiteY185" fmla="*/ 4565066 h 6858000"/>
              <a:gd name="connsiteX186" fmla="*/ 4259202 w 10344472"/>
              <a:gd name="connsiteY186" fmla="*/ 4219858 h 6858000"/>
              <a:gd name="connsiteX187" fmla="*/ 4120410 w 10344472"/>
              <a:gd name="connsiteY187" fmla="*/ 4219858 h 6858000"/>
              <a:gd name="connsiteX188" fmla="*/ 3983076 w 10344472"/>
              <a:gd name="connsiteY188" fmla="*/ 4455148 h 6858000"/>
              <a:gd name="connsiteX189" fmla="*/ 3842826 w 10344472"/>
              <a:gd name="connsiteY189" fmla="*/ 4219858 h 6858000"/>
              <a:gd name="connsiteX190" fmla="*/ 3842826 w 10344472"/>
              <a:gd name="connsiteY190" fmla="*/ 4219566 h 6858000"/>
              <a:gd name="connsiteX191" fmla="*/ 3701993 w 10344472"/>
              <a:gd name="connsiteY191" fmla="*/ 4219566 h 6858000"/>
              <a:gd name="connsiteX192" fmla="*/ 3112711 w 10344472"/>
              <a:gd name="connsiteY192" fmla="*/ 2062597 h 6858000"/>
              <a:gd name="connsiteX193" fmla="*/ 3112711 w 10344472"/>
              <a:gd name="connsiteY193" fmla="*/ 3855407 h 6858000"/>
              <a:gd name="connsiteX194" fmla="*/ 4592478 w 10344472"/>
              <a:gd name="connsiteY194" fmla="*/ 3855407 h 6858000"/>
              <a:gd name="connsiteX195" fmla="*/ 4592478 w 10344472"/>
              <a:gd name="connsiteY195" fmla="*/ 3361794 h 6858000"/>
              <a:gd name="connsiteX196" fmla="*/ 3710741 w 10344472"/>
              <a:gd name="connsiteY196" fmla="*/ 3361794 h 6858000"/>
              <a:gd name="connsiteX197" fmla="*/ 3710741 w 10344472"/>
              <a:gd name="connsiteY197" fmla="*/ 2062597 h 6858000"/>
              <a:gd name="connsiteX198" fmla="*/ 3112711 w 10344472"/>
              <a:gd name="connsiteY198" fmla="*/ 2062597 h 6858000"/>
              <a:gd name="connsiteX199" fmla="*/ 9524550 w 10344472"/>
              <a:gd name="connsiteY199" fmla="*/ 2061139 h 6858000"/>
              <a:gd name="connsiteX200" fmla="*/ 10233964 w 10344472"/>
              <a:gd name="connsiteY200" fmla="*/ 2062014 h 6858000"/>
              <a:gd name="connsiteX201" fmla="*/ 10261664 w 10344472"/>
              <a:gd name="connsiteY201" fmla="*/ 2062014 h 6858000"/>
              <a:gd name="connsiteX202" fmla="*/ 9436493 w 10344472"/>
              <a:gd name="connsiteY202" fmla="*/ 2879843 h 6858000"/>
              <a:gd name="connsiteX203" fmla="*/ 10344472 w 10344472"/>
              <a:gd name="connsiteY203" fmla="*/ 3856281 h 6858000"/>
              <a:gd name="connsiteX204" fmla="*/ 10330185 w 10344472"/>
              <a:gd name="connsiteY204" fmla="*/ 3856281 h 6858000"/>
              <a:gd name="connsiteX205" fmla="*/ 9609108 w 10344472"/>
              <a:gd name="connsiteY205" fmla="*/ 3856573 h 6858000"/>
              <a:gd name="connsiteX206" fmla="*/ 9587239 w 10344472"/>
              <a:gd name="connsiteY206" fmla="*/ 3846660 h 6858000"/>
              <a:gd name="connsiteX207" fmla="*/ 9072309 w 10344472"/>
              <a:gd name="connsiteY207" fmla="*/ 3253041 h 6858000"/>
              <a:gd name="connsiteX208" fmla="*/ 8965591 w 10344472"/>
              <a:gd name="connsiteY208" fmla="*/ 3130294 h 6858000"/>
              <a:gd name="connsiteX209" fmla="*/ 8952470 w 10344472"/>
              <a:gd name="connsiteY209" fmla="*/ 3115424 h 6858000"/>
              <a:gd name="connsiteX210" fmla="*/ 8952470 w 10344472"/>
              <a:gd name="connsiteY210" fmla="*/ 3855407 h 6858000"/>
              <a:gd name="connsiteX211" fmla="*/ 8352982 w 10344472"/>
              <a:gd name="connsiteY211" fmla="*/ 3855407 h 6858000"/>
              <a:gd name="connsiteX212" fmla="*/ 8352982 w 10344472"/>
              <a:gd name="connsiteY212" fmla="*/ 2062888 h 6858000"/>
              <a:gd name="connsiteX213" fmla="*/ 8951595 w 10344472"/>
              <a:gd name="connsiteY213" fmla="*/ 2062888 h 6858000"/>
              <a:gd name="connsiteX214" fmla="*/ 8951595 w 10344472"/>
              <a:gd name="connsiteY214" fmla="*/ 2618604 h 6858000"/>
              <a:gd name="connsiteX215" fmla="*/ 8990667 w 10344472"/>
              <a:gd name="connsiteY215" fmla="*/ 2579243 h 6858000"/>
              <a:gd name="connsiteX216" fmla="*/ 9449030 w 10344472"/>
              <a:gd name="connsiteY216" fmla="*/ 2093211 h 6858000"/>
              <a:gd name="connsiteX217" fmla="*/ 9524550 w 10344472"/>
              <a:gd name="connsiteY217" fmla="*/ 2061139 h 6858000"/>
              <a:gd name="connsiteX218" fmla="*/ 5280607 w 10344472"/>
              <a:gd name="connsiteY218" fmla="*/ 2061139 h 6858000"/>
              <a:gd name="connsiteX219" fmla="*/ 5264570 w 10344472"/>
              <a:gd name="connsiteY219" fmla="*/ 2074842 h 6858000"/>
              <a:gd name="connsiteX220" fmla="*/ 5094870 w 10344472"/>
              <a:gd name="connsiteY220" fmla="*/ 2664671 h 6858000"/>
              <a:gd name="connsiteX221" fmla="*/ 4793085 w 10344472"/>
              <a:gd name="connsiteY221" fmla="*/ 3709043 h 6858000"/>
              <a:gd name="connsiteX222" fmla="*/ 4750806 w 10344472"/>
              <a:gd name="connsiteY222" fmla="*/ 3855698 h 6858000"/>
              <a:gd name="connsiteX223" fmla="*/ 5353501 w 10344472"/>
              <a:gd name="connsiteY223" fmla="*/ 3855698 h 6858000"/>
              <a:gd name="connsiteX224" fmla="*/ 5871347 w 10344472"/>
              <a:gd name="connsiteY224" fmla="*/ 2062305 h 6858000"/>
              <a:gd name="connsiteX225" fmla="*/ 5859392 w 10344472"/>
              <a:gd name="connsiteY225" fmla="*/ 2061431 h 6858000"/>
              <a:gd name="connsiteX226" fmla="*/ 5280607 w 10344472"/>
              <a:gd name="connsiteY226" fmla="*/ 2061139 h 6858000"/>
              <a:gd name="connsiteX227" fmla="*/ 0 w 10344472"/>
              <a:gd name="connsiteY227" fmla="*/ 0 h 6858000"/>
              <a:gd name="connsiteX228" fmla="*/ 6707236 w 10344472"/>
              <a:gd name="connsiteY228" fmla="*/ 0 h 6858000"/>
              <a:gd name="connsiteX229" fmla="*/ 6114289 w 10344472"/>
              <a:gd name="connsiteY229" fmla="*/ 2060916 h 6858000"/>
              <a:gd name="connsiteX230" fmla="*/ 6560000 w 10344472"/>
              <a:gd name="connsiteY230" fmla="*/ 2061141 h 6858000"/>
              <a:gd name="connsiteX231" fmla="*/ 6564947 w 10344472"/>
              <a:gd name="connsiteY231" fmla="*/ 2061503 h 6858000"/>
              <a:gd name="connsiteX232" fmla="*/ 6705555 w 10344472"/>
              <a:gd name="connsiteY232" fmla="*/ 2061431 h 6858000"/>
              <a:gd name="connsiteX233" fmla="*/ 6726841 w 10344472"/>
              <a:gd name="connsiteY233" fmla="*/ 2073677 h 6858000"/>
              <a:gd name="connsiteX234" fmla="*/ 7211738 w 10344472"/>
              <a:gd name="connsiteY234" fmla="*/ 2996759 h 6858000"/>
              <a:gd name="connsiteX235" fmla="*/ 7282883 w 10344472"/>
              <a:gd name="connsiteY235" fmla="*/ 3131461 h 6858000"/>
              <a:gd name="connsiteX236" fmla="*/ 7292797 w 10344472"/>
              <a:gd name="connsiteY236" fmla="*/ 3150121 h 6858000"/>
              <a:gd name="connsiteX237" fmla="*/ 7304460 w 10344472"/>
              <a:gd name="connsiteY237" fmla="*/ 3108136 h 6858000"/>
              <a:gd name="connsiteX238" fmla="*/ 7479700 w 10344472"/>
              <a:gd name="connsiteY238" fmla="*/ 2453581 h 6858000"/>
              <a:gd name="connsiteX239" fmla="*/ 7580003 w 10344472"/>
              <a:gd name="connsiteY239" fmla="*/ 2077467 h 6858000"/>
              <a:gd name="connsiteX240" fmla="*/ 7601288 w 10344472"/>
              <a:gd name="connsiteY240" fmla="*/ 2060848 h 6858000"/>
              <a:gd name="connsiteX241" fmla="*/ 8180074 w 10344472"/>
              <a:gd name="connsiteY241" fmla="*/ 2061140 h 6858000"/>
              <a:gd name="connsiteX242" fmla="*/ 8198153 w 10344472"/>
              <a:gd name="connsiteY242" fmla="*/ 2061140 h 6858000"/>
              <a:gd name="connsiteX243" fmla="*/ 7679140 w 10344472"/>
              <a:gd name="connsiteY243" fmla="*/ 3855699 h 6858000"/>
              <a:gd name="connsiteX244" fmla="*/ 7661354 w 10344472"/>
              <a:gd name="connsiteY244" fmla="*/ 3855699 h 6858000"/>
              <a:gd name="connsiteX245" fmla="*/ 7081110 w 10344472"/>
              <a:gd name="connsiteY245" fmla="*/ 3855990 h 6858000"/>
              <a:gd name="connsiteX246" fmla="*/ 7055743 w 10344472"/>
              <a:gd name="connsiteY246" fmla="*/ 3840829 h 6858000"/>
              <a:gd name="connsiteX247" fmla="*/ 6762997 w 10344472"/>
              <a:gd name="connsiteY247" fmla="*/ 3290070 h 6858000"/>
              <a:gd name="connsiteX248" fmla="*/ 6497367 w 10344472"/>
              <a:gd name="connsiteY248" fmla="*/ 2790626 h 6858000"/>
              <a:gd name="connsiteX249" fmla="*/ 6488620 w 10344472"/>
              <a:gd name="connsiteY249" fmla="*/ 2776339 h 6858000"/>
              <a:gd name="connsiteX250" fmla="*/ 6200539 w 10344472"/>
              <a:gd name="connsiteY250" fmla="*/ 3858291 h 6858000"/>
              <a:gd name="connsiteX251" fmla="*/ 5594353 w 10344472"/>
              <a:gd name="connsiteY251" fmla="*/ 3861048 h 6858000"/>
              <a:gd name="connsiteX252" fmla="*/ 5487296 w 10344472"/>
              <a:gd name="connsiteY252" fmla="*/ 4231534 h 6858000"/>
              <a:gd name="connsiteX253" fmla="*/ 5465213 w 10344472"/>
              <a:gd name="connsiteY253" fmla="*/ 4221243 h 6858000"/>
              <a:gd name="connsiteX254" fmla="*/ 5366331 w 10344472"/>
              <a:gd name="connsiteY254" fmla="*/ 4209653 h 6858000"/>
              <a:gd name="connsiteX255" fmla="*/ 5224040 w 10344472"/>
              <a:gd name="connsiteY255" fmla="*/ 4239684 h 6858000"/>
              <a:gd name="connsiteX256" fmla="*/ 5109740 w 10344472"/>
              <a:gd name="connsiteY256" fmla="*/ 4350477 h 6858000"/>
              <a:gd name="connsiteX257" fmla="*/ 5070669 w 10344472"/>
              <a:gd name="connsiteY257" fmla="*/ 4515501 h 6858000"/>
              <a:gd name="connsiteX258" fmla="*/ 5105658 w 10344472"/>
              <a:gd name="connsiteY258" fmla="*/ 4674110 h 6858000"/>
              <a:gd name="connsiteX259" fmla="*/ 5210044 w 10344472"/>
              <a:gd name="connsiteY259" fmla="*/ 4786070 h 6858000"/>
              <a:gd name="connsiteX260" fmla="*/ 5285527 w 10344472"/>
              <a:gd name="connsiteY260" fmla="*/ 4815335 h 6858000"/>
              <a:gd name="connsiteX261" fmla="*/ 5317561 w 10344472"/>
              <a:gd name="connsiteY261" fmla="*/ 4818924 h 6858000"/>
              <a:gd name="connsiteX262" fmla="*/ 4728343 w 10344472"/>
              <a:gd name="connsiteY262" fmla="*/ 6858000 h 6858000"/>
              <a:gd name="connsiteX263" fmla="*/ 0 w 10344472"/>
              <a:gd name="connsiteY263" fmla="*/ 6858000 h 6858000"/>
              <a:gd name="connsiteX264" fmla="*/ 0 w 10344472"/>
              <a:gd name="connsiteY264" fmla="*/ 0 h 6858000"/>
              <a:gd name="connsiteX0" fmla="*/ 9222182 w 10344472"/>
              <a:gd name="connsiteY0" fmla="*/ 4610259 h 6858000"/>
              <a:gd name="connsiteX1" fmla="*/ 9071727 w 10344472"/>
              <a:gd name="connsiteY1" fmla="*/ 4695394 h 6858000"/>
              <a:gd name="connsiteX2" fmla="*/ 9153369 w 10344472"/>
              <a:gd name="connsiteY2" fmla="*/ 4767993 h 6858000"/>
              <a:gd name="connsiteX3" fmla="*/ 9281664 w 10344472"/>
              <a:gd name="connsiteY3" fmla="*/ 4663906 h 6858000"/>
              <a:gd name="connsiteX4" fmla="*/ 9281664 w 10344472"/>
              <a:gd name="connsiteY4" fmla="*/ 4610259 h 6858000"/>
              <a:gd name="connsiteX5" fmla="*/ 9222182 w 10344472"/>
              <a:gd name="connsiteY5" fmla="*/ 4610259 h 6858000"/>
              <a:gd name="connsiteX6" fmla="*/ 3325272 w 10344472"/>
              <a:gd name="connsiteY6" fmla="*/ 4610259 h 6858000"/>
              <a:gd name="connsiteX7" fmla="*/ 3384755 w 10344472"/>
              <a:gd name="connsiteY7" fmla="*/ 4610259 h 6858000"/>
              <a:gd name="connsiteX8" fmla="*/ 3384755 w 10344472"/>
              <a:gd name="connsiteY8" fmla="*/ 4663906 h 6858000"/>
              <a:gd name="connsiteX9" fmla="*/ 3256460 w 10344472"/>
              <a:gd name="connsiteY9" fmla="*/ 4767993 h 6858000"/>
              <a:gd name="connsiteX10" fmla="*/ 3174817 w 10344472"/>
              <a:gd name="connsiteY10" fmla="*/ 4695394 h 6858000"/>
              <a:gd name="connsiteX11" fmla="*/ 3325272 w 10344472"/>
              <a:gd name="connsiteY11" fmla="*/ 4610259 h 6858000"/>
              <a:gd name="connsiteX12" fmla="*/ 4369419 w 10344472"/>
              <a:gd name="connsiteY12" fmla="*/ 4467101 h 6858000"/>
              <a:gd name="connsiteX13" fmla="*/ 4444355 w 10344472"/>
              <a:gd name="connsiteY13" fmla="*/ 4501214 h 6858000"/>
              <a:gd name="connsiteX14" fmla="*/ 4474679 w 10344472"/>
              <a:gd name="connsiteY14" fmla="*/ 4598596 h 6858000"/>
              <a:gd name="connsiteX15" fmla="*/ 4444355 w 10344472"/>
              <a:gd name="connsiteY15" fmla="*/ 4697726 h 6858000"/>
              <a:gd name="connsiteX16" fmla="*/ 4369419 w 10344472"/>
              <a:gd name="connsiteY16" fmla="*/ 4731839 h 6858000"/>
              <a:gd name="connsiteX17" fmla="*/ 4294192 w 10344472"/>
              <a:gd name="connsiteY17" fmla="*/ 4697726 h 6858000"/>
              <a:gd name="connsiteX18" fmla="*/ 4263576 w 10344472"/>
              <a:gd name="connsiteY18" fmla="*/ 4599470 h 6858000"/>
              <a:gd name="connsiteX19" fmla="*/ 4294192 w 10344472"/>
              <a:gd name="connsiteY19" fmla="*/ 4501214 h 6858000"/>
              <a:gd name="connsiteX20" fmla="*/ 4369419 w 10344472"/>
              <a:gd name="connsiteY20" fmla="*/ 4467101 h 6858000"/>
              <a:gd name="connsiteX21" fmla="*/ 8728245 w 10344472"/>
              <a:gd name="connsiteY21" fmla="*/ 4432406 h 6858000"/>
              <a:gd name="connsiteX22" fmla="*/ 8587121 w 10344472"/>
              <a:gd name="connsiteY22" fmla="*/ 4595972 h 6858000"/>
              <a:gd name="connsiteX23" fmla="*/ 8587121 w 10344472"/>
              <a:gd name="connsiteY23" fmla="*/ 4602678 h 6858000"/>
              <a:gd name="connsiteX24" fmla="*/ 8729120 w 10344472"/>
              <a:gd name="connsiteY24" fmla="*/ 4765369 h 6858000"/>
              <a:gd name="connsiteX25" fmla="*/ 8861206 w 10344472"/>
              <a:gd name="connsiteY25" fmla="*/ 4602678 h 6858000"/>
              <a:gd name="connsiteX26" fmla="*/ 8861206 w 10344472"/>
              <a:gd name="connsiteY26" fmla="*/ 4595972 h 6858000"/>
              <a:gd name="connsiteX27" fmla="*/ 8728245 w 10344472"/>
              <a:gd name="connsiteY27" fmla="*/ 4432406 h 6858000"/>
              <a:gd name="connsiteX28" fmla="*/ 7450543 w 10344472"/>
              <a:gd name="connsiteY28" fmla="*/ 4432406 h 6858000"/>
              <a:gd name="connsiteX29" fmla="*/ 7309419 w 10344472"/>
              <a:gd name="connsiteY29" fmla="*/ 4595972 h 6858000"/>
              <a:gd name="connsiteX30" fmla="*/ 7309419 w 10344472"/>
              <a:gd name="connsiteY30" fmla="*/ 4602678 h 6858000"/>
              <a:gd name="connsiteX31" fmla="*/ 7450543 w 10344472"/>
              <a:gd name="connsiteY31" fmla="*/ 4765369 h 6858000"/>
              <a:gd name="connsiteX32" fmla="*/ 7591668 w 10344472"/>
              <a:gd name="connsiteY32" fmla="*/ 4602678 h 6858000"/>
              <a:gd name="connsiteX33" fmla="*/ 7591668 w 10344472"/>
              <a:gd name="connsiteY33" fmla="*/ 4596847 h 6858000"/>
              <a:gd name="connsiteX34" fmla="*/ 7450543 w 10344472"/>
              <a:gd name="connsiteY34" fmla="*/ 4432406 h 6858000"/>
              <a:gd name="connsiteX35" fmla="*/ 4629508 w 10344472"/>
              <a:gd name="connsiteY35" fmla="*/ 4383423 h 6858000"/>
              <a:gd name="connsiteX36" fmla="*/ 4629508 w 10344472"/>
              <a:gd name="connsiteY36" fmla="*/ 4656033 h 6858000"/>
              <a:gd name="connsiteX37" fmla="*/ 4644962 w 10344472"/>
              <a:gd name="connsiteY37" fmla="*/ 4751374 h 6858000"/>
              <a:gd name="connsiteX38" fmla="*/ 4694822 w 10344472"/>
              <a:gd name="connsiteY38" fmla="*/ 4805021 h 6858000"/>
              <a:gd name="connsiteX39" fmla="*/ 4772966 w 10344472"/>
              <a:gd name="connsiteY39" fmla="*/ 4823972 h 6858000"/>
              <a:gd name="connsiteX40" fmla="*/ 4854025 w 10344472"/>
              <a:gd name="connsiteY40" fmla="*/ 4804146 h 6858000"/>
              <a:gd name="connsiteX41" fmla="*/ 4916131 w 10344472"/>
              <a:gd name="connsiteY41" fmla="*/ 4749916 h 6858000"/>
              <a:gd name="connsiteX42" fmla="*/ 4916131 w 10344472"/>
              <a:gd name="connsiteY42" fmla="*/ 4814351 h 6858000"/>
              <a:gd name="connsiteX43" fmla="*/ 5022266 w 10344472"/>
              <a:gd name="connsiteY43" fmla="*/ 4814351 h 6858000"/>
              <a:gd name="connsiteX44" fmla="*/ 5022266 w 10344472"/>
              <a:gd name="connsiteY44" fmla="*/ 4383423 h 6858000"/>
              <a:gd name="connsiteX45" fmla="*/ 4907967 w 10344472"/>
              <a:gd name="connsiteY45" fmla="*/ 4383423 h 6858000"/>
              <a:gd name="connsiteX46" fmla="*/ 4907967 w 10344472"/>
              <a:gd name="connsiteY46" fmla="*/ 4565358 h 6858000"/>
              <a:gd name="connsiteX47" fmla="*/ 4899511 w 10344472"/>
              <a:gd name="connsiteY47" fmla="*/ 4681691 h 6858000"/>
              <a:gd name="connsiteX48" fmla="*/ 4867729 w 10344472"/>
              <a:gd name="connsiteY48" fmla="*/ 4721343 h 6858000"/>
              <a:gd name="connsiteX49" fmla="*/ 4815245 w 10344472"/>
              <a:gd name="connsiteY49" fmla="*/ 4737379 h 6858000"/>
              <a:gd name="connsiteX50" fmla="*/ 4772966 w 10344472"/>
              <a:gd name="connsiteY50" fmla="*/ 4725425 h 6858000"/>
              <a:gd name="connsiteX51" fmla="*/ 4749931 w 10344472"/>
              <a:gd name="connsiteY51" fmla="*/ 4693061 h 6858000"/>
              <a:gd name="connsiteX52" fmla="*/ 4743516 w 10344472"/>
              <a:gd name="connsiteY52" fmla="*/ 4581685 h 6858000"/>
              <a:gd name="connsiteX53" fmla="*/ 4743516 w 10344472"/>
              <a:gd name="connsiteY53" fmla="*/ 4383715 h 6858000"/>
              <a:gd name="connsiteX54" fmla="*/ 4743516 w 10344472"/>
              <a:gd name="connsiteY54" fmla="*/ 4383423 h 6858000"/>
              <a:gd name="connsiteX55" fmla="*/ 4629508 w 10344472"/>
              <a:gd name="connsiteY55" fmla="*/ 4383423 h 6858000"/>
              <a:gd name="connsiteX56" fmla="*/ 9917600 w 10344472"/>
              <a:gd name="connsiteY56" fmla="*/ 4382841 h 6858000"/>
              <a:gd name="connsiteX57" fmla="*/ 9991078 w 10344472"/>
              <a:gd name="connsiteY57" fmla="*/ 4382841 h 6858000"/>
              <a:gd name="connsiteX58" fmla="*/ 10123164 w 10344472"/>
              <a:gd name="connsiteY58" fmla="*/ 4692479 h 6858000"/>
              <a:gd name="connsiteX59" fmla="*/ 10243003 w 10344472"/>
              <a:gd name="connsiteY59" fmla="*/ 4382841 h 6858000"/>
              <a:gd name="connsiteX60" fmla="*/ 10313274 w 10344472"/>
              <a:gd name="connsiteY60" fmla="*/ 4382841 h 6858000"/>
              <a:gd name="connsiteX61" fmla="*/ 10074469 w 10344472"/>
              <a:gd name="connsiteY61" fmla="*/ 4965089 h 6858000"/>
              <a:gd name="connsiteX62" fmla="*/ 10005074 w 10344472"/>
              <a:gd name="connsiteY62" fmla="*/ 4965089 h 6858000"/>
              <a:gd name="connsiteX63" fmla="*/ 10087007 w 10344472"/>
              <a:gd name="connsiteY63" fmla="*/ 4770326 h 6858000"/>
              <a:gd name="connsiteX64" fmla="*/ 9917600 w 10344472"/>
              <a:gd name="connsiteY64" fmla="*/ 4382841 h 6858000"/>
              <a:gd name="connsiteX65" fmla="*/ 7966639 w 10344472"/>
              <a:gd name="connsiteY65" fmla="*/ 4375843 h 6858000"/>
              <a:gd name="connsiteX66" fmla="*/ 8092894 w 10344472"/>
              <a:gd name="connsiteY66" fmla="*/ 4456897 h 6858000"/>
              <a:gd name="connsiteX67" fmla="*/ 8240724 w 10344472"/>
              <a:gd name="connsiteY67" fmla="*/ 4375843 h 6858000"/>
              <a:gd name="connsiteX68" fmla="*/ 8386223 w 10344472"/>
              <a:gd name="connsiteY68" fmla="*/ 4547573 h 6858000"/>
              <a:gd name="connsiteX69" fmla="*/ 8386223 w 10344472"/>
              <a:gd name="connsiteY69" fmla="*/ 4815226 h 6858000"/>
              <a:gd name="connsiteX70" fmla="*/ 8317702 w 10344472"/>
              <a:gd name="connsiteY70" fmla="*/ 4815226 h 6858000"/>
              <a:gd name="connsiteX71" fmla="*/ 8317702 w 10344472"/>
              <a:gd name="connsiteY71" fmla="*/ 4542616 h 6858000"/>
              <a:gd name="connsiteX72" fmla="*/ 8226145 w 10344472"/>
              <a:gd name="connsiteY72" fmla="*/ 4435322 h 6858000"/>
              <a:gd name="connsiteX73" fmla="*/ 8112138 w 10344472"/>
              <a:gd name="connsiteY73" fmla="*/ 4551071 h 6858000"/>
              <a:gd name="connsiteX74" fmla="*/ 8112138 w 10344472"/>
              <a:gd name="connsiteY74" fmla="*/ 4815226 h 6858000"/>
              <a:gd name="connsiteX75" fmla="*/ 8043617 w 10344472"/>
              <a:gd name="connsiteY75" fmla="*/ 4815226 h 6858000"/>
              <a:gd name="connsiteX76" fmla="*/ 8043617 w 10344472"/>
              <a:gd name="connsiteY76" fmla="*/ 4542616 h 6858000"/>
              <a:gd name="connsiteX77" fmla="*/ 7952060 w 10344472"/>
              <a:gd name="connsiteY77" fmla="*/ 4435322 h 6858000"/>
              <a:gd name="connsiteX78" fmla="*/ 7838053 w 10344472"/>
              <a:gd name="connsiteY78" fmla="*/ 4551071 h 6858000"/>
              <a:gd name="connsiteX79" fmla="*/ 7838053 w 10344472"/>
              <a:gd name="connsiteY79" fmla="*/ 4815226 h 6858000"/>
              <a:gd name="connsiteX80" fmla="*/ 7769532 w 10344472"/>
              <a:gd name="connsiteY80" fmla="*/ 4815226 h 6858000"/>
              <a:gd name="connsiteX81" fmla="*/ 7769532 w 10344472"/>
              <a:gd name="connsiteY81" fmla="*/ 4383132 h 6858000"/>
              <a:gd name="connsiteX82" fmla="*/ 7837761 w 10344472"/>
              <a:gd name="connsiteY82" fmla="*/ 4383132 h 6858000"/>
              <a:gd name="connsiteX83" fmla="*/ 7837761 w 10344472"/>
              <a:gd name="connsiteY83" fmla="*/ 4449316 h 6858000"/>
              <a:gd name="connsiteX84" fmla="*/ 7966639 w 10344472"/>
              <a:gd name="connsiteY84" fmla="*/ 4375843 h 6858000"/>
              <a:gd name="connsiteX85" fmla="*/ 9692209 w 10344472"/>
              <a:gd name="connsiteY85" fmla="*/ 4375552 h 6858000"/>
              <a:gd name="connsiteX86" fmla="*/ 9844121 w 10344472"/>
              <a:gd name="connsiteY86" fmla="*/ 4549906 h 6858000"/>
              <a:gd name="connsiteX87" fmla="*/ 9844121 w 10344472"/>
              <a:gd name="connsiteY87" fmla="*/ 4814935 h 6858000"/>
              <a:gd name="connsiteX88" fmla="*/ 9775600 w 10344472"/>
              <a:gd name="connsiteY88" fmla="*/ 4814935 h 6858000"/>
              <a:gd name="connsiteX89" fmla="*/ 9775600 w 10344472"/>
              <a:gd name="connsiteY89" fmla="*/ 4544949 h 6858000"/>
              <a:gd name="connsiteX90" fmla="*/ 9674131 w 10344472"/>
              <a:gd name="connsiteY90" fmla="*/ 4435030 h 6858000"/>
              <a:gd name="connsiteX91" fmla="*/ 9553416 w 10344472"/>
              <a:gd name="connsiteY91" fmla="*/ 4553113 h 6858000"/>
              <a:gd name="connsiteX92" fmla="*/ 9553416 w 10344472"/>
              <a:gd name="connsiteY92" fmla="*/ 4814935 h 6858000"/>
              <a:gd name="connsiteX93" fmla="*/ 9484895 w 10344472"/>
              <a:gd name="connsiteY93" fmla="*/ 4814935 h 6858000"/>
              <a:gd name="connsiteX94" fmla="*/ 9484895 w 10344472"/>
              <a:gd name="connsiteY94" fmla="*/ 4383133 h 6858000"/>
              <a:gd name="connsiteX95" fmla="*/ 9553416 w 10344472"/>
              <a:gd name="connsiteY95" fmla="*/ 4383133 h 6858000"/>
              <a:gd name="connsiteX96" fmla="*/ 9553416 w 10344472"/>
              <a:gd name="connsiteY96" fmla="*/ 4451649 h 6858000"/>
              <a:gd name="connsiteX97" fmla="*/ 9692209 w 10344472"/>
              <a:gd name="connsiteY97" fmla="*/ 4375552 h 6858000"/>
              <a:gd name="connsiteX98" fmla="*/ 9192440 w 10344472"/>
              <a:gd name="connsiteY98" fmla="*/ 4375552 h 6858000"/>
              <a:gd name="connsiteX99" fmla="*/ 9350185 w 10344472"/>
              <a:gd name="connsiteY99" fmla="*/ 4530079 h 6858000"/>
              <a:gd name="connsiteX100" fmla="*/ 9350185 w 10344472"/>
              <a:gd name="connsiteY100" fmla="*/ 4814935 h 6858000"/>
              <a:gd name="connsiteX101" fmla="*/ 9281664 w 10344472"/>
              <a:gd name="connsiteY101" fmla="*/ 4814935 h 6858000"/>
              <a:gd name="connsiteX102" fmla="*/ 9281664 w 10344472"/>
              <a:gd name="connsiteY102" fmla="*/ 4760413 h 6858000"/>
              <a:gd name="connsiteX103" fmla="*/ 9146954 w 10344472"/>
              <a:gd name="connsiteY103" fmla="*/ 4822224 h 6858000"/>
              <a:gd name="connsiteX104" fmla="*/ 9003497 w 10344472"/>
              <a:gd name="connsiteY104" fmla="*/ 4695394 h 6858000"/>
              <a:gd name="connsiteX105" fmla="*/ 9219849 w 10344472"/>
              <a:gd name="connsiteY105" fmla="*/ 4561568 h 6858000"/>
              <a:gd name="connsiteX106" fmla="*/ 9281664 w 10344472"/>
              <a:gd name="connsiteY106" fmla="*/ 4561568 h 6858000"/>
              <a:gd name="connsiteX107" fmla="*/ 9281664 w 10344472"/>
              <a:gd name="connsiteY107" fmla="*/ 4530079 h 6858000"/>
              <a:gd name="connsiteX108" fmla="*/ 9189234 w 10344472"/>
              <a:gd name="connsiteY108" fmla="*/ 4432698 h 6858000"/>
              <a:gd name="connsiteX109" fmla="*/ 9090096 w 10344472"/>
              <a:gd name="connsiteY109" fmla="*/ 4510253 h 6858000"/>
              <a:gd name="connsiteX110" fmla="*/ 9021575 w 10344472"/>
              <a:gd name="connsiteY110" fmla="*/ 4510253 h 6858000"/>
              <a:gd name="connsiteX111" fmla="*/ 9192440 w 10344472"/>
              <a:gd name="connsiteY111" fmla="*/ 4375552 h 6858000"/>
              <a:gd name="connsiteX112" fmla="*/ 8735535 w 10344472"/>
              <a:gd name="connsiteY112" fmla="*/ 4375552 h 6858000"/>
              <a:gd name="connsiteX113" fmla="*/ 8932060 w 10344472"/>
              <a:gd name="connsiteY113" fmla="*/ 4592765 h 6858000"/>
              <a:gd name="connsiteX114" fmla="*/ 8932060 w 10344472"/>
              <a:gd name="connsiteY114" fmla="*/ 4599471 h 6858000"/>
              <a:gd name="connsiteX115" fmla="*/ 8735535 w 10344472"/>
              <a:gd name="connsiteY115" fmla="*/ 4822515 h 6858000"/>
              <a:gd name="connsiteX116" fmla="*/ 8589453 w 10344472"/>
              <a:gd name="connsiteY116" fmla="*/ 4744085 h 6858000"/>
              <a:gd name="connsiteX117" fmla="*/ 8589453 w 10344472"/>
              <a:gd name="connsiteY117" fmla="*/ 4965380 h 6858000"/>
              <a:gd name="connsiteX118" fmla="*/ 8520932 w 10344472"/>
              <a:gd name="connsiteY118" fmla="*/ 4965380 h 6858000"/>
              <a:gd name="connsiteX119" fmla="*/ 8520932 w 10344472"/>
              <a:gd name="connsiteY119" fmla="*/ 4383133 h 6858000"/>
              <a:gd name="connsiteX120" fmla="*/ 8589453 w 10344472"/>
              <a:gd name="connsiteY120" fmla="*/ 4383133 h 6858000"/>
              <a:gd name="connsiteX121" fmla="*/ 8589453 w 10344472"/>
              <a:gd name="connsiteY121" fmla="*/ 4455731 h 6858000"/>
              <a:gd name="connsiteX122" fmla="*/ 8735535 w 10344472"/>
              <a:gd name="connsiteY122" fmla="*/ 4375552 h 6858000"/>
              <a:gd name="connsiteX123" fmla="*/ 7450543 w 10344472"/>
              <a:gd name="connsiteY123" fmla="*/ 4375552 h 6858000"/>
              <a:gd name="connsiteX124" fmla="*/ 7662813 w 10344472"/>
              <a:gd name="connsiteY124" fmla="*/ 4595389 h 6858000"/>
              <a:gd name="connsiteX125" fmla="*/ 7662813 w 10344472"/>
              <a:gd name="connsiteY125" fmla="*/ 4602095 h 6858000"/>
              <a:gd name="connsiteX126" fmla="*/ 7449668 w 10344472"/>
              <a:gd name="connsiteY126" fmla="*/ 4822515 h 6858000"/>
              <a:gd name="connsiteX127" fmla="*/ 7238273 w 10344472"/>
              <a:gd name="connsiteY127" fmla="*/ 4602678 h 6858000"/>
              <a:gd name="connsiteX128" fmla="*/ 7238273 w 10344472"/>
              <a:gd name="connsiteY128" fmla="*/ 4595972 h 6858000"/>
              <a:gd name="connsiteX129" fmla="*/ 7450543 w 10344472"/>
              <a:gd name="connsiteY129" fmla="*/ 4375552 h 6858000"/>
              <a:gd name="connsiteX130" fmla="*/ 6977308 w 10344472"/>
              <a:gd name="connsiteY130" fmla="*/ 4375552 h 6858000"/>
              <a:gd name="connsiteX131" fmla="*/ 7164794 w 10344472"/>
              <a:gd name="connsiteY131" fmla="*/ 4526581 h 6858000"/>
              <a:gd name="connsiteX132" fmla="*/ 7097148 w 10344472"/>
              <a:gd name="connsiteY132" fmla="*/ 4526581 h 6858000"/>
              <a:gd name="connsiteX133" fmla="*/ 6977308 w 10344472"/>
              <a:gd name="connsiteY133" fmla="*/ 4432406 h 6858000"/>
              <a:gd name="connsiteX134" fmla="*/ 6838517 w 10344472"/>
              <a:gd name="connsiteY134" fmla="*/ 4596847 h 6858000"/>
              <a:gd name="connsiteX135" fmla="*/ 6838517 w 10344472"/>
              <a:gd name="connsiteY135" fmla="*/ 4603553 h 6858000"/>
              <a:gd name="connsiteX136" fmla="*/ 6979641 w 10344472"/>
              <a:gd name="connsiteY136" fmla="*/ 4765369 h 6858000"/>
              <a:gd name="connsiteX137" fmla="*/ 7103563 w 10344472"/>
              <a:gd name="connsiteY137" fmla="*/ 4659532 h 6858000"/>
              <a:gd name="connsiteX138" fmla="*/ 7167127 w 10344472"/>
              <a:gd name="connsiteY138" fmla="*/ 4659532 h 6858000"/>
              <a:gd name="connsiteX139" fmla="*/ 6978766 w 10344472"/>
              <a:gd name="connsiteY139" fmla="*/ 4822224 h 6858000"/>
              <a:gd name="connsiteX140" fmla="*/ 6767371 w 10344472"/>
              <a:gd name="connsiteY140" fmla="*/ 4603553 h 6858000"/>
              <a:gd name="connsiteX141" fmla="*/ 6767371 w 10344472"/>
              <a:gd name="connsiteY141" fmla="*/ 4596847 h 6858000"/>
              <a:gd name="connsiteX142" fmla="*/ 6977308 w 10344472"/>
              <a:gd name="connsiteY142" fmla="*/ 4375552 h 6858000"/>
              <a:gd name="connsiteX143" fmla="*/ 3295240 w 10344472"/>
              <a:gd name="connsiteY143" fmla="*/ 4375552 h 6858000"/>
              <a:gd name="connsiteX144" fmla="*/ 3124374 w 10344472"/>
              <a:gd name="connsiteY144" fmla="*/ 4510253 h 6858000"/>
              <a:gd name="connsiteX145" fmla="*/ 3192895 w 10344472"/>
              <a:gd name="connsiteY145" fmla="*/ 4510253 h 6858000"/>
              <a:gd name="connsiteX146" fmla="*/ 3292032 w 10344472"/>
              <a:gd name="connsiteY146" fmla="*/ 4432698 h 6858000"/>
              <a:gd name="connsiteX147" fmla="*/ 3384463 w 10344472"/>
              <a:gd name="connsiteY147" fmla="*/ 4530079 h 6858000"/>
              <a:gd name="connsiteX148" fmla="*/ 3384463 w 10344472"/>
              <a:gd name="connsiteY148" fmla="*/ 4561568 h 6858000"/>
              <a:gd name="connsiteX149" fmla="*/ 3322648 w 10344472"/>
              <a:gd name="connsiteY149" fmla="*/ 4561568 h 6858000"/>
              <a:gd name="connsiteX150" fmla="*/ 3106296 w 10344472"/>
              <a:gd name="connsiteY150" fmla="*/ 4695394 h 6858000"/>
              <a:gd name="connsiteX151" fmla="*/ 3249753 w 10344472"/>
              <a:gd name="connsiteY151" fmla="*/ 4822224 h 6858000"/>
              <a:gd name="connsiteX152" fmla="*/ 3384463 w 10344472"/>
              <a:gd name="connsiteY152" fmla="*/ 4760413 h 6858000"/>
              <a:gd name="connsiteX153" fmla="*/ 3384463 w 10344472"/>
              <a:gd name="connsiteY153" fmla="*/ 4814935 h 6858000"/>
              <a:gd name="connsiteX154" fmla="*/ 3452984 w 10344472"/>
              <a:gd name="connsiteY154" fmla="*/ 4814935 h 6858000"/>
              <a:gd name="connsiteX155" fmla="*/ 3452984 w 10344472"/>
              <a:gd name="connsiteY155" fmla="*/ 4530079 h 6858000"/>
              <a:gd name="connsiteX156" fmla="*/ 3295240 w 10344472"/>
              <a:gd name="connsiteY156" fmla="*/ 4375552 h 6858000"/>
              <a:gd name="connsiteX157" fmla="*/ 4369128 w 10344472"/>
              <a:gd name="connsiteY157" fmla="*/ 4374094 h 6858000"/>
              <a:gd name="connsiteX158" fmla="*/ 4254537 w 10344472"/>
              <a:gd name="connsiteY158" fmla="*/ 4402667 h 6858000"/>
              <a:gd name="connsiteX159" fmla="*/ 4174935 w 10344472"/>
              <a:gd name="connsiteY159" fmla="*/ 4483721 h 6858000"/>
              <a:gd name="connsiteX160" fmla="*/ 4146944 w 10344472"/>
              <a:gd name="connsiteY160" fmla="*/ 4593639 h 6858000"/>
              <a:gd name="connsiteX161" fmla="*/ 4174935 w 10344472"/>
              <a:gd name="connsiteY161" fmla="*/ 4719594 h 6858000"/>
              <a:gd name="connsiteX162" fmla="*/ 4256869 w 10344472"/>
              <a:gd name="connsiteY162" fmla="*/ 4798023 h 6858000"/>
              <a:gd name="connsiteX163" fmla="*/ 4370002 w 10344472"/>
              <a:gd name="connsiteY163" fmla="*/ 4824847 h 6858000"/>
              <a:gd name="connsiteX164" fmla="*/ 4529205 w 10344472"/>
              <a:gd name="connsiteY164" fmla="*/ 4760412 h 6858000"/>
              <a:gd name="connsiteX165" fmla="*/ 4592478 w 10344472"/>
              <a:gd name="connsiteY165" fmla="*/ 4598304 h 6858000"/>
              <a:gd name="connsiteX166" fmla="*/ 4529788 w 10344472"/>
              <a:gd name="connsiteY166" fmla="*/ 4437654 h 6858000"/>
              <a:gd name="connsiteX167" fmla="*/ 4369128 w 10344472"/>
              <a:gd name="connsiteY167" fmla="*/ 4374094 h 6858000"/>
              <a:gd name="connsiteX168" fmla="*/ 5366331 w 10344472"/>
              <a:gd name="connsiteY168" fmla="*/ 4312574 h 6858000"/>
              <a:gd name="connsiteX169" fmla="*/ 5453221 w 10344472"/>
              <a:gd name="connsiteY169" fmla="*/ 4337940 h 6858000"/>
              <a:gd name="connsiteX170" fmla="*/ 5455785 w 10344472"/>
              <a:gd name="connsiteY170" fmla="*/ 4340581 h 6858000"/>
              <a:gd name="connsiteX171" fmla="*/ 5410884 w 10344472"/>
              <a:gd name="connsiteY171" fmla="*/ 4495966 h 6858000"/>
              <a:gd name="connsiteX172" fmla="*/ 5368372 w 10344472"/>
              <a:gd name="connsiteY172" fmla="*/ 4495966 h 6858000"/>
              <a:gd name="connsiteX173" fmla="*/ 5368372 w 10344472"/>
              <a:gd name="connsiteY173" fmla="*/ 4596263 h 6858000"/>
              <a:gd name="connsiteX174" fmla="*/ 5381902 w 10344472"/>
              <a:gd name="connsiteY174" fmla="*/ 4596263 h 6858000"/>
              <a:gd name="connsiteX175" fmla="*/ 5346461 w 10344472"/>
              <a:gd name="connsiteY175" fmla="*/ 4718911 h 6858000"/>
              <a:gd name="connsiteX176" fmla="*/ 5296024 w 10344472"/>
              <a:gd name="connsiteY176" fmla="*/ 4709207 h 6858000"/>
              <a:gd name="connsiteX177" fmla="*/ 5241534 w 10344472"/>
              <a:gd name="connsiteY177" fmla="*/ 4669445 h 6858000"/>
              <a:gd name="connsiteX178" fmla="*/ 5194298 w 10344472"/>
              <a:gd name="connsiteY178" fmla="*/ 4510544 h 6858000"/>
              <a:gd name="connsiteX179" fmla="*/ 5240951 w 10344472"/>
              <a:gd name="connsiteY179" fmla="*/ 4362431 h 6858000"/>
              <a:gd name="connsiteX180" fmla="*/ 5366331 w 10344472"/>
              <a:gd name="connsiteY180" fmla="*/ 4312574 h 6858000"/>
              <a:gd name="connsiteX181" fmla="*/ 3701993 w 10344472"/>
              <a:gd name="connsiteY181" fmla="*/ 4219566 h 6858000"/>
              <a:gd name="connsiteX182" fmla="*/ 3920386 w 10344472"/>
              <a:gd name="connsiteY182" fmla="*/ 4564191 h 6858000"/>
              <a:gd name="connsiteX183" fmla="*/ 3920386 w 10344472"/>
              <a:gd name="connsiteY183" fmla="*/ 4814642 h 6858000"/>
              <a:gd name="connsiteX184" fmla="*/ 4040226 w 10344472"/>
              <a:gd name="connsiteY184" fmla="*/ 4814642 h 6858000"/>
              <a:gd name="connsiteX185" fmla="*/ 4040226 w 10344472"/>
              <a:gd name="connsiteY185" fmla="*/ 4565066 h 6858000"/>
              <a:gd name="connsiteX186" fmla="*/ 4259202 w 10344472"/>
              <a:gd name="connsiteY186" fmla="*/ 4219858 h 6858000"/>
              <a:gd name="connsiteX187" fmla="*/ 4120410 w 10344472"/>
              <a:gd name="connsiteY187" fmla="*/ 4219858 h 6858000"/>
              <a:gd name="connsiteX188" fmla="*/ 3983076 w 10344472"/>
              <a:gd name="connsiteY188" fmla="*/ 4455148 h 6858000"/>
              <a:gd name="connsiteX189" fmla="*/ 3842826 w 10344472"/>
              <a:gd name="connsiteY189" fmla="*/ 4219858 h 6858000"/>
              <a:gd name="connsiteX190" fmla="*/ 3842826 w 10344472"/>
              <a:gd name="connsiteY190" fmla="*/ 4219566 h 6858000"/>
              <a:gd name="connsiteX191" fmla="*/ 3701993 w 10344472"/>
              <a:gd name="connsiteY191" fmla="*/ 4219566 h 6858000"/>
              <a:gd name="connsiteX192" fmla="*/ 3112711 w 10344472"/>
              <a:gd name="connsiteY192" fmla="*/ 2062597 h 6858000"/>
              <a:gd name="connsiteX193" fmla="*/ 3112711 w 10344472"/>
              <a:gd name="connsiteY193" fmla="*/ 3855407 h 6858000"/>
              <a:gd name="connsiteX194" fmla="*/ 4592478 w 10344472"/>
              <a:gd name="connsiteY194" fmla="*/ 3855407 h 6858000"/>
              <a:gd name="connsiteX195" fmla="*/ 4592478 w 10344472"/>
              <a:gd name="connsiteY195" fmla="*/ 3361794 h 6858000"/>
              <a:gd name="connsiteX196" fmla="*/ 3710741 w 10344472"/>
              <a:gd name="connsiteY196" fmla="*/ 3361794 h 6858000"/>
              <a:gd name="connsiteX197" fmla="*/ 3710741 w 10344472"/>
              <a:gd name="connsiteY197" fmla="*/ 2062597 h 6858000"/>
              <a:gd name="connsiteX198" fmla="*/ 3112711 w 10344472"/>
              <a:gd name="connsiteY198" fmla="*/ 2062597 h 6858000"/>
              <a:gd name="connsiteX199" fmla="*/ 9524550 w 10344472"/>
              <a:gd name="connsiteY199" fmla="*/ 2061139 h 6858000"/>
              <a:gd name="connsiteX200" fmla="*/ 10233964 w 10344472"/>
              <a:gd name="connsiteY200" fmla="*/ 2062014 h 6858000"/>
              <a:gd name="connsiteX201" fmla="*/ 10261664 w 10344472"/>
              <a:gd name="connsiteY201" fmla="*/ 2062014 h 6858000"/>
              <a:gd name="connsiteX202" fmla="*/ 9436493 w 10344472"/>
              <a:gd name="connsiteY202" fmla="*/ 2879843 h 6858000"/>
              <a:gd name="connsiteX203" fmla="*/ 10344472 w 10344472"/>
              <a:gd name="connsiteY203" fmla="*/ 3856281 h 6858000"/>
              <a:gd name="connsiteX204" fmla="*/ 10330185 w 10344472"/>
              <a:gd name="connsiteY204" fmla="*/ 3856281 h 6858000"/>
              <a:gd name="connsiteX205" fmla="*/ 9609108 w 10344472"/>
              <a:gd name="connsiteY205" fmla="*/ 3856573 h 6858000"/>
              <a:gd name="connsiteX206" fmla="*/ 9587239 w 10344472"/>
              <a:gd name="connsiteY206" fmla="*/ 3846660 h 6858000"/>
              <a:gd name="connsiteX207" fmla="*/ 9072309 w 10344472"/>
              <a:gd name="connsiteY207" fmla="*/ 3253041 h 6858000"/>
              <a:gd name="connsiteX208" fmla="*/ 8965591 w 10344472"/>
              <a:gd name="connsiteY208" fmla="*/ 3130294 h 6858000"/>
              <a:gd name="connsiteX209" fmla="*/ 8952470 w 10344472"/>
              <a:gd name="connsiteY209" fmla="*/ 3115424 h 6858000"/>
              <a:gd name="connsiteX210" fmla="*/ 8952470 w 10344472"/>
              <a:gd name="connsiteY210" fmla="*/ 3855407 h 6858000"/>
              <a:gd name="connsiteX211" fmla="*/ 8352982 w 10344472"/>
              <a:gd name="connsiteY211" fmla="*/ 3855407 h 6858000"/>
              <a:gd name="connsiteX212" fmla="*/ 8352982 w 10344472"/>
              <a:gd name="connsiteY212" fmla="*/ 2062888 h 6858000"/>
              <a:gd name="connsiteX213" fmla="*/ 8951595 w 10344472"/>
              <a:gd name="connsiteY213" fmla="*/ 2062888 h 6858000"/>
              <a:gd name="connsiteX214" fmla="*/ 8951595 w 10344472"/>
              <a:gd name="connsiteY214" fmla="*/ 2618604 h 6858000"/>
              <a:gd name="connsiteX215" fmla="*/ 8990667 w 10344472"/>
              <a:gd name="connsiteY215" fmla="*/ 2579243 h 6858000"/>
              <a:gd name="connsiteX216" fmla="*/ 9449030 w 10344472"/>
              <a:gd name="connsiteY216" fmla="*/ 2093211 h 6858000"/>
              <a:gd name="connsiteX217" fmla="*/ 9524550 w 10344472"/>
              <a:gd name="connsiteY217" fmla="*/ 2061139 h 6858000"/>
              <a:gd name="connsiteX218" fmla="*/ 5280607 w 10344472"/>
              <a:gd name="connsiteY218" fmla="*/ 2061139 h 6858000"/>
              <a:gd name="connsiteX219" fmla="*/ 5264570 w 10344472"/>
              <a:gd name="connsiteY219" fmla="*/ 2074842 h 6858000"/>
              <a:gd name="connsiteX220" fmla="*/ 5094870 w 10344472"/>
              <a:gd name="connsiteY220" fmla="*/ 2664671 h 6858000"/>
              <a:gd name="connsiteX221" fmla="*/ 4793085 w 10344472"/>
              <a:gd name="connsiteY221" fmla="*/ 3709043 h 6858000"/>
              <a:gd name="connsiteX222" fmla="*/ 4750806 w 10344472"/>
              <a:gd name="connsiteY222" fmla="*/ 3855698 h 6858000"/>
              <a:gd name="connsiteX223" fmla="*/ 5353501 w 10344472"/>
              <a:gd name="connsiteY223" fmla="*/ 3855698 h 6858000"/>
              <a:gd name="connsiteX224" fmla="*/ 5871347 w 10344472"/>
              <a:gd name="connsiteY224" fmla="*/ 2062305 h 6858000"/>
              <a:gd name="connsiteX225" fmla="*/ 5859392 w 10344472"/>
              <a:gd name="connsiteY225" fmla="*/ 2061431 h 6858000"/>
              <a:gd name="connsiteX226" fmla="*/ 5280607 w 10344472"/>
              <a:gd name="connsiteY226" fmla="*/ 2061139 h 6858000"/>
              <a:gd name="connsiteX227" fmla="*/ 0 w 10344472"/>
              <a:gd name="connsiteY227" fmla="*/ 0 h 6858000"/>
              <a:gd name="connsiteX228" fmla="*/ 6707236 w 10344472"/>
              <a:gd name="connsiteY228" fmla="*/ 0 h 6858000"/>
              <a:gd name="connsiteX229" fmla="*/ 6114289 w 10344472"/>
              <a:gd name="connsiteY229" fmla="*/ 2060916 h 6858000"/>
              <a:gd name="connsiteX230" fmla="*/ 6560000 w 10344472"/>
              <a:gd name="connsiteY230" fmla="*/ 2061141 h 6858000"/>
              <a:gd name="connsiteX231" fmla="*/ 6564947 w 10344472"/>
              <a:gd name="connsiteY231" fmla="*/ 2061503 h 6858000"/>
              <a:gd name="connsiteX232" fmla="*/ 6705555 w 10344472"/>
              <a:gd name="connsiteY232" fmla="*/ 2061431 h 6858000"/>
              <a:gd name="connsiteX233" fmla="*/ 6726841 w 10344472"/>
              <a:gd name="connsiteY233" fmla="*/ 2073677 h 6858000"/>
              <a:gd name="connsiteX234" fmla="*/ 7211738 w 10344472"/>
              <a:gd name="connsiteY234" fmla="*/ 2996759 h 6858000"/>
              <a:gd name="connsiteX235" fmla="*/ 7282883 w 10344472"/>
              <a:gd name="connsiteY235" fmla="*/ 3131461 h 6858000"/>
              <a:gd name="connsiteX236" fmla="*/ 7292797 w 10344472"/>
              <a:gd name="connsiteY236" fmla="*/ 3150121 h 6858000"/>
              <a:gd name="connsiteX237" fmla="*/ 7304460 w 10344472"/>
              <a:gd name="connsiteY237" fmla="*/ 3108136 h 6858000"/>
              <a:gd name="connsiteX238" fmla="*/ 7479700 w 10344472"/>
              <a:gd name="connsiteY238" fmla="*/ 2453581 h 6858000"/>
              <a:gd name="connsiteX239" fmla="*/ 7580003 w 10344472"/>
              <a:gd name="connsiteY239" fmla="*/ 2077467 h 6858000"/>
              <a:gd name="connsiteX240" fmla="*/ 7601288 w 10344472"/>
              <a:gd name="connsiteY240" fmla="*/ 2060848 h 6858000"/>
              <a:gd name="connsiteX241" fmla="*/ 8180074 w 10344472"/>
              <a:gd name="connsiteY241" fmla="*/ 2061140 h 6858000"/>
              <a:gd name="connsiteX242" fmla="*/ 8198153 w 10344472"/>
              <a:gd name="connsiteY242" fmla="*/ 2061140 h 6858000"/>
              <a:gd name="connsiteX243" fmla="*/ 7679140 w 10344472"/>
              <a:gd name="connsiteY243" fmla="*/ 3855699 h 6858000"/>
              <a:gd name="connsiteX244" fmla="*/ 7661354 w 10344472"/>
              <a:gd name="connsiteY244" fmla="*/ 3855699 h 6858000"/>
              <a:gd name="connsiteX245" fmla="*/ 7081110 w 10344472"/>
              <a:gd name="connsiteY245" fmla="*/ 3855990 h 6858000"/>
              <a:gd name="connsiteX246" fmla="*/ 7055743 w 10344472"/>
              <a:gd name="connsiteY246" fmla="*/ 3840829 h 6858000"/>
              <a:gd name="connsiteX247" fmla="*/ 6762997 w 10344472"/>
              <a:gd name="connsiteY247" fmla="*/ 3290070 h 6858000"/>
              <a:gd name="connsiteX248" fmla="*/ 6497367 w 10344472"/>
              <a:gd name="connsiteY248" fmla="*/ 2790626 h 6858000"/>
              <a:gd name="connsiteX249" fmla="*/ 6488620 w 10344472"/>
              <a:gd name="connsiteY249" fmla="*/ 2776339 h 6858000"/>
              <a:gd name="connsiteX250" fmla="*/ 6200539 w 10344472"/>
              <a:gd name="connsiteY250" fmla="*/ 3864641 h 6858000"/>
              <a:gd name="connsiteX251" fmla="*/ 5594353 w 10344472"/>
              <a:gd name="connsiteY251" fmla="*/ 3861048 h 6858000"/>
              <a:gd name="connsiteX252" fmla="*/ 5487296 w 10344472"/>
              <a:gd name="connsiteY252" fmla="*/ 4231534 h 6858000"/>
              <a:gd name="connsiteX253" fmla="*/ 5465213 w 10344472"/>
              <a:gd name="connsiteY253" fmla="*/ 4221243 h 6858000"/>
              <a:gd name="connsiteX254" fmla="*/ 5366331 w 10344472"/>
              <a:gd name="connsiteY254" fmla="*/ 4209653 h 6858000"/>
              <a:gd name="connsiteX255" fmla="*/ 5224040 w 10344472"/>
              <a:gd name="connsiteY255" fmla="*/ 4239684 h 6858000"/>
              <a:gd name="connsiteX256" fmla="*/ 5109740 w 10344472"/>
              <a:gd name="connsiteY256" fmla="*/ 4350477 h 6858000"/>
              <a:gd name="connsiteX257" fmla="*/ 5070669 w 10344472"/>
              <a:gd name="connsiteY257" fmla="*/ 4515501 h 6858000"/>
              <a:gd name="connsiteX258" fmla="*/ 5105658 w 10344472"/>
              <a:gd name="connsiteY258" fmla="*/ 4674110 h 6858000"/>
              <a:gd name="connsiteX259" fmla="*/ 5210044 w 10344472"/>
              <a:gd name="connsiteY259" fmla="*/ 4786070 h 6858000"/>
              <a:gd name="connsiteX260" fmla="*/ 5285527 w 10344472"/>
              <a:gd name="connsiteY260" fmla="*/ 4815335 h 6858000"/>
              <a:gd name="connsiteX261" fmla="*/ 5317561 w 10344472"/>
              <a:gd name="connsiteY261" fmla="*/ 4818924 h 6858000"/>
              <a:gd name="connsiteX262" fmla="*/ 4728343 w 10344472"/>
              <a:gd name="connsiteY262" fmla="*/ 6858000 h 6858000"/>
              <a:gd name="connsiteX263" fmla="*/ 0 w 10344472"/>
              <a:gd name="connsiteY263" fmla="*/ 6858000 h 6858000"/>
              <a:gd name="connsiteX264" fmla="*/ 0 w 10344472"/>
              <a:gd name="connsiteY26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Lst>
            <a:rect l="l" t="t" r="r" b="b"/>
            <a:pathLst>
              <a:path w="10344472" h="6858000">
                <a:moveTo>
                  <a:pt x="9222182" y="4610259"/>
                </a:moveTo>
                <a:cubicBezTo>
                  <a:pt x="9135582" y="4610259"/>
                  <a:pt x="9071727" y="4631834"/>
                  <a:pt x="9071727" y="4695394"/>
                </a:cubicBezTo>
                <a:cubicBezTo>
                  <a:pt x="9071727" y="4740003"/>
                  <a:pt x="9093303" y="4767993"/>
                  <a:pt x="9153369" y="4767993"/>
                </a:cubicBezTo>
                <a:cubicBezTo>
                  <a:pt x="9226264" y="4767993"/>
                  <a:pt x="9281664" y="4730673"/>
                  <a:pt x="9281664" y="4663906"/>
                </a:cubicBezTo>
                <a:lnTo>
                  <a:pt x="9281664" y="4610259"/>
                </a:lnTo>
                <a:lnTo>
                  <a:pt x="9222182" y="4610259"/>
                </a:lnTo>
                <a:close/>
                <a:moveTo>
                  <a:pt x="3325272" y="4610259"/>
                </a:moveTo>
                <a:lnTo>
                  <a:pt x="3384755" y="4610259"/>
                </a:lnTo>
                <a:lnTo>
                  <a:pt x="3384755" y="4663906"/>
                </a:lnTo>
                <a:cubicBezTo>
                  <a:pt x="3384755" y="4730673"/>
                  <a:pt x="3329355" y="4767993"/>
                  <a:pt x="3256460" y="4767993"/>
                </a:cubicBezTo>
                <a:cubicBezTo>
                  <a:pt x="3196394" y="4767993"/>
                  <a:pt x="3174817" y="4740003"/>
                  <a:pt x="3174817" y="4695394"/>
                </a:cubicBezTo>
                <a:cubicBezTo>
                  <a:pt x="3174817" y="4631834"/>
                  <a:pt x="3238673" y="4610259"/>
                  <a:pt x="3325272" y="4610259"/>
                </a:cubicBezTo>
                <a:close/>
                <a:moveTo>
                  <a:pt x="4369419" y="4467101"/>
                </a:moveTo>
                <a:cubicBezTo>
                  <a:pt x="4399452" y="4467101"/>
                  <a:pt x="4424236" y="4478472"/>
                  <a:pt x="4444355" y="4501214"/>
                </a:cubicBezTo>
                <a:cubicBezTo>
                  <a:pt x="4464474" y="4523956"/>
                  <a:pt x="4474679" y="4556319"/>
                  <a:pt x="4474679" y="4598596"/>
                </a:cubicBezTo>
                <a:cubicBezTo>
                  <a:pt x="4474679" y="4642038"/>
                  <a:pt x="4464474" y="4674985"/>
                  <a:pt x="4444355" y="4697726"/>
                </a:cubicBezTo>
                <a:cubicBezTo>
                  <a:pt x="4424236" y="4720468"/>
                  <a:pt x="4399160" y="4731839"/>
                  <a:pt x="4369419" y="4731839"/>
                </a:cubicBezTo>
                <a:cubicBezTo>
                  <a:pt x="4339678" y="4731839"/>
                  <a:pt x="4314602" y="4720468"/>
                  <a:pt x="4294192" y="4697726"/>
                </a:cubicBezTo>
                <a:cubicBezTo>
                  <a:pt x="4273781" y="4674985"/>
                  <a:pt x="4263576" y="4642330"/>
                  <a:pt x="4263576" y="4599470"/>
                </a:cubicBezTo>
                <a:cubicBezTo>
                  <a:pt x="4263576" y="4556611"/>
                  <a:pt x="4273781" y="4523956"/>
                  <a:pt x="4294192" y="4501214"/>
                </a:cubicBezTo>
                <a:cubicBezTo>
                  <a:pt x="4314602" y="4478472"/>
                  <a:pt x="4339678" y="4467101"/>
                  <a:pt x="4369419" y="4467101"/>
                </a:cubicBezTo>
                <a:close/>
                <a:moveTo>
                  <a:pt x="8728245" y="4432406"/>
                </a:moveTo>
                <a:cubicBezTo>
                  <a:pt x="8648061" y="4432406"/>
                  <a:pt x="8587121" y="4485179"/>
                  <a:pt x="8587121" y="4595972"/>
                </a:cubicBezTo>
                <a:lnTo>
                  <a:pt x="8587121" y="4602678"/>
                </a:lnTo>
                <a:cubicBezTo>
                  <a:pt x="8587121" y="4713471"/>
                  <a:pt x="8644853" y="4765369"/>
                  <a:pt x="8729120" y="4765369"/>
                </a:cubicBezTo>
                <a:cubicBezTo>
                  <a:pt x="8815136" y="4765369"/>
                  <a:pt x="8861206" y="4707640"/>
                  <a:pt x="8861206" y="4602678"/>
                </a:cubicBezTo>
                <a:lnTo>
                  <a:pt x="8861206" y="4595972"/>
                </a:lnTo>
                <a:cubicBezTo>
                  <a:pt x="8861206" y="4486928"/>
                  <a:pt x="8800849" y="4432406"/>
                  <a:pt x="8728245" y="4432406"/>
                </a:cubicBezTo>
                <a:close/>
                <a:moveTo>
                  <a:pt x="7450543" y="4432406"/>
                </a:moveTo>
                <a:cubicBezTo>
                  <a:pt x="7363944" y="4432406"/>
                  <a:pt x="7309419" y="4496841"/>
                  <a:pt x="7309419" y="4595972"/>
                </a:cubicBezTo>
                <a:lnTo>
                  <a:pt x="7309419" y="4602678"/>
                </a:lnTo>
                <a:cubicBezTo>
                  <a:pt x="7309419" y="4700934"/>
                  <a:pt x="7363069" y="4765369"/>
                  <a:pt x="7450543" y="4765369"/>
                </a:cubicBezTo>
                <a:cubicBezTo>
                  <a:pt x="7537142" y="4765369"/>
                  <a:pt x="7591668" y="4700351"/>
                  <a:pt x="7591668" y="4602678"/>
                </a:cubicBezTo>
                <a:lnTo>
                  <a:pt x="7591668" y="4596847"/>
                </a:lnTo>
                <a:cubicBezTo>
                  <a:pt x="7591668" y="4496841"/>
                  <a:pt x="7536268" y="4432406"/>
                  <a:pt x="7450543" y="4432406"/>
                </a:cubicBezTo>
                <a:close/>
                <a:moveTo>
                  <a:pt x="4629508" y="4383423"/>
                </a:moveTo>
                <a:lnTo>
                  <a:pt x="4629508" y="4656033"/>
                </a:lnTo>
                <a:cubicBezTo>
                  <a:pt x="4629508" y="4696560"/>
                  <a:pt x="4634757" y="4728340"/>
                  <a:pt x="4644962" y="4751374"/>
                </a:cubicBezTo>
                <a:cubicBezTo>
                  <a:pt x="4655167" y="4774407"/>
                  <a:pt x="4671787" y="4792192"/>
                  <a:pt x="4694822" y="4805021"/>
                </a:cubicBezTo>
                <a:cubicBezTo>
                  <a:pt x="4717857" y="4817558"/>
                  <a:pt x="4744099" y="4823972"/>
                  <a:pt x="4772966" y="4823972"/>
                </a:cubicBezTo>
                <a:cubicBezTo>
                  <a:pt x="4801249" y="4823972"/>
                  <a:pt x="4828366" y="4817267"/>
                  <a:pt x="4854025" y="4804146"/>
                </a:cubicBezTo>
                <a:cubicBezTo>
                  <a:pt x="4879684" y="4791026"/>
                  <a:pt x="4900386" y="4772949"/>
                  <a:pt x="4916131" y="4749916"/>
                </a:cubicBezTo>
                <a:lnTo>
                  <a:pt x="4916131" y="4814351"/>
                </a:lnTo>
                <a:lnTo>
                  <a:pt x="5022266" y="4814351"/>
                </a:lnTo>
                <a:lnTo>
                  <a:pt x="5022266" y="4383423"/>
                </a:lnTo>
                <a:lnTo>
                  <a:pt x="4907967" y="4383423"/>
                </a:lnTo>
                <a:lnTo>
                  <a:pt x="4907967" y="4565358"/>
                </a:lnTo>
                <a:cubicBezTo>
                  <a:pt x="4907967" y="4627169"/>
                  <a:pt x="4905343" y="4665946"/>
                  <a:pt x="4899511" y="4681691"/>
                </a:cubicBezTo>
                <a:cubicBezTo>
                  <a:pt x="4893680" y="4697435"/>
                  <a:pt x="4883183" y="4710555"/>
                  <a:pt x="4867729" y="4721343"/>
                </a:cubicBezTo>
                <a:cubicBezTo>
                  <a:pt x="4852275" y="4732131"/>
                  <a:pt x="4834781" y="4737379"/>
                  <a:pt x="4815245" y="4737379"/>
                </a:cubicBezTo>
                <a:cubicBezTo>
                  <a:pt x="4798041" y="4737379"/>
                  <a:pt x="4784046" y="4733297"/>
                  <a:pt x="4772966" y="4725425"/>
                </a:cubicBezTo>
                <a:cubicBezTo>
                  <a:pt x="4761886" y="4717553"/>
                  <a:pt x="4754013" y="4706765"/>
                  <a:pt x="4749931" y="4693061"/>
                </a:cubicBezTo>
                <a:cubicBezTo>
                  <a:pt x="4745557" y="4679358"/>
                  <a:pt x="4743516" y="4642330"/>
                  <a:pt x="4743516" y="4581685"/>
                </a:cubicBezTo>
                <a:lnTo>
                  <a:pt x="4743516" y="4383715"/>
                </a:lnTo>
                <a:lnTo>
                  <a:pt x="4743516" y="4383423"/>
                </a:lnTo>
                <a:lnTo>
                  <a:pt x="4629508" y="4383423"/>
                </a:lnTo>
                <a:close/>
                <a:moveTo>
                  <a:pt x="9917600" y="4382841"/>
                </a:moveTo>
                <a:lnTo>
                  <a:pt x="9991078" y="4382841"/>
                </a:lnTo>
                <a:lnTo>
                  <a:pt x="10123164" y="4692479"/>
                </a:lnTo>
                <a:lnTo>
                  <a:pt x="10243003" y="4382841"/>
                </a:lnTo>
                <a:lnTo>
                  <a:pt x="10313274" y="4382841"/>
                </a:lnTo>
                <a:lnTo>
                  <a:pt x="10074469" y="4965089"/>
                </a:lnTo>
                <a:lnTo>
                  <a:pt x="10005074" y="4965089"/>
                </a:lnTo>
                <a:lnTo>
                  <a:pt x="10087007" y="4770326"/>
                </a:lnTo>
                <a:lnTo>
                  <a:pt x="9917600" y="4382841"/>
                </a:lnTo>
                <a:close/>
                <a:moveTo>
                  <a:pt x="7966639" y="4375843"/>
                </a:moveTo>
                <a:cubicBezTo>
                  <a:pt x="8022040" y="4375843"/>
                  <a:pt x="8070733" y="4398876"/>
                  <a:pt x="8092894" y="4456897"/>
                </a:cubicBezTo>
                <a:cubicBezTo>
                  <a:pt x="8122635" y="4400626"/>
                  <a:pt x="8187074" y="4375843"/>
                  <a:pt x="8240724" y="4375843"/>
                </a:cubicBezTo>
                <a:cubicBezTo>
                  <a:pt x="8318285" y="4375843"/>
                  <a:pt x="8386223" y="4422201"/>
                  <a:pt x="8386223" y="4547573"/>
                </a:cubicBezTo>
                <a:lnTo>
                  <a:pt x="8386223" y="4815226"/>
                </a:lnTo>
                <a:lnTo>
                  <a:pt x="8317702" y="4815226"/>
                </a:lnTo>
                <a:lnTo>
                  <a:pt x="8317702" y="4542616"/>
                </a:lnTo>
                <a:cubicBezTo>
                  <a:pt x="8317702" y="4466518"/>
                  <a:pt x="8285628" y="4435322"/>
                  <a:pt x="8226145" y="4435322"/>
                </a:cubicBezTo>
                <a:cubicBezTo>
                  <a:pt x="8169870" y="4435322"/>
                  <a:pt x="8112138" y="4473225"/>
                  <a:pt x="8112138" y="4551071"/>
                </a:cubicBezTo>
                <a:lnTo>
                  <a:pt x="8112138" y="4815226"/>
                </a:lnTo>
                <a:lnTo>
                  <a:pt x="8043617" y="4815226"/>
                </a:lnTo>
                <a:lnTo>
                  <a:pt x="8043617" y="4542616"/>
                </a:lnTo>
                <a:cubicBezTo>
                  <a:pt x="8043617" y="4466518"/>
                  <a:pt x="8011543" y="4435322"/>
                  <a:pt x="7952060" y="4435322"/>
                </a:cubicBezTo>
                <a:cubicBezTo>
                  <a:pt x="7895785" y="4435322"/>
                  <a:pt x="7838053" y="4473225"/>
                  <a:pt x="7838053" y="4551071"/>
                </a:cubicBezTo>
                <a:lnTo>
                  <a:pt x="7838053" y="4815226"/>
                </a:lnTo>
                <a:lnTo>
                  <a:pt x="7769532" y="4815226"/>
                </a:lnTo>
                <a:lnTo>
                  <a:pt x="7769532" y="4383132"/>
                </a:lnTo>
                <a:lnTo>
                  <a:pt x="7837761" y="4383132"/>
                </a:lnTo>
                <a:lnTo>
                  <a:pt x="7837761" y="4449316"/>
                </a:lnTo>
                <a:cubicBezTo>
                  <a:pt x="7857588" y="4408789"/>
                  <a:pt x="7904533" y="4375843"/>
                  <a:pt x="7966639" y="4375843"/>
                </a:cubicBezTo>
                <a:close/>
                <a:moveTo>
                  <a:pt x="9692209" y="4375552"/>
                </a:moveTo>
                <a:cubicBezTo>
                  <a:pt x="9781432" y="4375552"/>
                  <a:pt x="9844121" y="4424243"/>
                  <a:pt x="9844121" y="4549906"/>
                </a:cubicBezTo>
                <a:lnTo>
                  <a:pt x="9844121" y="4814935"/>
                </a:lnTo>
                <a:lnTo>
                  <a:pt x="9775600" y="4814935"/>
                </a:lnTo>
                <a:lnTo>
                  <a:pt x="9775600" y="4544949"/>
                </a:lnTo>
                <a:cubicBezTo>
                  <a:pt x="9775600" y="4468852"/>
                  <a:pt x="9743526" y="4435030"/>
                  <a:pt x="9674131" y="4435030"/>
                </a:cubicBezTo>
                <a:cubicBezTo>
                  <a:pt x="9610566" y="4435030"/>
                  <a:pt x="9553416" y="4475557"/>
                  <a:pt x="9553416" y="4553113"/>
                </a:cubicBezTo>
                <a:lnTo>
                  <a:pt x="9553416" y="4814935"/>
                </a:lnTo>
                <a:lnTo>
                  <a:pt x="9484895" y="4814935"/>
                </a:lnTo>
                <a:lnTo>
                  <a:pt x="9484895" y="4383133"/>
                </a:lnTo>
                <a:lnTo>
                  <a:pt x="9553416" y="4383133"/>
                </a:lnTo>
                <a:lnTo>
                  <a:pt x="9553416" y="4451649"/>
                </a:lnTo>
                <a:cubicBezTo>
                  <a:pt x="9573244" y="4411122"/>
                  <a:pt x="9621063" y="4375552"/>
                  <a:pt x="9692209" y="4375552"/>
                </a:cubicBezTo>
                <a:close/>
                <a:moveTo>
                  <a:pt x="9192440" y="4375552"/>
                </a:moveTo>
                <a:cubicBezTo>
                  <a:pt x="9274958" y="4375552"/>
                  <a:pt x="9350185" y="4409373"/>
                  <a:pt x="9350185" y="4530079"/>
                </a:cubicBezTo>
                <a:lnTo>
                  <a:pt x="9350185" y="4814935"/>
                </a:lnTo>
                <a:lnTo>
                  <a:pt x="9281664" y="4814935"/>
                </a:lnTo>
                <a:lnTo>
                  <a:pt x="9281664" y="4760413"/>
                </a:lnTo>
                <a:cubicBezTo>
                  <a:pt x="9249590" y="4800940"/>
                  <a:pt x="9210519" y="4822224"/>
                  <a:pt x="9146954" y="4822224"/>
                </a:cubicBezTo>
                <a:cubicBezTo>
                  <a:pt x="9067061" y="4822515"/>
                  <a:pt x="9003497" y="4783738"/>
                  <a:pt x="9003497" y="4695394"/>
                </a:cubicBezTo>
                <a:cubicBezTo>
                  <a:pt x="9003497" y="4595389"/>
                  <a:pt x="9109340" y="4561568"/>
                  <a:pt x="9219849" y="4561568"/>
                </a:cubicBezTo>
                <a:lnTo>
                  <a:pt x="9281664" y="4561568"/>
                </a:lnTo>
                <a:lnTo>
                  <a:pt x="9281664" y="4530079"/>
                </a:lnTo>
                <a:cubicBezTo>
                  <a:pt x="9281664" y="4461563"/>
                  <a:pt x="9255130" y="4432698"/>
                  <a:pt x="9189234" y="4432698"/>
                </a:cubicBezTo>
                <a:cubicBezTo>
                  <a:pt x="9129751" y="4432698"/>
                  <a:pt x="9096803" y="4457481"/>
                  <a:pt x="9090096" y="4510253"/>
                </a:cubicBezTo>
                <a:lnTo>
                  <a:pt x="9021575" y="4510253"/>
                </a:lnTo>
                <a:cubicBezTo>
                  <a:pt x="9030614" y="4411997"/>
                  <a:pt x="9109049" y="4375552"/>
                  <a:pt x="9192440" y="4375552"/>
                </a:cubicBezTo>
                <a:close/>
                <a:moveTo>
                  <a:pt x="8735535" y="4375552"/>
                </a:moveTo>
                <a:cubicBezTo>
                  <a:pt x="8848668" y="4375552"/>
                  <a:pt x="8932060" y="4458064"/>
                  <a:pt x="8932060" y="4592765"/>
                </a:cubicBezTo>
                <a:lnTo>
                  <a:pt x="8932060" y="4599471"/>
                </a:lnTo>
                <a:cubicBezTo>
                  <a:pt x="8932060" y="4731548"/>
                  <a:pt x="8854499" y="4822515"/>
                  <a:pt x="8735535" y="4822515"/>
                </a:cubicBezTo>
                <a:cubicBezTo>
                  <a:pt x="8664389" y="4822515"/>
                  <a:pt x="8614238" y="4786945"/>
                  <a:pt x="8589453" y="4744085"/>
                </a:cubicBezTo>
                <a:lnTo>
                  <a:pt x="8589453" y="4965380"/>
                </a:lnTo>
                <a:lnTo>
                  <a:pt x="8520932" y="4965380"/>
                </a:lnTo>
                <a:lnTo>
                  <a:pt x="8520932" y="4383133"/>
                </a:lnTo>
                <a:lnTo>
                  <a:pt x="8589453" y="4383133"/>
                </a:lnTo>
                <a:lnTo>
                  <a:pt x="8589453" y="4455731"/>
                </a:lnTo>
                <a:cubicBezTo>
                  <a:pt x="8614238" y="4413746"/>
                  <a:pt x="8672845" y="4375552"/>
                  <a:pt x="8735535" y="4375552"/>
                </a:cubicBezTo>
                <a:close/>
                <a:moveTo>
                  <a:pt x="7450543" y="4375552"/>
                </a:moveTo>
                <a:cubicBezTo>
                  <a:pt x="7572715" y="4375552"/>
                  <a:pt x="7662813" y="4465644"/>
                  <a:pt x="7662813" y="4595389"/>
                </a:cubicBezTo>
                <a:lnTo>
                  <a:pt x="7662813" y="4602095"/>
                </a:lnTo>
                <a:cubicBezTo>
                  <a:pt x="7662813" y="4732714"/>
                  <a:pt x="7572715" y="4822515"/>
                  <a:pt x="7449668" y="4822515"/>
                </a:cubicBezTo>
                <a:cubicBezTo>
                  <a:pt x="7326622" y="4822515"/>
                  <a:pt x="7238273" y="4729216"/>
                  <a:pt x="7238273" y="4602678"/>
                </a:cubicBezTo>
                <a:lnTo>
                  <a:pt x="7238273" y="4595972"/>
                </a:lnTo>
                <a:cubicBezTo>
                  <a:pt x="7238273" y="4466227"/>
                  <a:pt x="7328371" y="4375552"/>
                  <a:pt x="7450543" y="4375552"/>
                </a:cubicBezTo>
                <a:close/>
                <a:moveTo>
                  <a:pt x="6977308" y="4375552"/>
                </a:moveTo>
                <a:cubicBezTo>
                  <a:pt x="7067407" y="4375552"/>
                  <a:pt x="7151673" y="4416954"/>
                  <a:pt x="7164794" y="4526581"/>
                </a:cubicBezTo>
                <a:lnTo>
                  <a:pt x="7097148" y="4526581"/>
                </a:lnTo>
                <a:cubicBezTo>
                  <a:pt x="7086359" y="4458064"/>
                  <a:pt x="7036791" y="4432406"/>
                  <a:pt x="6977308" y="4432406"/>
                </a:cubicBezTo>
                <a:cubicBezTo>
                  <a:pt x="6898874" y="4432406"/>
                  <a:pt x="6838517" y="4495092"/>
                  <a:pt x="6838517" y="4596847"/>
                </a:cubicBezTo>
                <a:lnTo>
                  <a:pt x="6838517" y="4603553"/>
                </a:lnTo>
                <a:cubicBezTo>
                  <a:pt x="6838517" y="4709390"/>
                  <a:pt x="6896249" y="4765369"/>
                  <a:pt x="6979641" y="4765369"/>
                </a:cubicBezTo>
                <a:cubicBezTo>
                  <a:pt x="7040873" y="4765369"/>
                  <a:pt x="7095982" y="4729799"/>
                  <a:pt x="7103563" y="4659532"/>
                </a:cubicBezTo>
                <a:lnTo>
                  <a:pt x="7167127" y="4659532"/>
                </a:lnTo>
                <a:cubicBezTo>
                  <a:pt x="7158088" y="4752832"/>
                  <a:pt x="7082861" y="4822224"/>
                  <a:pt x="6978766" y="4822224"/>
                </a:cubicBezTo>
                <a:cubicBezTo>
                  <a:pt x="6858344" y="4822515"/>
                  <a:pt x="6767371" y="4737379"/>
                  <a:pt x="6767371" y="4603553"/>
                </a:cubicBezTo>
                <a:lnTo>
                  <a:pt x="6767371" y="4596847"/>
                </a:lnTo>
                <a:cubicBezTo>
                  <a:pt x="6767371" y="4464770"/>
                  <a:pt x="6861551" y="4375552"/>
                  <a:pt x="6977308" y="4375552"/>
                </a:cubicBezTo>
                <a:close/>
                <a:moveTo>
                  <a:pt x="3295240" y="4375552"/>
                </a:moveTo>
                <a:cubicBezTo>
                  <a:pt x="3211848" y="4375552"/>
                  <a:pt x="3133413" y="4411997"/>
                  <a:pt x="3124374" y="4510253"/>
                </a:cubicBezTo>
                <a:lnTo>
                  <a:pt x="3192895" y="4510253"/>
                </a:lnTo>
                <a:cubicBezTo>
                  <a:pt x="3199602" y="4457481"/>
                  <a:pt x="3232550" y="4432698"/>
                  <a:pt x="3292032" y="4432698"/>
                </a:cubicBezTo>
                <a:cubicBezTo>
                  <a:pt x="3357929" y="4432698"/>
                  <a:pt x="3384463" y="4461563"/>
                  <a:pt x="3384463" y="4530079"/>
                </a:cubicBezTo>
                <a:lnTo>
                  <a:pt x="3384463" y="4561568"/>
                </a:lnTo>
                <a:lnTo>
                  <a:pt x="3322648" y="4561568"/>
                </a:lnTo>
                <a:cubicBezTo>
                  <a:pt x="3212139" y="4561568"/>
                  <a:pt x="3106296" y="4595389"/>
                  <a:pt x="3106296" y="4695394"/>
                </a:cubicBezTo>
                <a:cubicBezTo>
                  <a:pt x="3106296" y="4783738"/>
                  <a:pt x="3169860" y="4822515"/>
                  <a:pt x="3249753" y="4822224"/>
                </a:cubicBezTo>
                <a:cubicBezTo>
                  <a:pt x="3313318" y="4822224"/>
                  <a:pt x="3352389" y="4800940"/>
                  <a:pt x="3384463" y="4760413"/>
                </a:cubicBezTo>
                <a:lnTo>
                  <a:pt x="3384463" y="4814935"/>
                </a:lnTo>
                <a:lnTo>
                  <a:pt x="3452984" y="4814935"/>
                </a:lnTo>
                <a:lnTo>
                  <a:pt x="3452984" y="4530079"/>
                </a:lnTo>
                <a:cubicBezTo>
                  <a:pt x="3452984" y="4409373"/>
                  <a:pt x="3377757" y="4375552"/>
                  <a:pt x="3295240" y="4375552"/>
                </a:cubicBezTo>
                <a:close/>
                <a:moveTo>
                  <a:pt x="4369128" y="4374094"/>
                </a:moveTo>
                <a:cubicBezTo>
                  <a:pt x="4326849" y="4374094"/>
                  <a:pt x="4288652" y="4383423"/>
                  <a:pt x="4254537" y="4402667"/>
                </a:cubicBezTo>
                <a:cubicBezTo>
                  <a:pt x="4220130" y="4421326"/>
                  <a:pt x="4193597" y="4448442"/>
                  <a:pt x="4174935" y="4483721"/>
                </a:cubicBezTo>
                <a:cubicBezTo>
                  <a:pt x="4156274" y="4518999"/>
                  <a:pt x="4146944" y="4555736"/>
                  <a:pt x="4146944" y="4593639"/>
                </a:cubicBezTo>
                <a:cubicBezTo>
                  <a:pt x="4146944" y="4643205"/>
                  <a:pt x="4156274" y="4685189"/>
                  <a:pt x="4174935" y="4719594"/>
                </a:cubicBezTo>
                <a:cubicBezTo>
                  <a:pt x="4193597" y="4753998"/>
                  <a:pt x="4221005" y="4780238"/>
                  <a:pt x="4256869" y="4798023"/>
                </a:cubicBezTo>
                <a:cubicBezTo>
                  <a:pt x="4292734" y="4815809"/>
                  <a:pt x="4330347" y="4824847"/>
                  <a:pt x="4370002" y="4824847"/>
                </a:cubicBezTo>
                <a:cubicBezTo>
                  <a:pt x="4434150" y="4824847"/>
                  <a:pt x="4486926" y="4803272"/>
                  <a:pt x="4529205" y="4760412"/>
                </a:cubicBezTo>
                <a:cubicBezTo>
                  <a:pt x="4571484" y="4717553"/>
                  <a:pt x="4592478" y="4663614"/>
                  <a:pt x="4592478" y="4598304"/>
                </a:cubicBezTo>
                <a:cubicBezTo>
                  <a:pt x="4592478" y="4533577"/>
                  <a:pt x="4571484" y="4479930"/>
                  <a:pt x="4529788" y="4437654"/>
                </a:cubicBezTo>
                <a:cubicBezTo>
                  <a:pt x="4488092" y="4395378"/>
                  <a:pt x="4434442" y="4374094"/>
                  <a:pt x="4369128" y="4374094"/>
                </a:cubicBezTo>
                <a:close/>
                <a:moveTo>
                  <a:pt x="5366331" y="4312574"/>
                </a:moveTo>
                <a:cubicBezTo>
                  <a:pt x="5401028" y="4312574"/>
                  <a:pt x="5430186" y="4321029"/>
                  <a:pt x="5453221" y="4337940"/>
                </a:cubicBezTo>
                <a:lnTo>
                  <a:pt x="5455785" y="4340581"/>
                </a:lnTo>
                <a:lnTo>
                  <a:pt x="5410884" y="4495966"/>
                </a:lnTo>
                <a:lnTo>
                  <a:pt x="5368372" y="4495966"/>
                </a:lnTo>
                <a:lnTo>
                  <a:pt x="5368372" y="4596263"/>
                </a:lnTo>
                <a:lnTo>
                  <a:pt x="5381902" y="4596263"/>
                </a:lnTo>
                <a:lnTo>
                  <a:pt x="5346461" y="4718911"/>
                </a:lnTo>
                <a:lnTo>
                  <a:pt x="5296024" y="4709207"/>
                </a:lnTo>
                <a:cubicBezTo>
                  <a:pt x="5275431" y="4700351"/>
                  <a:pt x="5257280" y="4687085"/>
                  <a:pt x="5241534" y="4669445"/>
                </a:cubicBezTo>
                <a:cubicBezTo>
                  <a:pt x="5210044" y="4634166"/>
                  <a:pt x="5194298" y="4581102"/>
                  <a:pt x="5194298" y="4510544"/>
                </a:cubicBezTo>
                <a:cubicBezTo>
                  <a:pt x="5194298" y="4444943"/>
                  <a:pt x="5210044" y="4395669"/>
                  <a:pt x="5240951" y="4362431"/>
                </a:cubicBezTo>
                <a:cubicBezTo>
                  <a:pt x="5271859" y="4329193"/>
                  <a:pt x="5313846" y="4312574"/>
                  <a:pt x="5366331" y="4312574"/>
                </a:cubicBezTo>
                <a:close/>
                <a:moveTo>
                  <a:pt x="3701993" y="4219566"/>
                </a:moveTo>
                <a:lnTo>
                  <a:pt x="3920386" y="4564191"/>
                </a:lnTo>
                <a:lnTo>
                  <a:pt x="3920386" y="4814642"/>
                </a:lnTo>
                <a:lnTo>
                  <a:pt x="4040226" y="4814642"/>
                </a:lnTo>
                <a:lnTo>
                  <a:pt x="4040226" y="4565066"/>
                </a:lnTo>
                <a:lnTo>
                  <a:pt x="4259202" y="4219858"/>
                </a:lnTo>
                <a:lnTo>
                  <a:pt x="4120410" y="4219858"/>
                </a:lnTo>
                <a:lnTo>
                  <a:pt x="3983076" y="4455148"/>
                </a:lnTo>
                <a:lnTo>
                  <a:pt x="3842826" y="4219858"/>
                </a:lnTo>
                <a:lnTo>
                  <a:pt x="3842826" y="4219566"/>
                </a:lnTo>
                <a:lnTo>
                  <a:pt x="3701993" y="4219566"/>
                </a:lnTo>
                <a:close/>
                <a:moveTo>
                  <a:pt x="3112711" y="2062597"/>
                </a:moveTo>
                <a:lnTo>
                  <a:pt x="3112711" y="3855407"/>
                </a:lnTo>
                <a:lnTo>
                  <a:pt x="4592478" y="3855407"/>
                </a:lnTo>
                <a:lnTo>
                  <a:pt x="4592478" y="3361794"/>
                </a:lnTo>
                <a:lnTo>
                  <a:pt x="3710741" y="3361794"/>
                </a:lnTo>
                <a:lnTo>
                  <a:pt x="3710741" y="2062597"/>
                </a:lnTo>
                <a:lnTo>
                  <a:pt x="3112711" y="2062597"/>
                </a:lnTo>
                <a:close/>
                <a:moveTo>
                  <a:pt x="9524550" y="2061139"/>
                </a:moveTo>
                <a:lnTo>
                  <a:pt x="10233964" y="2062014"/>
                </a:lnTo>
                <a:lnTo>
                  <a:pt x="10261664" y="2062014"/>
                </a:lnTo>
                <a:lnTo>
                  <a:pt x="9436493" y="2879843"/>
                </a:lnTo>
                <a:lnTo>
                  <a:pt x="10344472" y="3856281"/>
                </a:lnTo>
                <a:lnTo>
                  <a:pt x="10330185" y="3856281"/>
                </a:lnTo>
                <a:lnTo>
                  <a:pt x="9609108" y="3856573"/>
                </a:lnTo>
                <a:cubicBezTo>
                  <a:pt x="9599778" y="3856573"/>
                  <a:pt x="9593654" y="3853949"/>
                  <a:pt x="9587239" y="3846660"/>
                </a:cubicBezTo>
                <a:lnTo>
                  <a:pt x="9072309" y="3253041"/>
                </a:lnTo>
                <a:lnTo>
                  <a:pt x="8965591" y="3130294"/>
                </a:lnTo>
                <a:cubicBezTo>
                  <a:pt x="8962092" y="3126504"/>
                  <a:pt x="8958593" y="3122713"/>
                  <a:pt x="8952470" y="3115424"/>
                </a:cubicBezTo>
                <a:lnTo>
                  <a:pt x="8952470" y="3855407"/>
                </a:lnTo>
                <a:lnTo>
                  <a:pt x="8352982" y="3855407"/>
                </a:lnTo>
                <a:lnTo>
                  <a:pt x="8352982" y="2062888"/>
                </a:lnTo>
                <a:lnTo>
                  <a:pt x="8951595" y="2062888"/>
                </a:lnTo>
                <a:lnTo>
                  <a:pt x="8951595" y="2618604"/>
                </a:lnTo>
                <a:cubicBezTo>
                  <a:pt x="8966466" y="2603443"/>
                  <a:pt x="8978712" y="2591489"/>
                  <a:pt x="8990667" y="2579243"/>
                </a:cubicBezTo>
                <a:lnTo>
                  <a:pt x="9449030" y="2093211"/>
                </a:lnTo>
                <a:cubicBezTo>
                  <a:pt x="9471191" y="2069594"/>
                  <a:pt x="9492476" y="2060847"/>
                  <a:pt x="9524550" y="2061139"/>
                </a:cubicBezTo>
                <a:close/>
                <a:moveTo>
                  <a:pt x="5280607" y="2061139"/>
                </a:moveTo>
                <a:cubicBezTo>
                  <a:pt x="5269527" y="2061139"/>
                  <a:pt x="5266902" y="2066387"/>
                  <a:pt x="5264570" y="2074842"/>
                </a:cubicBezTo>
                <a:lnTo>
                  <a:pt x="5094870" y="2664671"/>
                </a:lnTo>
                <a:lnTo>
                  <a:pt x="4793085" y="3709043"/>
                </a:lnTo>
                <a:cubicBezTo>
                  <a:pt x="4779089" y="3757734"/>
                  <a:pt x="4765093" y="3806133"/>
                  <a:pt x="4750806" y="3855698"/>
                </a:cubicBezTo>
                <a:lnTo>
                  <a:pt x="5353501" y="3855698"/>
                </a:lnTo>
                <a:lnTo>
                  <a:pt x="5871347" y="2062305"/>
                </a:lnTo>
                <a:cubicBezTo>
                  <a:pt x="5866099" y="2062014"/>
                  <a:pt x="5862600" y="2061431"/>
                  <a:pt x="5859392" y="2061431"/>
                </a:cubicBezTo>
                <a:lnTo>
                  <a:pt x="5280607" y="2061139"/>
                </a:lnTo>
                <a:close/>
                <a:moveTo>
                  <a:pt x="0" y="0"/>
                </a:moveTo>
                <a:lnTo>
                  <a:pt x="6707236" y="0"/>
                </a:lnTo>
                <a:lnTo>
                  <a:pt x="6114289" y="2060916"/>
                </a:lnTo>
                <a:lnTo>
                  <a:pt x="6560000" y="2061141"/>
                </a:lnTo>
                <a:lnTo>
                  <a:pt x="6564947" y="2061503"/>
                </a:lnTo>
                <a:lnTo>
                  <a:pt x="6705555" y="2061431"/>
                </a:lnTo>
                <a:cubicBezTo>
                  <a:pt x="6716052" y="2061431"/>
                  <a:pt x="6721592" y="2064055"/>
                  <a:pt x="6726841" y="2073677"/>
                </a:cubicBezTo>
                <a:lnTo>
                  <a:pt x="7211738" y="2996759"/>
                </a:lnTo>
                <a:lnTo>
                  <a:pt x="7282883" y="3131461"/>
                </a:lnTo>
                <a:lnTo>
                  <a:pt x="7292797" y="3150121"/>
                </a:lnTo>
                <a:cubicBezTo>
                  <a:pt x="7297462" y="3133502"/>
                  <a:pt x="7300961" y="3120965"/>
                  <a:pt x="7304460" y="3108136"/>
                </a:cubicBezTo>
                <a:lnTo>
                  <a:pt x="7479700" y="2453581"/>
                </a:lnTo>
                <a:cubicBezTo>
                  <a:pt x="7513231" y="2328210"/>
                  <a:pt x="7547055" y="2202838"/>
                  <a:pt x="7580003" y="2077467"/>
                </a:cubicBezTo>
                <a:cubicBezTo>
                  <a:pt x="7583211" y="2065513"/>
                  <a:pt x="7587876" y="2060848"/>
                  <a:pt x="7601288" y="2060848"/>
                </a:cubicBezTo>
                <a:lnTo>
                  <a:pt x="8180074" y="2061140"/>
                </a:lnTo>
                <a:lnTo>
                  <a:pt x="8198153" y="2061140"/>
                </a:lnTo>
                <a:lnTo>
                  <a:pt x="7679140" y="3855699"/>
                </a:lnTo>
                <a:lnTo>
                  <a:pt x="7661354" y="3855699"/>
                </a:lnTo>
                <a:lnTo>
                  <a:pt x="7081110" y="3855990"/>
                </a:lnTo>
                <a:cubicBezTo>
                  <a:pt x="7067989" y="3855990"/>
                  <a:pt x="7061866" y="3851908"/>
                  <a:pt x="7055743" y="3840829"/>
                </a:cubicBezTo>
                <a:lnTo>
                  <a:pt x="6762997" y="3290070"/>
                </a:lnTo>
                <a:lnTo>
                  <a:pt x="6497367" y="2790626"/>
                </a:lnTo>
                <a:cubicBezTo>
                  <a:pt x="6495326" y="2786835"/>
                  <a:pt x="6492994" y="2783337"/>
                  <a:pt x="6488620" y="2776339"/>
                </a:cubicBezTo>
                <a:lnTo>
                  <a:pt x="6200539" y="3864641"/>
                </a:lnTo>
                <a:lnTo>
                  <a:pt x="5594353" y="3861048"/>
                </a:lnTo>
                <a:lnTo>
                  <a:pt x="5487296" y="4231534"/>
                </a:lnTo>
                <a:lnTo>
                  <a:pt x="5465213" y="4221243"/>
                </a:lnTo>
                <a:cubicBezTo>
                  <a:pt x="5436310" y="4213516"/>
                  <a:pt x="5403362" y="4209653"/>
                  <a:pt x="5366331" y="4209653"/>
                </a:cubicBezTo>
                <a:cubicBezTo>
                  <a:pt x="5309473" y="4209653"/>
                  <a:pt x="5261945" y="4219566"/>
                  <a:pt x="5224040" y="4239684"/>
                </a:cubicBezTo>
                <a:cubicBezTo>
                  <a:pt x="5173888" y="4265341"/>
                  <a:pt x="5135691" y="4302369"/>
                  <a:pt x="5109740" y="4350477"/>
                </a:cubicBezTo>
                <a:cubicBezTo>
                  <a:pt x="5083790" y="4398585"/>
                  <a:pt x="5070669" y="4453690"/>
                  <a:pt x="5070669" y="4515501"/>
                </a:cubicBezTo>
                <a:cubicBezTo>
                  <a:pt x="5070669" y="4572647"/>
                  <a:pt x="5082332" y="4625419"/>
                  <a:pt x="5105658" y="4674110"/>
                </a:cubicBezTo>
                <a:cubicBezTo>
                  <a:pt x="5128985" y="4722801"/>
                  <a:pt x="5163683" y="4759829"/>
                  <a:pt x="5210044" y="4786070"/>
                </a:cubicBezTo>
                <a:cubicBezTo>
                  <a:pt x="5233225" y="4799044"/>
                  <a:pt x="5258374" y="4808811"/>
                  <a:pt x="5285527" y="4815335"/>
                </a:cubicBezTo>
                <a:lnTo>
                  <a:pt x="5317561" y="4818924"/>
                </a:lnTo>
                <a:lnTo>
                  <a:pt x="4728343" y="6858000"/>
                </a:lnTo>
                <a:lnTo>
                  <a:pt x="0" y="6858000"/>
                </a:lnTo>
                <a:lnTo>
                  <a:pt x="0" y="0"/>
                </a:lnTo>
                <a:close/>
              </a:path>
            </a:pathLst>
          </a:custGeom>
          <a:solidFill>
            <a:schemeClr val="accent1">
              <a:lumMod val="20000"/>
              <a:lumOff val="80000"/>
            </a:schemeClr>
          </a:solidFill>
          <a:ln>
            <a:noFill/>
          </a:ln>
        </p:spPr>
        <p:txBody>
          <a:bodyPr wrap="square">
            <a:noAutofit/>
          </a:bodyPr>
          <a:lstStyle/>
          <a:p>
            <a:r>
              <a:rPr lang="de-DE"/>
              <a:t>Bild durch Klicken auf Symbol hinzufügen</a:t>
            </a:r>
          </a:p>
        </p:txBody>
      </p:sp>
    </p:spTree>
    <p:extLst>
      <p:ext uri="{BB962C8B-B14F-4D97-AF65-F5344CB8AC3E}">
        <p14:creationId xmlns:p14="http://schemas.microsoft.com/office/powerpoint/2010/main" val="1185970591"/>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VZ_11_Kapitel">
    <p:bg>
      <p:bgPr>
        <a:solidFill>
          <a:schemeClr val="bg1"/>
        </a:solidFill>
        <a:effectLst/>
      </p:bgPr>
    </p:bg>
    <p:spTree>
      <p:nvGrpSpPr>
        <p:cNvPr id="1" name=""/>
        <p:cNvGrpSpPr/>
        <p:nvPr/>
      </p:nvGrpSpPr>
      <p:grpSpPr>
        <a:xfrm>
          <a:off x="0" y="0"/>
          <a:ext cx="0" cy="0"/>
          <a:chOff x="0" y="0"/>
          <a:chExt cx="0" cy="0"/>
        </a:xfrm>
      </p:grpSpPr>
      <p:sp>
        <p:nvSpPr>
          <p:cNvPr id="91" name="Picture Placeholder 90">
            <a:extLst>
              <a:ext uri="{FF2B5EF4-FFF2-40B4-BE49-F238E27FC236}">
                <a16:creationId xmlns:a16="http://schemas.microsoft.com/office/drawing/2014/main" id="{C4CC25BD-6515-4CE9-B019-76EA52FD7BBC}"/>
              </a:ext>
            </a:extLst>
          </p:cNvPr>
          <p:cNvSpPr>
            <a:spLocks noGrp="1" noChangeAspect="1"/>
          </p:cNvSpPr>
          <p:nvPr>
            <p:ph type="pic" sz="quarter" idx="12"/>
          </p:nvPr>
        </p:nvSpPr>
        <p:spPr>
          <a:xfrm>
            <a:off x="-3881" y="2"/>
            <a:ext cx="7016940" cy="6857999"/>
          </a:xfrm>
          <a:custGeom>
            <a:avLst/>
            <a:gdLst>
              <a:gd name="connsiteX0" fmla="*/ 936350 w 7016940"/>
              <a:gd name="connsiteY0" fmla="*/ 0 h 6857999"/>
              <a:gd name="connsiteX1" fmla="*/ 7016940 w 7016940"/>
              <a:gd name="connsiteY1" fmla="*/ 0 h 6857999"/>
              <a:gd name="connsiteX2" fmla="*/ 6767745 w 7016940"/>
              <a:gd name="connsiteY2" fmla="*/ 929446 h 6857999"/>
              <a:gd name="connsiteX3" fmla="*/ 6739980 w 7016940"/>
              <a:gd name="connsiteY3" fmla="*/ 932245 h 6857999"/>
              <a:gd name="connsiteX4" fmla="*/ 6596256 w 7016940"/>
              <a:gd name="connsiteY4" fmla="*/ 1108588 h 6857999"/>
              <a:gd name="connsiteX5" fmla="*/ 6648977 w 7016940"/>
              <a:gd name="connsiteY5" fmla="*/ 1235867 h 6857999"/>
              <a:gd name="connsiteX6" fmla="*/ 6679985 w 7016940"/>
              <a:gd name="connsiteY6" fmla="*/ 1256774 h 6857999"/>
              <a:gd name="connsiteX7" fmla="*/ 6628688 w 7016940"/>
              <a:gd name="connsiteY7" fmla="*/ 1448103 h 6857999"/>
              <a:gd name="connsiteX8" fmla="*/ 6601905 w 7016940"/>
              <a:gd name="connsiteY8" fmla="*/ 1450803 h 6857999"/>
              <a:gd name="connsiteX9" fmla="*/ 6458181 w 7016940"/>
              <a:gd name="connsiteY9" fmla="*/ 1627146 h 6857999"/>
              <a:gd name="connsiteX10" fmla="*/ 6510902 w 7016940"/>
              <a:gd name="connsiteY10" fmla="*/ 1754425 h 6857999"/>
              <a:gd name="connsiteX11" fmla="*/ 6541100 w 7016940"/>
              <a:gd name="connsiteY11" fmla="*/ 1774786 h 6857999"/>
              <a:gd name="connsiteX12" fmla="*/ 6489630 w 7016940"/>
              <a:gd name="connsiteY12" fmla="*/ 1966760 h 6857999"/>
              <a:gd name="connsiteX13" fmla="*/ 6463827 w 7016940"/>
              <a:gd name="connsiteY13" fmla="*/ 1969361 h 6857999"/>
              <a:gd name="connsiteX14" fmla="*/ 6320103 w 7016940"/>
              <a:gd name="connsiteY14" fmla="*/ 2145704 h 6857999"/>
              <a:gd name="connsiteX15" fmla="*/ 6372824 w 7016940"/>
              <a:gd name="connsiteY15" fmla="*/ 2272983 h 6857999"/>
              <a:gd name="connsiteX16" fmla="*/ 6402215 w 7016940"/>
              <a:gd name="connsiteY16" fmla="*/ 2292799 h 6857999"/>
              <a:gd name="connsiteX17" fmla="*/ 6350572 w 7016940"/>
              <a:gd name="connsiteY17" fmla="*/ 2485417 h 6857999"/>
              <a:gd name="connsiteX18" fmla="*/ 6325749 w 7016940"/>
              <a:gd name="connsiteY18" fmla="*/ 2487919 h 6857999"/>
              <a:gd name="connsiteX19" fmla="*/ 6182025 w 7016940"/>
              <a:gd name="connsiteY19" fmla="*/ 2664261 h 6857999"/>
              <a:gd name="connsiteX20" fmla="*/ 6234746 w 7016940"/>
              <a:gd name="connsiteY20" fmla="*/ 2791541 h 6857999"/>
              <a:gd name="connsiteX21" fmla="*/ 6263330 w 7016940"/>
              <a:gd name="connsiteY21" fmla="*/ 2810813 h 6857999"/>
              <a:gd name="connsiteX22" fmla="*/ 6211514 w 7016940"/>
              <a:gd name="connsiteY22" fmla="*/ 3004073 h 6857999"/>
              <a:gd name="connsiteX23" fmla="*/ 6187671 w 7016940"/>
              <a:gd name="connsiteY23" fmla="*/ 3006477 h 6857999"/>
              <a:gd name="connsiteX24" fmla="*/ 6043947 w 7016940"/>
              <a:gd name="connsiteY24" fmla="*/ 3182820 h 6857999"/>
              <a:gd name="connsiteX25" fmla="*/ 6096668 w 7016940"/>
              <a:gd name="connsiteY25" fmla="*/ 3310099 h 6857999"/>
              <a:gd name="connsiteX26" fmla="*/ 6124445 w 7016940"/>
              <a:gd name="connsiteY26" fmla="*/ 3328826 h 6857999"/>
              <a:gd name="connsiteX27" fmla="*/ 6072457 w 7016940"/>
              <a:gd name="connsiteY27" fmla="*/ 3522729 h 6857999"/>
              <a:gd name="connsiteX28" fmla="*/ 6049593 w 7016940"/>
              <a:gd name="connsiteY28" fmla="*/ 3525034 h 6857999"/>
              <a:gd name="connsiteX29" fmla="*/ 5905869 w 7016940"/>
              <a:gd name="connsiteY29" fmla="*/ 3701377 h 6857999"/>
              <a:gd name="connsiteX30" fmla="*/ 5958590 w 7016940"/>
              <a:gd name="connsiteY30" fmla="*/ 3828656 h 6857999"/>
              <a:gd name="connsiteX31" fmla="*/ 5985560 w 7016940"/>
              <a:gd name="connsiteY31" fmla="*/ 3846839 h 6857999"/>
              <a:gd name="connsiteX32" fmla="*/ 5933400 w 7016940"/>
              <a:gd name="connsiteY32" fmla="*/ 4041386 h 6857999"/>
              <a:gd name="connsiteX33" fmla="*/ 5911515 w 7016940"/>
              <a:gd name="connsiteY33" fmla="*/ 4043592 h 6857999"/>
              <a:gd name="connsiteX34" fmla="*/ 5767791 w 7016940"/>
              <a:gd name="connsiteY34" fmla="*/ 4219935 h 6857999"/>
              <a:gd name="connsiteX35" fmla="*/ 5820512 w 7016940"/>
              <a:gd name="connsiteY35" fmla="*/ 4347214 h 6857999"/>
              <a:gd name="connsiteX36" fmla="*/ 5846674 w 7016940"/>
              <a:gd name="connsiteY36" fmla="*/ 4364854 h 6857999"/>
              <a:gd name="connsiteX37" fmla="*/ 5794342 w 7016940"/>
              <a:gd name="connsiteY37" fmla="*/ 4560043 h 6857999"/>
              <a:gd name="connsiteX38" fmla="*/ 5773437 w 7016940"/>
              <a:gd name="connsiteY38" fmla="*/ 4562150 h 6857999"/>
              <a:gd name="connsiteX39" fmla="*/ 5629713 w 7016940"/>
              <a:gd name="connsiteY39" fmla="*/ 4738493 h 6857999"/>
              <a:gd name="connsiteX40" fmla="*/ 5682434 w 7016940"/>
              <a:gd name="connsiteY40" fmla="*/ 4865772 h 6857999"/>
              <a:gd name="connsiteX41" fmla="*/ 5707789 w 7016940"/>
              <a:gd name="connsiteY41" fmla="*/ 4882867 h 6857999"/>
              <a:gd name="connsiteX42" fmla="*/ 5655284 w 7016940"/>
              <a:gd name="connsiteY42" fmla="*/ 5078700 h 6857999"/>
              <a:gd name="connsiteX43" fmla="*/ 5635359 w 7016940"/>
              <a:gd name="connsiteY43" fmla="*/ 5080708 h 6857999"/>
              <a:gd name="connsiteX44" fmla="*/ 5491635 w 7016940"/>
              <a:gd name="connsiteY44" fmla="*/ 5257051 h 6857999"/>
              <a:gd name="connsiteX45" fmla="*/ 5544356 w 7016940"/>
              <a:gd name="connsiteY45" fmla="*/ 5384330 h 6857999"/>
              <a:gd name="connsiteX46" fmla="*/ 5568904 w 7016940"/>
              <a:gd name="connsiteY46" fmla="*/ 5400881 h 6857999"/>
              <a:gd name="connsiteX47" fmla="*/ 5516227 w 7016940"/>
              <a:gd name="connsiteY47" fmla="*/ 5597355 h 6857999"/>
              <a:gd name="connsiteX48" fmla="*/ 5497281 w 7016940"/>
              <a:gd name="connsiteY48" fmla="*/ 5599265 h 6857999"/>
              <a:gd name="connsiteX49" fmla="*/ 5353557 w 7016940"/>
              <a:gd name="connsiteY49" fmla="*/ 5775608 h 6857999"/>
              <a:gd name="connsiteX50" fmla="*/ 5406278 w 7016940"/>
              <a:gd name="connsiteY50" fmla="*/ 5902887 h 6857999"/>
              <a:gd name="connsiteX51" fmla="*/ 5430019 w 7016940"/>
              <a:gd name="connsiteY51" fmla="*/ 5918894 h 6857999"/>
              <a:gd name="connsiteX52" fmla="*/ 5377170 w 7016940"/>
              <a:gd name="connsiteY52" fmla="*/ 6116008 h 6857999"/>
              <a:gd name="connsiteX53" fmla="*/ 5359203 w 7016940"/>
              <a:gd name="connsiteY53" fmla="*/ 6117819 h 6857999"/>
              <a:gd name="connsiteX54" fmla="*/ 5215479 w 7016940"/>
              <a:gd name="connsiteY54" fmla="*/ 6294162 h 6857999"/>
              <a:gd name="connsiteX55" fmla="*/ 5268200 w 7016940"/>
              <a:gd name="connsiteY55" fmla="*/ 6421441 h 6857999"/>
              <a:gd name="connsiteX56" fmla="*/ 5291134 w 7016940"/>
              <a:gd name="connsiteY56" fmla="*/ 6436904 h 6857999"/>
              <a:gd name="connsiteX57" fmla="*/ 5178234 w 7016940"/>
              <a:gd name="connsiteY57" fmla="*/ 6857999 h 6857999"/>
              <a:gd name="connsiteX58" fmla="*/ 0 w 7016940"/>
              <a:gd name="connsiteY58" fmla="*/ 6857999 h 6857999"/>
              <a:gd name="connsiteX59" fmla="*/ 0 w 7016940"/>
              <a:gd name="connsiteY59" fmla="*/ 345225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7016940" h="6857999">
                <a:moveTo>
                  <a:pt x="936350" y="0"/>
                </a:moveTo>
                <a:lnTo>
                  <a:pt x="7016940" y="0"/>
                </a:lnTo>
                <a:lnTo>
                  <a:pt x="6767745" y="929446"/>
                </a:lnTo>
                <a:lnTo>
                  <a:pt x="6739980" y="932245"/>
                </a:lnTo>
                <a:cubicBezTo>
                  <a:pt x="6657957" y="949029"/>
                  <a:pt x="6596256" y="1021603"/>
                  <a:pt x="6596256" y="1108588"/>
                </a:cubicBezTo>
                <a:cubicBezTo>
                  <a:pt x="6596256" y="1158294"/>
                  <a:pt x="6616404" y="1203294"/>
                  <a:pt x="6648977" y="1235867"/>
                </a:cubicBezTo>
                <a:lnTo>
                  <a:pt x="6679985" y="1256774"/>
                </a:lnTo>
                <a:lnTo>
                  <a:pt x="6628688" y="1448103"/>
                </a:lnTo>
                <a:lnTo>
                  <a:pt x="6601905" y="1450803"/>
                </a:lnTo>
                <a:cubicBezTo>
                  <a:pt x="6519882" y="1467587"/>
                  <a:pt x="6458181" y="1540161"/>
                  <a:pt x="6458181" y="1627146"/>
                </a:cubicBezTo>
                <a:cubicBezTo>
                  <a:pt x="6458181" y="1676852"/>
                  <a:pt x="6478328" y="1721852"/>
                  <a:pt x="6510902" y="1754425"/>
                </a:cubicBezTo>
                <a:lnTo>
                  <a:pt x="6541100" y="1774786"/>
                </a:lnTo>
                <a:lnTo>
                  <a:pt x="6489630" y="1966760"/>
                </a:lnTo>
                <a:lnTo>
                  <a:pt x="6463827" y="1969361"/>
                </a:lnTo>
                <a:cubicBezTo>
                  <a:pt x="6381804" y="1986146"/>
                  <a:pt x="6320103" y="2058719"/>
                  <a:pt x="6320103" y="2145704"/>
                </a:cubicBezTo>
                <a:cubicBezTo>
                  <a:pt x="6320103" y="2195409"/>
                  <a:pt x="6340251" y="2240410"/>
                  <a:pt x="6372824" y="2272983"/>
                </a:cubicBezTo>
                <a:lnTo>
                  <a:pt x="6402215" y="2292799"/>
                </a:lnTo>
                <a:lnTo>
                  <a:pt x="6350572" y="2485417"/>
                </a:lnTo>
                <a:lnTo>
                  <a:pt x="6325749" y="2487919"/>
                </a:lnTo>
                <a:cubicBezTo>
                  <a:pt x="6243726" y="2504703"/>
                  <a:pt x="6182025" y="2577277"/>
                  <a:pt x="6182025" y="2664261"/>
                </a:cubicBezTo>
                <a:cubicBezTo>
                  <a:pt x="6182025" y="2713967"/>
                  <a:pt x="6202173" y="2758968"/>
                  <a:pt x="6234746" y="2791541"/>
                </a:cubicBezTo>
                <a:lnTo>
                  <a:pt x="6263330" y="2810813"/>
                </a:lnTo>
                <a:lnTo>
                  <a:pt x="6211514" y="3004073"/>
                </a:lnTo>
                <a:lnTo>
                  <a:pt x="6187671" y="3006477"/>
                </a:lnTo>
                <a:cubicBezTo>
                  <a:pt x="6105648" y="3023261"/>
                  <a:pt x="6043947" y="3095835"/>
                  <a:pt x="6043947" y="3182820"/>
                </a:cubicBezTo>
                <a:cubicBezTo>
                  <a:pt x="6043947" y="3232525"/>
                  <a:pt x="6064094" y="3277526"/>
                  <a:pt x="6096668" y="3310099"/>
                </a:cubicBezTo>
                <a:lnTo>
                  <a:pt x="6124445" y="3328826"/>
                </a:lnTo>
                <a:lnTo>
                  <a:pt x="6072457" y="3522729"/>
                </a:lnTo>
                <a:lnTo>
                  <a:pt x="6049593" y="3525034"/>
                </a:lnTo>
                <a:cubicBezTo>
                  <a:pt x="5967570" y="3541818"/>
                  <a:pt x="5905869" y="3614393"/>
                  <a:pt x="5905869" y="3701377"/>
                </a:cubicBezTo>
                <a:cubicBezTo>
                  <a:pt x="5905869" y="3751083"/>
                  <a:pt x="5926017" y="3796083"/>
                  <a:pt x="5958590" y="3828656"/>
                </a:cubicBezTo>
                <a:lnTo>
                  <a:pt x="5985560" y="3846839"/>
                </a:lnTo>
                <a:lnTo>
                  <a:pt x="5933400" y="4041386"/>
                </a:lnTo>
                <a:lnTo>
                  <a:pt x="5911515" y="4043592"/>
                </a:lnTo>
                <a:cubicBezTo>
                  <a:pt x="5829492" y="4060376"/>
                  <a:pt x="5767791" y="4132951"/>
                  <a:pt x="5767791" y="4219935"/>
                </a:cubicBezTo>
                <a:cubicBezTo>
                  <a:pt x="5767791" y="4269641"/>
                  <a:pt x="5787938" y="4314641"/>
                  <a:pt x="5820512" y="4347214"/>
                </a:cubicBezTo>
                <a:lnTo>
                  <a:pt x="5846674" y="4364854"/>
                </a:lnTo>
                <a:lnTo>
                  <a:pt x="5794342" y="4560043"/>
                </a:lnTo>
                <a:lnTo>
                  <a:pt x="5773437" y="4562150"/>
                </a:lnTo>
                <a:cubicBezTo>
                  <a:pt x="5691414" y="4578935"/>
                  <a:pt x="5629713" y="4651509"/>
                  <a:pt x="5629713" y="4738493"/>
                </a:cubicBezTo>
                <a:cubicBezTo>
                  <a:pt x="5629713" y="4788199"/>
                  <a:pt x="5649861" y="4833199"/>
                  <a:pt x="5682434" y="4865772"/>
                </a:cubicBezTo>
                <a:lnTo>
                  <a:pt x="5707789" y="4882867"/>
                </a:lnTo>
                <a:lnTo>
                  <a:pt x="5655284" y="5078700"/>
                </a:lnTo>
                <a:lnTo>
                  <a:pt x="5635359" y="5080708"/>
                </a:lnTo>
                <a:cubicBezTo>
                  <a:pt x="5553336" y="5097493"/>
                  <a:pt x="5491635" y="5170067"/>
                  <a:pt x="5491635" y="5257051"/>
                </a:cubicBezTo>
                <a:cubicBezTo>
                  <a:pt x="5491635" y="5306757"/>
                  <a:pt x="5511782" y="5351757"/>
                  <a:pt x="5544356" y="5384330"/>
                </a:cubicBezTo>
                <a:lnTo>
                  <a:pt x="5568904" y="5400881"/>
                </a:lnTo>
                <a:lnTo>
                  <a:pt x="5516227" y="5597355"/>
                </a:lnTo>
                <a:lnTo>
                  <a:pt x="5497281" y="5599265"/>
                </a:lnTo>
                <a:cubicBezTo>
                  <a:pt x="5415258" y="5616050"/>
                  <a:pt x="5353557" y="5688624"/>
                  <a:pt x="5353557" y="5775608"/>
                </a:cubicBezTo>
                <a:cubicBezTo>
                  <a:pt x="5353557" y="5825314"/>
                  <a:pt x="5373705" y="5870314"/>
                  <a:pt x="5406278" y="5902887"/>
                </a:cubicBezTo>
                <a:lnTo>
                  <a:pt x="5430019" y="5918894"/>
                </a:lnTo>
                <a:lnTo>
                  <a:pt x="5377170" y="6116008"/>
                </a:lnTo>
                <a:lnTo>
                  <a:pt x="5359203" y="6117819"/>
                </a:lnTo>
                <a:cubicBezTo>
                  <a:pt x="5277180" y="6134604"/>
                  <a:pt x="5215479" y="6207178"/>
                  <a:pt x="5215479" y="6294162"/>
                </a:cubicBezTo>
                <a:cubicBezTo>
                  <a:pt x="5215479" y="6343868"/>
                  <a:pt x="5235626" y="6388868"/>
                  <a:pt x="5268200" y="6421441"/>
                </a:cubicBezTo>
                <a:lnTo>
                  <a:pt x="5291134" y="6436904"/>
                </a:lnTo>
                <a:lnTo>
                  <a:pt x="5178234" y="6857999"/>
                </a:lnTo>
                <a:lnTo>
                  <a:pt x="0" y="6857999"/>
                </a:lnTo>
                <a:lnTo>
                  <a:pt x="0" y="3452256"/>
                </a:lnTo>
                <a:close/>
              </a:path>
            </a:pathLst>
          </a:custGeom>
        </p:spPr>
        <p:txBody>
          <a:bodyPr wrap="square">
            <a:noAutofit/>
          </a:bodyPr>
          <a:lstStyle/>
          <a:p>
            <a:r>
              <a:rPr lang="de-DE"/>
              <a:t>Bild durch Klicken auf Symbol hinzufügen</a:t>
            </a:r>
            <a:endParaRPr lang="x-none" dirty="0"/>
          </a:p>
        </p:txBody>
      </p:sp>
      <p:sp>
        <p:nvSpPr>
          <p:cNvPr id="10" name="Slide Number Placeholder 3">
            <a:extLst>
              <a:ext uri="{FF2B5EF4-FFF2-40B4-BE49-F238E27FC236}">
                <a16:creationId xmlns:a16="http://schemas.microsoft.com/office/drawing/2014/main" id="{82F64DB9-B56E-2941-8277-8AED61C61249}"/>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7" name="Text Placeholder 2">
            <a:extLst>
              <a:ext uri="{FF2B5EF4-FFF2-40B4-BE49-F238E27FC236}">
                <a16:creationId xmlns:a16="http://schemas.microsoft.com/office/drawing/2014/main" id="{DA0EF649-F051-43A6-8EB9-85681471AEB8}"/>
              </a:ext>
            </a:extLst>
          </p:cNvPr>
          <p:cNvSpPr>
            <a:spLocks noGrp="1"/>
          </p:cNvSpPr>
          <p:nvPr>
            <p:ph type="body" sz="quarter" idx="14"/>
          </p:nvPr>
        </p:nvSpPr>
        <p:spPr>
          <a:xfrm>
            <a:off x="6684451" y="2556540"/>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8" name="Text Placeholder 2">
            <a:extLst>
              <a:ext uri="{FF2B5EF4-FFF2-40B4-BE49-F238E27FC236}">
                <a16:creationId xmlns:a16="http://schemas.microsoft.com/office/drawing/2014/main" id="{ACBB52A9-1A43-4F32-959C-9247BF4AA28E}"/>
              </a:ext>
            </a:extLst>
          </p:cNvPr>
          <p:cNvSpPr>
            <a:spLocks noGrp="1"/>
          </p:cNvSpPr>
          <p:nvPr>
            <p:ph type="body" sz="quarter" idx="15"/>
          </p:nvPr>
        </p:nvSpPr>
        <p:spPr>
          <a:xfrm>
            <a:off x="6549252" y="3075098"/>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1" name="Text Placeholder 2">
            <a:extLst>
              <a:ext uri="{FF2B5EF4-FFF2-40B4-BE49-F238E27FC236}">
                <a16:creationId xmlns:a16="http://schemas.microsoft.com/office/drawing/2014/main" id="{60795A7F-9122-4C44-898B-0BA8537FB202}"/>
              </a:ext>
            </a:extLst>
          </p:cNvPr>
          <p:cNvSpPr>
            <a:spLocks noGrp="1"/>
          </p:cNvSpPr>
          <p:nvPr>
            <p:ph type="body" sz="quarter" idx="16"/>
          </p:nvPr>
        </p:nvSpPr>
        <p:spPr>
          <a:xfrm>
            <a:off x="6414053" y="359365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2" name="Text Placeholder 2">
            <a:extLst>
              <a:ext uri="{FF2B5EF4-FFF2-40B4-BE49-F238E27FC236}">
                <a16:creationId xmlns:a16="http://schemas.microsoft.com/office/drawing/2014/main" id="{EAD6D003-DAD8-48C6-9C57-BAA95F540224}"/>
              </a:ext>
            </a:extLst>
          </p:cNvPr>
          <p:cNvSpPr>
            <a:spLocks noGrp="1"/>
          </p:cNvSpPr>
          <p:nvPr>
            <p:ph type="body" sz="quarter" idx="17"/>
          </p:nvPr>
        </p:nvSpPr>
        <p:spPr>
          <a:xfrm>
            <a:off x="6278854" y="4112214"/>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3" name="Text Placeholder 2">
            <a:extLst>
              <a:ext uri="{FF2B5EF4-FFF2-40B4-BE49-F238E27FC236}">
                <a16:creationId xmlns:a16="http://schemas.microsoft.com/office/drawing/2014/main" id="{7D6A6399-3AB5-4B2E-A77B-4A367AD054B3}"/>
              </a:ext>
            </a:extLst>
          </p:cNvPr>
          <p:cNvSpPr>
            <a:spLocks noGrp="1"/>
          </p:cNvSpPr>
          <p:nvPr>
            <p:ph type="body" sz="quarter" idx="18"/>
          </p:nvPr>
        </p:nvSpPr>
        <p:spPr>
          <a:xfrm>
            <a:off x="6143655" y="4630772"/>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7" name="Text Placeholder 2">
            <a:extLst>
              <a:ext uri="{FF2B5EF4-FFF2-40B4-BE49-F238E27FC236}">
                <a16:creationId xmlns:a16="http://schemas.microsoft.com/office/drawing/2014/main" id="{EDB1F10E-B812-4A34-9C0F-A485463046A5}"/>
              </a:ext>
            </a:extLst>
          </p:cNvPr>
          <p:cNvSpPr>
            <a:spLocks noGrp="1"/>
          </p:cNvSpPr>
          <p:nvPr>
            <p:ph type="body" sz="quarter" idx="27"/>
          </p:nvPr>
        </p:nvSpPr>
        <p:spPr>
          <a:xfrm>
            <a:off x="5738058" y="6186441"/>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8" name="Text Placeholder 2">
            <a:extLst>
              <a:ext uri="{FF2B5EF4-FFF2-40B4-BE49-F238E27FC236}">
                <a16:creationId xmlns:a16="http://schemas.microsoft.com/office/drawing/2014/main" id="{BB815B4B-C487-49F3-B33A-2B91219B39D3}"/>
              </a:ext>
            </a:extLst>
          </p:cNvPr>
          <p:cNvSpPr>
            <a:spLocks noGrp="1"/>
          </p:cNvSpPr>
          <p:nvPr>
            <p:ph type="body" sz="quarter" idx="28"/>
          </p:nvPr>
        </p:nvSpPr>
        <p:spPr>
          <a:xfrm>
            <a:off x="5873257" y="5667887"/>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9" name="Oval 70">
            <a:extLst>
              <a:ext uri="{FF2B5EF4-FFF2-40B4-BE49-F238E27FC236}">
                <a16:creationId xmlns:a16="http://schemas.microsoft.com/office/drawing/2014/main" id="{40B5A312-D35E-4333-9A1A-D06912EBFE05}"/>
              </a:ext>
            </a:extLst>
          </p:cNvPr>
          <p:cNvSpPr>
            <a:spLocks noChangeAspect="1"/>
          </p:cNvSpPr>
          <p:nvPr userDrawn="1"/>
        </p:nvSpPr>
        <p:spPr>
          <a:xfrm>
            <a:off x="6592375" y="92858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dirty="0">
                <a:solidFill>
                  <a:schemeClr val="tx1">
                    <a:lumMod val="50000"/>
                  </a:schemeClr>
                </a:solidFill>
                <a:latin typeface="Arial" panose="020B0604020202020204" pitchFamily="34" charset="0"/>
                <a:cs typeface="Arial" panose="020B0604020202020204" pitchFamily="34" charset="0"/>
              </a:rPr>
              <a:t>1</a:t>
            </a:r>
          </a:p>
        </p:txBody>
      </p:sp>
      <p:sp>
        <p:nvSpPr>
          <p:cNvPr id="20" name="Oval 71">
            <a:extLst>
              <a:ext uri="{FF2B5EF4-FFF2-40B4-BE49-F238E27FC236}">
                <a16:creationId xmlns:a16="http://schemas.microsoft.com/office/drawing/2014/main" id="{62B45719-3C96-4A8B-96F1-3EE553F2C9DB}"/>
              </a:ext>
            </a:extLst>
          </p:cNvPr>
          <p:cNvSpPr>
            <a:spLocks noChangeAspect="1"/>
          </p:cNvSpPr>
          <p:nvPr userDrawn="1"/>
        </p:nvSpPr>
        <p:spPr>
          <a:xfrm>
            <a:off x="6454300" y="1447146"/>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2</a:t>
            </a:r>
          </a:p>
        </p:txBody>
      </p:sp>
      <p:sp>
        <p:nvSpPr>
          <p:cNvPr id="21" name="Oval 13">
            <a:extLst>
              <a:ext uri="{FF2B5EF4-FFF2-40B4-BE49-F238E27FC236}">
                <a16:creationId xmlns:a16="http://schemas.microsoft.com/office/drawing/2014/main" id="{5429BF70-C6F1-4DD0-A49F-62B9F3268794}"/>
              </a:ext>
            </a:extLst>
          </p:cNvPr>
          <p:cNvSpPr>
            <a:spLocks noChangeAspect="1"/>
          </p:cNvSpPr>
          <p:nvPr userDrawn="1"/>
        </p:nvSpPr>
        <p:spPr>
          <a:xfrm>
            <a:off x="6316222" y="1965704"/>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3</a:t>
            </a:r>
          </a:p>
        </p:txBody>
      </p:sp>
      <p:sp>
        <p:nvSpPr>
          <p:cNvPr id="22" name="Oval 16">
            <a:extLst>
              <a:ext uri="{FF2B5EF4-FFF2-40B4-BE49-F238E27FC236}">
                <a16:creationId xmlns:a16="http://schemas.microsoft.com/office/drawing/2014/main" id="{B7CD9936-52F6-4AAC-97EE-28620215C01D}"/>
              </a:ext>
            </a:extLst>
          </p:cNvPr>
          <p:cNvSpPr>
            <a:spLocks noChangeAspect="1"/>
          </p:cNvSpPr>
          <p:nvPr userDrawn="1"/>
        </p:nvSpPr>
        <p:spPr>
          <a:xfrm>
            <a:off x="6178144" y="2484262"/>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4</a:t>
            </a:r>
          </a:p>
        </p:txBody>
      </p:sp>
      <p:sp>
        <p:nvSpPr>
          <p:cNvPr id="23" name="Oval 19">
            <a:extLst>
              <a:ext uri="{FF2B5EF4-FFF2-40B4-BE49-F238E27FC236}">
                <a16:creationId xmlns:a16="http://schemas.microsoft.com/office/drawing/2014/main" id="{62500DA2-DC54-4406-80C5-E3AE004AE5C6}"/>
              </a:ext>
            </a:extLst>
          </p:cNvPr>
          <p:cNvSpPr>
            <a:spLocks noChangeAspect="1"/>
          </p:cNvSpPr>
          <p:nvPr userDrawn="1"/>
        </p:nvSpPr>
        <p:spPr>
          <a:xfrm>
            <a:off x="6040066" y="3002820"/>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5</a:t>
            </a:r>
          </a:p>
        </p:txBody>
      </p:sp>
      <p:sp>
        <p:nvSpPr>
          <p:cNvPr id="24" name="Oval 19">
            <a:extLst>
              <a:ext uri="{FF2B5EF4-FFF2-40B4-BE49-F238E27FC236}">
                <a16:creationId xmlns:a16="http://schemas.microsoft.com/office/drawing/2014/main" id="{4AB6D32E-36D0-4EC1-A743-CEB1B61830F2}"/>
              </a:ext>
            </a:extLst>
          </p:cNvPr>
          <p:cNvSpPr>
            <a:spLocks noChangeAspect="1"/>
          </p:cNvSpPr>
          <p:nvPr userDrawn="1"/>
        </p:nvSpPr>
        <p:spPr>
          <a:xfrm>
            <a:off x="5625832" y="4558494"/>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8</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25" name="Oval 19">
            <a:extLst>
              <a:ext uri="{FF2B5EF4-FFF2-40B4-BE49-F238E27FC236}">
                <a16:creationId xmlns:a16="http://schemas.microsoft.com/office/drawing/2014/main" id="{F1AB4992-4B6B-4A6F-A3CE-2DD47E23A5F7}"/>
              </a:ext>
            </a:extLst>
          </p:cNvPr>
          <p:cNvSpPr>
            <a:spLocks noChangeAspect="1"/>
          </p:cNvSpPr>
          <p:nvPr userDrawn="1"/>
        </p:nvSpPr>
        <p:spPr>
          <a:xfrm>
            <a:off x="5901988" y="352137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6</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26" name="Oval 19">
            <a:extLst>
              <a:ext uri="{FF2B5EF4-FFF2-40B4-BE49-F238E27FC236}">
                <a16:creationId xmlns:a16="http://schemas.microsoft.com/office/drawing/2014/main" id="{52DB280A-23A5-4263-BC7D-9345C892C67B}"/>
              </a:ext>
            </a:extLst>
          </p:cNvPr>
          <p:cNvSpPr>
            <a:spLocks noChangeAspect="1"/>
          </p:cNvSpPr>
          <p:nvPr userDrawn="1"/>
        </p:nvSpPr>
        <p:spPr>
          <a:xfrm>
            <a:off x="5763910" y="4039936"/>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7</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28" name="Oval 19">
            <a:extLst>
              <a:ext uri="{FF2B5EF4-FFF2-40B4-BE49-F238E27FC236}">
                <a16:creationId xmlns:a16="http://schemas.microsoft.com/office/drawing/2014/main" id="{61651642-16E4-4DDC-9D27-DA32A3F6D5AB}"/>
              </a:ext>
            </a:extLst>
          </p:cNvPr>
          <p:cNvSpPr>
            <a:spLocks noChangeAspect="1"/>
          </p:cNvSpPr>
          <p:nvPr userDrawn="1"/>
        </p:nvSpPr>
        <p:spPr>
          <a:xfrm>
            <a:off x="5487754" y="5077052"/>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9</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30" name="Text Placeholder 2">
            <a:extLst>
              <a:ext uri="{FF2B5EF4-FFF2-40B4-BE49-F238E27FC236}">
                <a16:creationId xmlns:a16="http://schemas.microsoft.com/office/drawing/2014/main" id="{1CEF41E1-0E7D-47F9-A8FF-D47B5B4F6861}"/>
              </a:ext>
            </a:extLst>
          </p:cNvPr>
          <p:cNvSpPr>
            <a:spLocks noGrp="1"/>
          </p:cNvSpPr>
          <p:nvPr>
            <p:ph type="body" sz="quarter" idx="29" hasCustomPrompt="1"/>
          </p:nvPr>
        </p:nvSpPr>
        <p:spPr>
          <a:xfrm>
            <a:off x="10027699" y="2556540"/>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1" name="Text Placeholder 2">
            <a:extLst>
              <a:ext uri="{FF2B5EF4-FFF2-40B4-BE49-F238E27FC236}">
                <a16:creationId xmlns:a16="http://schemas.microsoft.com/office/drawing/2014/main" id="{7DFC7892-9F85-4B21-8ED5-B3D3DF225F90}"/>
              </a:ext>
            </a:extLst>
          </p:cNvPr>
          <p:cNvSpPr>
            <a:spLocks noGrp="1"/>
          </p:cNvSpPr>
          <p:nvPr>
            <p:ph type="body" sz="quarter" idx="30" hasCustomPrompt="1"/>
          </p:nvPr>
        </p:nvSpPr>
        <p:spPr>
          <a:xfrm>
            <a:off x="9892379" y="3075098"/>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2" name="Text Placeholder 2">
            <a:extLst>
              <a:ext uri="{FF2B5EF4-FFF2-40B4-BE49-F238E27FC236}">
                <a16:creationId xmlns:a16="http://schemas.microsoft.com/office/drawing/2014/main" id="{1A5EAECB-FE63-4351-9BF7-A5689AB54299}"/>
              </a:ext>
            </a:extLst>
          </p:cNvPr>
          <p:cNvSpPr>
            <a:spLocks noGrp="1"/>
          </p:cNvSpPr>
          <p:nvPr>
            <p:ph type="body" sz="quarter" idx="31" hasCustomPrompt="1"/>
          </p:nvPr>
        </p:nvSpPr>
        <p:spPr>
          <a:xfrm>
            <a:off x="9757059" y="359365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3" name="Text Placeholder 2">
            <a:extLst>
              <a:ext uri="{FF2B5EF4-FFF2-40B4-BE49-F238E27FC236}">
                <a16:creationId xmlns:a16="http://schemas.microsoft.com/office/drawing/2014/main" id="{DF2892F6-2C10-4C31-A7CC-0EA787ECEB04}"/>
              </a:ext>
            </a:extLst>
          </p:cNvPr>
          <p:cNvSpPr>
            <a:spLocks noGrp="1"/>
          </p:cNvSpPr>
          <p:nvPr>
            <p:ph type="body" sz="quarter" idx="32" hasCustomPrompt="1"/>
          </p:nvPr>
        </p:nvSpPr>
        <p:spPr>
          <a:xfrm>
            <a:off x="9621739" y="4112214"/>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4" name="Text Placeholder 2">
            <a:extLst>
              <a:ext uri="{FF2B5EF4-FFF2-40B4-BE49-F238E27FC236}">
                <a16:creationId xmlns:a16="http://schemas.microsoft.com/office/drawing/2014/main" id="{2EA89152-FEDF-40B5-87A0-752E2012D470}"/>
              </a:ext>
            </a:extLst>
          </p:cNvPr>
          <p:cNvSpPr>
            <a:spLocks noGrp="1"/>
          </p:cNvSpPr>
          <p:nvPr>
            <p:ph type="body" sz="quarter" idx="33" hasCustomPrompt="1"/>
          </p:nvPr>
        </p:nvSpPr>
        <p:spPr>
          <a:xfrm>
            <a:off x="9486419" y="4630772"/>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8" name="Text Placeholder 2">
            <a:extLst>
              <a:ext uri="{FF2B5EF4-FFF2-40B4-BE49-F238E27FC236}">
                <a16:creationId xmlns:a16="http://schemas.microsoft.com/office/drawing/2014/main" id="{05C8E654-ACE8-4E79-B947-A30ED161703F}"/>
              </a:ext>
            </a:extLst>
          </p:cNvPr>
          <p:cNvSpPr>
            <a:spLocks noGrp="1"/>
          </p:cNvSpPr>
          <p:nvPr>
            <p:ph type="body" sz="quarter" idx="37" hasCustomPrompt="1"/>
          </p:nvPr>
        </p:nvSpPr>
        <p:spPr>
          <a:xfrm>
            <a:off x="9080459" y="6186441"/>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9" name="Text Placeholder 2">
            <a:extLst>
              <a:ext uri="{FF2B5EF4-FFF2-40B4-BE49-F238E27FC236}">
                <a16:creationId xmlns:a16="http://schemas.microsoft.com/office/drawing/2014/main" id="{592AFA37-3019-4E96-B708-2C58EDD4B37E}"/>
              </a:ext>
            </a:extLst>
          </p:cNvPr>
          <p:cNvSpPr>
            <a:spLocks noGrp="1"/>
          </p:cNvSpPr>
          <p:nvPr>
            <p:ph type="body" sz="quarter" idx="38" hasCustomPrompt="1"/>
          </p:nvPr>
        </p:nvSpPr>
        <p:spPr>
          <a:xfrm>
            <a:off x="9215779" y="5667887"/>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43" name="Oval 19">
            <a:extLst>
              <a:ext uri="{FF2B5EF4-FFF2-40B4-BE49-F238E27FC236}">
                <a16:creationId xmlns:a16="http://schemas.microsoft.com/office/drawing/2014/main" id="{8257FC03-96D4-42DB-A0A2-5DAB2A70E022}"/>
              </a:ext>
            </a:extLst>
          </p:cNvPr>
          <p:cNvSpPr>
            <a:spLocks noChangeAspect="1"/>
          </p:cNvSpPr>
          <p:nvPr userDrawn="1"/>
        </p:nvSpPr>
        <p:spPr>
          <a:xfrm>
            <a:off x="5211598" y="6114163"/>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spc="-150" baseline="0" dirty="0">
                <a:solidFill>
                  <a:schemeClr val="tx1">
                    <a:lumMod val="50000"/>
                  </a:schemeClr>
                </a:solidFill>
                <a:latin typeface="Arial" panose="020B0604020202020204" pitchFamily="34" charset="0"/>
                <a:cs typeface="Arial" panose="020B0604020202020204" pitchFamily="34" charset="0"/>
              </a:rPr>
              <a:t>11</a:t>
            </a:r>
            <a:endParaRPr lang="x-none" sz="1600" b="1" spc="-150" baseline="0" dirty="0">
              <a:solidFill>
                <a:schemeClr val="tx1">
                  <a:lumMod val="50000"/>
                </a:schemeClr>
              </a:solidFill>
              <a:latin typeface="Arial" panose="020B0604020202020204" pitchFamily="34" charset="0"/>
              <a:cs typeface="Arial" panose="020B0604020202020204" pitchFamily="34" charset="0"/>
            </a:endParaRPr>
          </a:p>
        </p:txBody>
      </p:sp>
      <p:sp>
        <p:nvSpPr>
          <p:cNvPr id="44" name="Oval 19">
            <a:extLst>
              <a:ext uri="{FF2B5EF4-FFF2-40B4-BE49-F238E27FC236}">
                <a16:creationId xmlns:a16="http://schemas.microsoft.com/office/drawing/2014/main" id="{162A0EF4-112F-4624-832A-EDEA06B358A0}"/>
              </a:ext>
            </a:extLst>
          </p:cNvPr>
          <p:cNvSpPr>
            <a:spLocks noChangeAspect="1"/>
          </p:cNvSpPr>
          <p:nvPr userDrawn="1"/>
        </p:nvSpPr>
        <p:spPr>
          <a:xfrm>
            <a:off x="5349676" y="5595609"/>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10</a:t>
            </a:r>
            <a:endParaRPr lang="x-none" sz="1600" b="1" dirty="0">
              <a:solidFill>
                <a:schemeClr val="tx1">
                  <a:lumMod val="50000"/>
                </a:schemeClr>
              </a:solidFill>
              <a:latin typeface="Arial" panose="020B0604020202020204" pitchFamily="34" charset="0"/>
              <a:cs typeface="Arial" panose="020B0604020202020204" pitchFamily="34" charset="0"/>
            </a:endParaRPr>
          </a:p>
        </p:txBody>
      </p:sp>
      <p:sp>
        <p:nvSpPr>
          <p:cNvPr id="45" name="Text Placeholder 2">
            <a:extLst>
              <a:ext uri="{FF2B5EF4-FFF2-40B4-BE49-F238E27FC236}">
                <a16:creationId xmlns:a16="http://schemas.microsoft.com/office/drawing/2014/main" id="{A9F87758-7DDA-4B42-B537-50B6CFDD65A2}"/>
              </a:ext>
            </a:extLst>
          </p:cNvPr>
          <p:cNvSpPr>
            <a:spLocks noGrp="1"/>
          </p:cNvSpPr>
          <p:nvPr>
            <p:ph type="body" sz="quarter" idx="39"/>
          </p:nvPr>
        </p:nvSpPr>
        <p:spPr>
          <a:xfrm>
            <a:off x="7090044" y="100086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6" name="Text Placeholder 2">
            <a:extLst>
              <a:ext uri="{FF2B5EF4-FFF2-40B4-BE49-F238E27FC236}">
                <a16:creationId xmlns:a16="http://schemas.microsoft.com/office/drawing/2014/main" id="{97FD4CF4-607B-462E-9A77-D7E6988B1815}"/>
              </a:ext>
            </a:extLst>
          </p:cNvPr>
          <p:cNvSpPr>
            <a:spLocks noGrp="1"/>
          </p:cNvSpPr>
          <p:nvPr>
            <p:ph type="body" sz="quarter" idx="40" hasCustomPrompt="1"/>
          </p:nvPr>
        </p:nvSpPr>
        <p:spPr>
          <a:xfrm>
            <a:off x="10433657" y="100086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47" name="Text Placeholder 2">
            <a:extLst>
              <a:ext uri="{FF2B5EF4-FFF2-40B4-BE49-F238E27FC236}">
                <a16:creationId xmlns:a16="http://schemas.microsoft.com/office/drawing/2014/main" id="{59E7D75E-1940-4F6E-A2B5-1B607B1FD8FC}"/>
              </a:ext>
            </a:extLst>
          </p:cNvPr>
          <p:cNvSpPr>
            <a:spLocks noGrp="1"/>
          </p:cNvSpPr>
          <p:nvPr>
            <p:ph type="body" sz="quarter" idx="41"/>
          </p:nvPr>
        </p:nvSpPr>
        <p:spPr>
          <a:xfrm>
            <a:off x="6954849" y="1519424"/>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8" name="Text Placeholder 2">
            <a:extLst>
              <a:ext uri="{FF2B5EF4-FFF2-40B4-BE49-F238E27FC236}">
                <a16:creationId xmlns:a16="http://schemas.microsoft.com/office/drawing/2014/main" id="{C0FC9F94-A57D-40E0-83A8-E84B2032579E}"/>
              </a:ext>
            </a:extLst>
          </p:cNvPr>
          <p:cNvSpPr>
            <a:spLocks noGrp="1"/>
          </p:cNvSpPr>
          <p:nvPr>
            <p:ph type="body" sz="quarter" idx="42" hasCustomPrompt="1"/>
          </p:nvPr>
        </p:nvSpPr>
        <p:spPr>
          <a:xfrm>
            <a:off x="10298339" y="1519424"/>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49" name="Text Placeholder 2">
            <a:extLst>
              <a:ext uri="{FF2B5EF4-FFF2-40B4-BE49-F238E27FC236}">
                <a16:creationId xmlns:a16="http://schemas.microsoft.com/office/drawing/2014/main" id="{73C33C91-D3AC-473E-8831-345F475481C2}"/>
              </a:ext>
            </a:extLst>
          </p:cNvPr>
          <p:cNvSpPr>
            <a:spLocks noGrp="1"/>
          </p:cNvSpPr>
          <p:nvPr>
            <p:ph type="body" sz="quarter" idx="43"/>
          </p:nvPr>
        </p:nvSpPr>
        <p:spPr>
          <a:xfrm>
            <a:off x="6819650" y="2037982"/>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50" name="Text Placeholder 2">
            <a:extLst>
              <a:ext uri="{FF2B5EF4-FFF2-40B4-BE49-F238E27FC236}">
                <a16:creationId xmlns:a16="http://schemas.microsoft.com/office/drawing/2014/main" id="{7076B810-74A4-4B3D-A835-4C3621B6DED7}"/>
              </a:ext>
            </a:extLst>
          </p:cNvPr>
          <p:cNvSpPr>
            <a:spLocks noGrp="1"/>
          </p:cNvSpPr>
          <p:nvPr>
            <p:ph type="body" sz="quarter" idx="44" hasCustomPrompt="1"/>
          </p:nvPr>
        </p:nvSpPr>
        <p:spPr>
          <a:xfrm>
            <a:off x="10163019" y="2037982"/>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51" name="Text Placeholder 2">
            <a:extLst>
              <a:ext uri="{FF2B5EF4-FFF2-40B4-BE49-F238E27FC236}">
                <a16:creationId xmlns:a16="http://schemas.microsoft.com/office/drawing/2014/main" id="{2C7D379D-38E0-4E6C-988C-4FB784704B20}"/>
              </a:ext>
            </a:extLst>
          </p:cNvPr>
          <p:cNvSpPr>
            <a:spLocks noGrp="1"/>
          </p:cNvSpPr>
          <p:nvPr>
            <p:ph type="body" sz="quarter" idx="45"/>
          </p:nvPr>
        </p:nvSpPr>
        <p:spPr>
          <a:xfrm>
            <a:off x="6008456" y="5149330"/>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52" name="Text Placeholder 2">
            <a:extLst>
              <a:ext uri="{FF2B5EF4-FFF2-40B4-BE49-F238E27FC236}">
                <a16:creationId xmlns:a16="http://schemas.microsoft.com/office/drawing/2014/main" id="{36C05AD1-0EF0-4832-B87A-EAD15DCB7E0D}"/>
              </a:ext>
            </a:extLst>
          </p:cNvPr>
          <p:cNvSpPr>
            <a:spLocks noGrp="1"/>
          </p:cNvSpPr>
          <p:nvPr>
            <p:ph type="body" sz="quarter" idx="46" hasCustomPrompt="1"/>
          </p:nvPr>
        </p:nvSpPr>
        <p:spPr>
          <a:xfrm>
            <a:off x="9351099" y="5149330"/>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 name="Title 1">
            <a:extLst>
              <a:ext uri="{FF2B5EF4-FFF2-40B4-BE49-F238E27FC236}">
                <a16:creationId xmlns:a16="http://schemas.microsoft.com/office/drawing/2014/main" id="{D9545697-C917-64CA-3F1A-5754B6804713}"/>
              </a:ext>
            </a:extLst>
          </p:cNvPr>
          <p:cNvSpPr>
            <a:spLocks noGrp="1"/>
          </p:cNvSpPr>
          <p:nvPr>
            <p:ph type="title" hasCustomPrompt="1"/>
          </p:nvPr>
        </p:nvSpPr>
        <p:spPr>
          <a:xfrm>
            <a:off x="7361584" y="642950"/>
            <a:ext cx="4525616"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Bericht</a:t>
            </a:r>
            <a:endParaRPr lang="de-DE" dirty="0"/>
          </a:p>
        </p:txBody>
      </p:sp>
      <p:sp>
        <p:nvSpPr>
          <p:cNvPr id="4" name="Text Placeholder 3">
            <a:extLst>
              <a:ext uri="{FF2B5EF4-FFF2-40B4-BE49-F238E27FC236}">
                <a16:creationId xmlns:a16="http://schemas.microsoft.com/office/drawing/2014/main" id="{3172C7AF-CACD-5F20-5572-D0179EA10816}"/>
              </a:ext>
            </a:extLst>
          </p:cNvPr>
          <p:cNvSpPr>
            <a:spLocks noGrp="1"/>
          </p:cNvSpPr>
          <p:nvPr>
            <p:ph type="body" sz="quarter" idx="13" hasCustomPrompt="1"/>
          </p:nvPr>
        </p:nvSpPr>
        <p:spPr>
          <a:xfrm>
            <a:off x="7362048"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17236472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VZ_12_Kapitel">
    <p:bg>
      <p:bgPr>
        <a:solidFill>
          <a:schemeClr val="bg1"/>
        </a:solidFill>
        <a:effectLst/>
      </p:bgPr>
    </p:bg>
    <p:spTree>
      <p:nvGrpSpPr>
        <p:cNvPr id="1" name=""/>
        <p:cNvGrpSpPr/>
        <p:nvPr/>
      </p:nvGrpSpPr>
      <p:grpSpPr>
        <a:xfrm>
          <a:off x="0" y="0"/>
          <a:ext cx="0" cy="0"/>
          <a:chOff x="0" y="0"/>
          <a:chExt cx="0" cy="0"/>
        </a:xfrm>
      </p:grpSpPr>
      <p:sp>
        <p:nvSpPr>
          <p:cNvPr id="10" name="Slide Number Placeholder 3">
            <a:extLst>
              <a:ext uri="{FF2B5EF4-FFF2-40B4-BE49-F238E27FC236}">
                <a16:creationId xmlns:a16="http://schemas.microsoft.com/office/drawing/2014/main" id="{82F64DB9-B56E-2941-8277-8AED61C61249}"/>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7" name="Text Placeholder 2">
            <a:extLst>
              <a:ext uri="{FF2B5EF4-FFF2-40B4-BE49-F238E27FC236}">
                <a16:creationId xmlns:a16="http://schemas.microsoft.com/office/drawing/2014/main" id="{DA0EF649-F051-43A6-8EB9-85681471AEB8}"/>
              </a:ext>
            </a:extLst>
          </p:cNvPr>
          <p:cNvSpPr>
            <a:spLocks noGrp="1"/>
          </p:cNvSpPr>
          <p:nvPr>
            <p:ph type="body" sz="quarter" idx="14"/>
          </p:nvPr>
        </p:nvSpPr>
        <p:spPr>
          <a:xfrm>
            <a:off x="6721322" y="2415114"/>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8" name="Text Placeholder 2">
            <a:extLst>
              <a:ext uri="{FF2B5EF4-FFF2-40B4-BE49-F238E27FC236}">
                <a16:creationId xmlns:a16="http://schemas.microsoft.com/office/drawing/2014/main" id="{ACBB52A9-1A43-4F32-959C-9247BF4AA28E}"/>
              </a:ext>
            </a:extLst>
          </p:cNvPr>
          <p:cNvSpPr>
            <a:spLocks noGrp="1"/>
          </p:cNvSpPr>
          <p:nvPr>
            <p:ph type="body" sz="quarter" idx="15"/>
          </p:nvPr>
        </p:nvSpPr>
        <p:spPr>
          <a:xfrm>
            <a:off x="6598414" y="2886530"/>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1" name="Text Placeholder 2">
            <a:extLst>
              <a:ext uri="{FF2B5EF4-FFF2-40B4-BE49-F238E27FC236}">
                <a16:creationId xmlns:a16="http://schemas.microsoft.com/office/drawing/2014/main" id="{60795A7F-9122-4C44-898B-0BA8537FB202}"/>
              </a:ext>
            </a:extLst>
          </p:cNvPr>
          <p:cNvSpPr>
            <a:spLocks noGrp="1"/>
          </p:cNvSpPr>
          <p:nvPr>
            <p:ph type="body" sz="quarter" idx="16"/>
          </p:nvPr>
        </p:nvSpPr>
        <p:spPr>
          <a:xfrm>
            <a:off x="6475506" y="335794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2" name="Text Placeholder 2">
            <a:extLst>
              <a:ext uri="{FF2B5EF4-FFF2-40B4-BE49-F238E27FC236}">
                <a16:creationId xmlns:a16="http://schemas.microsoft.com/office/drawing/2014/main" id="{EAD6D003-DAD8-48C6-9C57-BAA95F540224}"/>
              </a:ext>
            </a:extLst>
          </p:cNvPr>
          <p:cNvSpPr>
            <a:spLocks noGrp="1"/>
          </p:cNvSpPr>
          <p:nvPr>
            <p:ph type="body" sz="quarter" idx="17"/>
          </p:nvPr>
        </p:nvSpPr>
        <p:spPr>
          <a:xfrm>
            <a:off x="6352598" y="3829362"/>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3" name="Text Placeholder 2">
            <a:extLst>
              <a:ext uri="{FF2B5EF4-FFF2-40B4-BE49-F238E27FC236}">
                <a16:creationId xmlns:a16="http://schemas.microsoft.com/office/drawing/2014/main" id="{7D6A6399-3AB5-4B2E-A77B-4A367AD054B3}"/>
              </a:ext>
            </a:extLst>
          </p:cNvPr>
          <p:cNvSpPr>
            <a:spLocks noGrp="1"/>
          </p:cNvSpPr>
          <p:nvPr>
            <p:ph type="body" sz="quarter" idx="18"/>
          </p:nvPr>
        </p:nvSpPr>
        <p:spPr>
          <a:xfrm>
            <a:off x="6229690" y="4300778"/>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4" name="Text Placeholder 2">
            <a:extLst>
              <a:ext uri="{FF2B5EF4-FFF2-40B4-BE49-F238E27FC236}">
                <a16:creationId xmlns:a16="http://schemas.microsoft.com/office/drawing/2014/main" id="{8ACE3A89-8CAD-4D70-8DA0-6CD7E142C1AC}"/>
              </a:ext>
            </a:extLst>
          </p:cNvPr>
          <p:cNvSpPr>
            <a:spLocks noGrp="1"/>
          </p:cNvSpPr>
          <p:nvPr>
            <p:ph type="body" sz="quarter" idx="24"/>
          </p:nvPr>
        </p:nvSpPr>
        <p:spPr>
          <a:xfrm>
            <a:off x="6106782" y="4772194"/>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7" name="Text Placeholder 2">
            <a:extLst>
              <a:ext uri="{FF2B5EF4-FFF2-40B4-BE49-F238E27FC236}">
                <a16:creationId xmlns:a16="http://schemas.microsoft.com/office/drawing/2014/main" id="{EDB1F10E-B812-4A34-9C0F-A485463046A5}"/>
              </a:ext>
            </a:extLst>
          </p:cNvPr>
          <p:cNvSpPr>
            <a:spLocks noGrp="1"/>
          </p:cNvSpPr>
          <p:nvPr>
            <p:ph type="body" sz="quarter" idx="27"/>
          </p:nvPr>
        </p:nvSpPr>
        <p:spPr>
          <a:xfrm>
            <a:off x="5738058" y="6186441"/>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8" name="Text Placeholder 2">
            <a:extLst>
              <a:ext uri="{FF2B5EF4-FFF2-40B4-BE49-F238E27FC236}">
                <a16:creationId xmlns:a16="http://schemas.microsoft.com/office/drawing/2014/main" id="{BB815B4B-C487-49F3-B33A-2B91219B39D3}"/>
              </a:ext>
            </a:extLst>
          </p:cNvPr>
          <p:cNvSpPr>
            <a:spLocks noGrp="1"/>
          </p:cNvSpPr>
          <p:nvPr>
            <p:ph type="body" sz="quarter" idx="28"/>
          </p:nvPr>
        </p:nvSpPr>
        <p:spPr>
          <a:xfrm>
            <a:off x="5860966" y="571502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9" name="Oval 70">
            <a:extLst>
              <a:ext uri="{FF2B5EF4-FFF2-40B4-BE49-F238E27FC236}">
                <a16:creationId xmlns:a16="http://schemas.microsoft.com/office/drawing/2014/main" id="{40B5A312-D35E-4333-9A1A-D06912EBFE05}"/>
              </a:ext>
            </a:extLst>
          </p:cNvPr>
          <p:cNvSpPr>
            <a:spLocks noChangeAspect="1"/>
          </p:cNvSpPr>
          <p:nvPr userDrawn="1"/>
        </p:nvSpPr>
        <p:spPr>
          <a:xfrm>
            <a:off x="6592375" y="92858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dirty="0">
                <a:solidFill>
                  <a:schemeClr val="tx1">
                    <a:lumMod val="50000"/>
                  </a:schemeClr>
                </a:solidFill>
                <a:latin typeface="Arial" panose="020B0604020202020204" pitchFamily="34" charset="0"/>
                <a:cs typeface="Arial" panose="020B0604020202020204" pitchFamily="34" charset="0"/>
              </a:rPr>
              <a:t>1</a:t>
            </a:r>
          </a:p>
        </p:txBody>
      </p:sp>
      <p:sp>
        <p:nvSpPr>
          <p:cNvPr id="20" name="Oval 71">
            <a:extLst>
              <a:ext uri="{FF2B5EF4-FFF2-40B4-BE49-F238E27FC236}">
                <a16:creationId xmlns:a16="http://schemas.microsoft.com/office/drawing/2014/main" id="{62B45719-3C96-4A8B-96F1-3EE553F2C9DB}"/>
              </a:ext>
            </a:extLst>
          </p:cNvPr>
          <p:cNvSpPr>
            <a:spLocks noChangeAspect="1"/>
          </p:cNvSpPr>
          <p:nvPr userDrawn="1"/>
        </p:nvSpPr>
        <p:spPr>
          <a:xfrm>
            <a:off x="6466848" y="1400004"/>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2</a:t>
            </a:r>
          </a:p>
        </p:txBody>
      </p:sp>
      <p:sp>
        <p:nvSpPr>
          <p:cNvPr id="21" name="Oval 13">
            <a:extLst>
              <a:ext uri="{FF2B5EF4-FFF2-40B4-BE49-F238E27FC236}">
                <a16:creationId xmlns:a16="http://schemas.microsoft.com/office/drawing/2014/main" id="{5429BF70-C6F1-4DD0-A49F-62B9F3268794}"/>
              </a:ext>
            </a:extLst>
          </p:cNvPr>
          <p:cNvSpPr>
            <a:spLocks noChangeAspect="1"/>
          </p:cNvSpPr>
          <p:nvPr userDrawn="1"/>
        </p:nvSpPr>
        <p:spPr>
          <a:xfrm>
            <a:off x="6341323" y="1871420"/>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3</a:t>
            </a:r>
          </a:p>
        </p:txBody>
      </p:sp>
      <p:sp>
        <p:nvSpPr>
          <p:cNvPr id="22" name="Oval 16">
            <a:extLst>
              <a:ext uri="{FF2B5EF4-FFF2-40B4-BE49-F238E27FC236}">
                <a16:creationId xmlns:a16="http://schemas.microsoft.com/office/drawing/2014/main" id="{B7CD9936-52F6-4AAC-97EE-28620215C01D}"/>
              </a:ext>
            </a:extLst>
          </p:cNvPr>
          <p:cNvSpPr>
            <a:spLocks noChangeAspect="1"/>
          </p:cNvSpPr>
          <p:nvPr userDrawn="1"/>
        </p:nvSpPr>
        <p:spPr>
          <a:xfrm>
            <a:off x="6215798" y="2342836"/>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4</a:t>
            </a:r>
          </a:p>
        </p:txBody>
      </p:sp>
      <p:sp>
        <p:nvSpPr>
          <p:cNvPr id="23" name="Oval 19">
            <a:extLst>
              <a:ext uri="{FF2B5EF4-FFF2-40B4-BE49-F238E27FC236}">
                <a16:creationId xmlns:a16="http://schemas.microsoft.com/office/drawing/2014/main" id="{62500DA2-DC54-4406-80C5-E3AE004AE5C6}"/>
              </a:ext>
            </a:extLst>
          </p:cNvPr>
          <p:cNvSpPr>
            <a:spLocks noChangeAspect="1"/>
          </p:cNvSpPr>
          <p:nvPr userDrawn="1"/>
        </p:nvSpPr>
        <p:spPr>
          <a:xfrm>
            <a:off x="6090273" y="2814252"/>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5</a:t>
            </a:r>
          </a:p>
        </p:txBody>
      </p:sp>
      <p:sp>
        <p:nvSpPr>
          <p:cNvPr id="24" name="Oval 19">
            <a:extLst>
              <a:ext uri="{FF2B5EF4-FFF2-40B4-BE49-F238E27FC236}">
                <a16:creationId xmlns:a16="http://schemas.microsoft.com/office/drawing/2014/main" id="{4AB6D32E-36D0-4EC1-A743-CEB1B61830F2}"/>
              </a:ext>
            </a:extLst>
          </p:cNvPr>
          <p:cNvSpPr>
            <a:spLocks noChangeAspect="1"/>
          </p:cNvSpPr>
          <p:nvPr userDrawn="1"/>
        </p:nvSpPr>
        <p:spPr>
          <a:xfrm>
            <a:off x="5713698" y="4228500"/>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8</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25" name="Oval 19">
            <a:extLst>
              <a:ext uri="{FF2B5EF4-FFF2-40B4-BE49-F238E27FC236}">
                <a16:creationId xmlns:a16="http://schemas.microsoft.com/office/drawing/2014/main" id="{F1AB4992-4B6B-4A6F-A3CE-2DD47E23A5F7}"/>
              </a:ext>
            </a:extLst>
          </p:cNvPr>
          <p:cNvSpPr>
            <a:spLocks noChangeAspect="1"/>
          </p:cNvSpPr>
          <p:nvPr userDrawn="1"/>
        </p:nvSpPr>
        <p:spPr>
          <a:xfrm>
            <a:off x="5964748" y="328566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6</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26" name="Oval 19">
            <a:extLst>
              <a:ext uri="{FF2B5EF4-FFF2-40B4-BE49-F238E27FC236}">
                <a16:creationId xmlns:a16="http://schemas.microsoft.com/office/drawing/2014/main" id="{52DB280A-23A5-4263-BC7D-9345C892C67B}"/>
              </a:ext>
            </a:extLst>
          </p:cNvPr>
          <p:cNvSpPr>
            <a:spLocks noChangeAspect="1"/>
          </p:cNvSpPr>
          <p:nvPr userDrawn="1"/>
        </p:nvSpPr>
        <p:spPr>
          <a:xfrm>
            <a:off x="5839223" y="3757084"/>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7</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30" name="Text Placeholder 2">
            <a:extLst>
              <a:ext uri="{FF2B5EF4-FFF2-40B4-BE49-F238E27FC236}">
                <a16:creationId xmlns:a16="http://schemas.microsoft.com/office/drawing/2014/main" id="{1CEF41E1-0E7D-47F9-A8FF-D47B5B4F6861}"/>
              </a:ext>
            </a:extLst>
          </p:cNvPr>
          <p:cNvSpPr>
            <a:spLocks noGrp="1"/>
          </p:cNvSpPr>
          <p:nvPr>
            <p:ph type="body" sz="quarter" idx="29" hasCustomPrompt="1"/>
          </p:nvPr>
        </p:nvSpPr>
        <p:spPr>
          <a:xfrm>
            <a:off x="10064603" y="2415114"/>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1" name="Text Placeholder 2">
            <a:extLst>
              <a:ext uri="{FF2B5EF4-FFF2-40B4-BE49-F238E27FC236}">
                <a16:creationId xmlns:a16="http://schemas.microsoft.com/office/drawing/2014/main" id="{7DFC7892-9F85-4B21-8ED5-B3D3DF225F90}"/>
              </a:ext>
            </a:extLst>
          </p:cNvPr>
          <p:cNvSpPr>
            <a:spLocks noGrp="1"/>
          </p:cNvSpPr>
          <p:nvPr>
            <p:ph type="body" sz="quarter" idx="30" hasCustomPrompt="1"/>
          </p:nvPr>
        </p:nvSpPr>
        <p:spPr>
          <a:xfrm>
            <a:off x="9941585" y="2886530"/>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2" name="Text Placeholder 2">
            <a:extLst>
              <a:ext uri="{FF2B5EF4-FFF2-40B4-BE49-F238E27FC236}">
                <a16:creationId xmlns:a16="http://schemas.microsoft.com/office/drawing/2014/main" id="{1A5EAECB-FE63-4351-9BF7-A5689AB54299}"/>
              </a:ext>
            </a:extLst>
          </p:cNvPr>
          <p:cNvSpPr>
            <a:spLocks noGrp="1"/>
          </p:cNvSpPr>
          <p:nvPr>
            <p:ph type="body" sz="quarter" idx="31" hasCustomPrompt="1"/>
          </p:nvPr>
        </p:nvSpPr>
        <p:spPr>
          <a:xfrm>
            <a:off x="9818567" y="335794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3" name="Text Placeholder 2">
            <a:extLst>
              <a:ext uri="{FF2B5EF4-FFF2-40B4-BE49-F238E27FC236}">
                <a16:creationId xmlns:a16="http://schemas.microsoft.com/office/drawing/2014/main" id="{DF2892F6-2C10-4C31-A7CC-0EA787ECEB04}"/>
              </a:ext>
            </a:extLst>
          </p:cNvPr>
          <p:cNvSpPr>
            <a:spLocks noGrp="1"/>
          </p:cNvSpPr>
          <p:nvPr>
            <p:ph type="body" sz="quarter" idx="32" hasCustomPrompt="1"/>
          </p:nvPr>
        </p:nvSpPr>
        <p:spPr>
          <a:xfrm>
            <a:off x="9695549" y="3829362"/>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4" name="Text Placeholder 2">
            <a:extLst>
              <a:ext uri="{FF2B5EF4-FFF2-40B4-BE49-F238E27FC236}">
                <a16:creationId xmlns:a16="http://schemas.microsoft.com/office/drawing/2014/main" id="{2EA89152-FEDF-40B5-87A0-752E2012D470}"/>
              </a:ext>
            </a:extLst>
          </p:cNvPr>
          <p:cNvSpPr>
            <a:spLocks noGrp="1"/>
          </p:cNvSpPr>
          <p:nvPr>
            <p:ph type="body" sz="quarter" idx="33" hasCustomPrompt="1"/>
          </p:nvPr>
        </p:nvSpPr>
        <p:spPr>
          <a:xfrm>
            <a:off x="9572531" y="4300778"/>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5" name="Text Placeholder 2">
            <a:extLst>
              <a:ext uri="{FF2B5EF4-FFF2-40B4-BE49-F238E27FC236}">
                <a16:creationId xmlns:a16="http://schemas.microsoft.com/office/drawing/2014/main" id="{08BCE334-1A2F-463C-A912-555EC893426B}"/>
              </a:ext>
            </a:extLst>
          </p:cNvPr>
          <p:cNvSpPr>
            <a:spLocks noGrp="1"/>
          </p:cNvSpPr>
          <p:nvPr>
            <p:ph type="body" sz="quarter" idx="34" hasCustomPrompt="1"/>
          </p:nvPr>
        </p:nvSpPr>
        <p:spPr>
          <a:xfrm>
            <a:off x="9449513" y="4772194"/>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8" name="Text Placeholder 2">
            <a:extLst>
              <a:ext uri="{FF2B5EF4-FFF2-40B4-BE49-F238E27FC236}">
                <a16:creationId xmlns:a16="http://schemas.microsoft.com/office/drawing/2014/main" id="{05C8E654-ACE8-4E79-B947-A30ED161703F}"/>
              </a:ext>
            </a:extLst>
          </p:cNvPr>
          <p:cNvSpPr>
            <a:spLocks noGrp="1"/>
          </p:cNvSpPr>
          <p:nvPr>
            <p:ph type="body" sz="quarter" idx="37" hasCustomPrompt="1"/>
          </p:nvPr>
        </p:nvSpPr>
        <p:spPr>
          <a:xfrm>
            <a:off x="9080459" y="6186441"/>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9" name="Text Placeholder 2">
            <a:extLst>
              <a:ext uri="{FF2B5EF4-FFF2-40B4-BE49-F238E27FC236}">
                <a16:creationId xmlns:a16="http://schemas.microsoft.com/office/drawing/2014/main" id="{592AFA37-3019-4E96-B708-2C58EDD4B37E}"/>
              </a:ext>
            </a:extLst>
          </p:cNvPr>
          <p:cNvSpPr>
            <a:spLocks noGrp="1"/>
          </p:cNvSpPr>
          <p:nvPr>
            <p:ph type="body" sz="quarter" idx="38" hasCustomPrompt="1"/>
          </p:nvPr>
        </p:nvSpPr>
        <p:spPr>
          <a:xfrm>
            <a:off x="9203477" y="571502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40" name="Oval 19">
            <a:extLst>
              <a:ext uri="{FF2B5EF4-FFF2-40B4-BE49-F238E27FC236}">
                <a16:creationId xmlns:a16="http://schemas.microsoft.com/office/drawing/2014/main" id="{47B5EEB9-96A5-4D28-8687-2941A53C5839}"/>
              </a:ext>
            </a:extLst>
          </p:cNvPr>
          <p:cNvSpPr>
            <a:spLocks noChangeAspect="1"/>
          </p:cNvSpPr>
          <p:nvPr userDrawn="1"/>
        </p:nvSpPr>
        <p:spPr>
          <a:xfrm>
            <a:off x="5462648" y="5171332"/>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10</a:t>
            </a:r>
            <a:endParaRPr lang="x-none" sz="1600" b="1" dirty="0">
              <a:solidFill>
                <a:schemeClr val="tx1">
                  <a:lumMod val="50000"/>
                </a:schemeClr>
              </a:solidFill>
              <a:latin typeface="Arial" panose="020B0604020202020204" pitchFamily="34" charset="0"/>
              <a:cs typeface="Arial" panose="020B0604020202020204" pitchFamily="34" charset="0"/>
            </a:endParaRPr>
          </a:p>
        </p:txBody>
      </p:sp>
      <p:sp>
        <p:nvSpPr>
          <p:cNvPr id="42" name="Oval 19">
            <a:extLst>
              <a:ext uri="{FF2B5EF4-FFF2-40B4-BE49-F238E27FC236}">
                <a16:creationId xmlns:a16="http://schemas.microsoft.com/office/drawing/2014/main" id="{2DFF95FB-B514-448E-B0A5-01B04C69D610}"/>
              </a:ext>
            </a:extLst>
          </p:cNvPr>
          <p:cNvSpPr>
            <a:spLocks noChangeAspect="1"/>
          </p:cNvSpPr>
          <p:nvPr userDrawn="1"/>
        </p:nvSpPr>
        <p:spPr>
          <a:xfrm>
            <a:off x="5588173" y="4699916"/>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9</a:t>
            </a:r>
            <a:endParaRPr lang="x-none" sz="1600" b="1" dirty="0">
              <a:solidFill>
                <a:schemeClr val="tx1">
                  <a:lumMod val="50000"/>
                </a:schemeClr>
              </a:solidFill>
              <a:latin typeface="Arial" panose="020B0604020202020204" pitchFamily="34" charset="0"/>
              <a:cs typeface="Arial" panose="020B0604020202020204" pitchFamily="34" charset="0"/>
            </a:endParaRPr>
          </a:p>
        </p:txBody>
      </p:sp>
      <p:sp>
        <p:nvSpPr>
          <p:cNvPr id="43" name="Oval 19">
            <a:extLst>
              <a:ext uri="{FF2B5EF4-FFF2-40B4-BE49-F238E27FC236}">
                <a16:creationId xmlns:a16="http://schemas.microsoft.com/office/drawing/2014/main" id="{8257FC03-96D4-42DB-A0A2-5DAB2A70E022}"/>
              </a:ext>
            </a:extLst>
          </p:cNvPr>
          <p:cNvSpPr>
            <a:spLocks noChangeAspect="1"/>
          </p:cNvSpPr>
          <p:nvPr userDrawn="1"/>
        </p:nvSpPr>
        <p:spPr>
          <a:xfrm>
            <a:off x="5211598" y="6114163"/>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spc="-150" baseline="0" dirty="0">
                <a:solidFill>
                  <a:schemeClr val="tx1">
                    <a:lumMod val="50000"/>
                  </a:schemeClr>
                </a:solidFill>
                <a:latin typeface="Arial" panose="020B0604020202020204" pitchFamily="34" charset="0"/>
                <a:cs typeface="Arial" panose="020B0604020202020204" pitchFamily="34" charset="0"/>
              </a:rPr>
              <a:t>12</a:t>
            </a:r>
            <a:endParaRPr lang="x-none" sz="1600" b="1" spc="-150" baseline="0" dirty="0">
              <a:solidFill>
                <a:schemeClr val="tx1">
                  <a:lumMod val="50000"/>
                </a:schemeClr>
              </a:solidFill>
              <a:latin typeface="Arial" panose="020B0604020202020204" pitchFamily="34" charset="0"/>
              <a:cs typeface="Arial" panose="020B0604020202020204" pitchFamily="34" charset="0"/>
            </a:endParaRPr>
          </a:p>
        </p:txBody>
      </p:sp>
      <p:sp>
        <p:nvSpPr>
          <p:cNvPr id="44" name="Oval 19">
            <a:extLst>
              <a:ext uri="{FF2B5EF4-FFF2-40B4-BE49-F238E27FC236}">
                <a16:creationId xmlns:a16="http://schemas.microsoft.com/office/drawing/2014/main" id="{162A0EF4-112F-4624-832A-EDEA06B358A0}"/>
              </a:ext>
            </a:extLst>
          </p:cNvPr>
          <p:cNvSpPr>
            <a:spLocks noChangeAspect="1"/>
          </p:cNvSpPr>
          <p:nvPr userDrawn="1"/>
        </p:nvSpPr>
        <p:spPr>
          <a:xfrm>
            <a:off x="5337123" y="564274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11</a:t>
            </a:r>
            <a:endParaRPr lang="x-none" sz="1600" b="1" dirty="0">
              <a:solidFill>
                <a:schemeClr val="tx1">
                  <a:lumMod val="50000"/>
                </a:schemeClr>
              </a:solidFill>
              <a:latin typeface="Arial" panose="020B0604020202020204" pitchFamily="34" charset="0"/>
              <a:cs typeface="Arial" panose="020B0604020202020204" pitchFamily="34" charset="0"/>
            </a:endParaRPr>
          </a:p>
        </p:txBody>
      </p:sp>
      <p:sp>
        <p:nvSpPr>
          <p:cNvPr id="45" name="Text Placeholder 2">
            <a:extLst>
              <a:ext uri="{FF2B5EF4-FFF2-40B4-BE49-F238E27FC236}">
                <a16:creationId xmlns:a16="http://schemas.microsoft.com/office/drawing/2014/main" id="{A9F87758-7DDA-4B42-B537-50B6CFDD65A2}"/>
              </a:ext>
            </a:extLst>
          </p:cNvPr>
          <p:cNvSpPr>
            <a:spLocks noGrp="1"/>
          </p:cNvSpPr>
          <p:nvPr>
            <p:ph type="body" sz="quarter" idx="39"/>
          </p:nvPr>
        </p:nvSpPr>
        <p:spPr>
          <a:xfrm>
            <a:off x="7090044" y="100086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6" name="Text Placeholder 2">
            <a:extLst>
              <a:ext uri="{FF2B5EF4-FFF2-40B4-BE49-F238E27FC236}">
                <a16:creationId xmlns:a16="http://schemas.microsoft.com/office/drawing/2014/main" id="{97FD4CF4-607B-462E-9A77-D7E6988B1815}"/>
              </a:ext>
            </a:extLst>
          </p:cNvPr>
          <p:cNvSpPr>
            <a:spLocks noGrp="1"/>
          </p:cNvSpPr>
          <p:nvPr>
            <p:ph type="body" sz="quarter" idx="40" hasCustomPrompt="1"/>
          </p:nvPr>
        </p:nvSpPr>
        <p:spPr>
          <a:xfrm>
            <a:off x="10433657" y="100086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47" name="Text Placeholder 2">
            <a:extLst>
              <a:ext uri="{FF2B5EF4-FFF2-40B4-BE49-F238E27FC236}">
                <a16:creationId xmlns:a16="http://schemas.microsoft.com/office/drawing/2014/main" id="{59E7D75E-1940-4F6E-A2B5-1B607B1FD8FC}"/>
              </a:ext>
            </a:extLst>
          </p:cNvPr>
          <p:cNvSpPr>
            <a:spLocks noGrp="1"/>
          </p:cNvSpPr>
          <p:nvPr>
            <p:ph type="body" sz="quarter" idx="41"/>
          </p:nvPr>
        </p:nvSpPr>
        <p:spPr>
          <a:xfrm>
            <a:off x="6967138" y="1472282"/>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8" name="Text Placeholder 2">
            <a:extLst>
              <a:ext uri="{FF2B5EF4-FFF2-40B4-BE49-F238E27FC236}">
                <a16:creationId xmlns:a16="http://schemas.microsoft.com/office/drawing/2014/main" id="{C0FC9F94-A57D-40E0-83A8-E84B2032579E}"/>
              </a:ext>
            </a:extLst>
          </p:cNvPr>
          <p:cNvSpPr>
            <a:spLocks noGrp="1"/>
          </p:cNvSpPr>
          <p:nvPr>
            <p:ph type="body" sz="quarter" idx="42" hasCustomPrompt="1"/>
          </p:nvPr>
        </p:nvSpPr>
        <p:spPr>
          <a:xfrm>
            <a:off x="10310639" y="1472282"/>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49" name="Text Placeholder 2">
            <a:extLst>
              <a:ext uri="{FF2B5EF4-FFF2-40B4-BE49-F238E27FC236}">
                <a16:creationId xmlns:a16="http://schemas.microsoft.com/office/drawing/2014/main" id="{73C33C91-D3AC-473E-8831-345F475481C2}"/>
              </a:ext>
            </a:extLst>
          </p:cNvPr>
          <p:cNvSpPr>
            <a:spLocks noGrp="1"/>
          </p:cNvSpPr>
          <p:nvPr>
            <p:ph type="body" sz="quarter" idx="43"/>
          </p:nvPr>
        </p:nvSpPr>
        <p:spPr>
          <a:xfrm>
            <a:off x="6844230" y="1943698"/>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50" name="Text Placeholder 2">
            <a:extLst>
              <a:ext uri="{FF2B5EF4-FFF2-40B4-BE49-F238E27FC236}">
                <a16:creationId xmlns:a16="http://schemas.microsoft.com/office/drawing/2014/main" id="{7076B810-74A4-4B3D-A835-4C3621B6DED7}"/>
              </a:ext>
            </a:extLst>
          </p:cNvPr>
          <p:cNvSpPr>
            <a:spLocks noGrp="1"/>
          </p:cNvSpPr>
          <p:nvPr>
            <p:ph type="body" sz="quarter" idx="44" hasCustomPrompt="1"/>
          </p:nvPr>
        </p:nvSpPr>
        <p:spPr>
          <a:xfrm>
            <a:off x="10187621" y="1943698"/>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53" name="Text Placeholder 2">
            <a:extLst>
              <a:ext uri="{FF2B5EF4-FFF2-40B4-BE49-F238E27FC236}">
                <a16:creationId xmlns:a16="http://schemas.microsoft.com/office/drawing/2014/main" id="{B7F0CA5D-8D82-498B-8770-9183CAA92A1D}"/>
              </a:ext>
            </a:extLst>
          </p:cNvPr>
          <p:cNvSpPr>
            <a:spLocks noGrp="1"/>
          </p:cNvSpPr>
          <p:nvPr>
            <p:ph type="body" sz="quarter" idx="47"/>
          </p:nvPr>
        </p:nvSpPr>
        <p:spPr>
          <a:xfrm>
            <a:off x="5983874" y="5243610"/>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54" name="Text Placeholder 2">
            <a:extLst>
              <a:ext uri="{FF2B5EF4-FFF2-40B4-BE49-F238E27FC236}">
                <a16:creationId xmlns:a16="http://schemas.microsoft.com/office/drawing/2014/main" id="{7B3C29F3-90EE-4AF0-80A4-8EC3143A1B6D}"/>
              </a:ext>
            </a:extLst>
          </p:cNvPr>
          <p:cNvSpPr>
            <a:spLocks noGrp="1"/>
          </p:cNvSpPr>
          <p:nvPr>
            <p:ph type="body" sz="quarter" idx="48" hasCustomPrompt="1"/>
          </p:nvPr>
        </p:nvSpPr>
        <p:spPr>
          <a:xfrm>
            <a:off x="9326495" y="5243610"/>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82" name="Picture Placeholder 81">
            <a:extLst>
              <a:ext uri="{FF2B5EF4-FFF2-40B4-BE49-F238E27FC236}">
                <a16:creationId xmlns:a16="http://schemas.microsoft.com/office/drawing/2014/main" id="{03534F84-9B38-4A2E-B5B3-0F191BFBAA3A}"/>
              </a:ext>
            </a:extLst>
          </p:cNvPr>
          <p:cNvSpPr>
            <a:spLocks noGrp="1" noChangeAspect="1"/>
          </p:cNvSpPr>
          <p:nvPr>
            <p:ph type="pic" sz="quarter" idx="12"/>
          </p:nvPr>
        </p:nvSpPr>
        <p:spPr>
          <a:xfrm>
            <a:off x="-3881" y="2"/>
            <a:ext cx="7016940" cy="6857999"/>
          </a:xfrm>
          <a:custGeom>
            <a:avLst/>
            <a:gdLst>
              <a:gd name="connsiteX0" fmla="*/ 936350 w 7016940"/>
              <a:gd name="connsiteY0" fmla="*/ 0 h 6857999"/>
              <a:gd name="connsiteX1" fmla="*/ 7016940 w 7016940"/>
              <a:gd name="connsiteY1" fmla="*/ 0 h 6857999"/>
              <a:gd name="connsiteX2" fmla="*/ 6767745 w 7016940"/>
              <a:gd name="connsiteY2" fmla="*/ 929446 h 6857999"/>
              <a:gd name="connsiteX3" fmla="*/ 6739980 w 7016940"/>
              <a:gd name="connsiteY3" fmla="*/ 932245 h 6857999"/>
              <a:gd name="connsiteX4" fmla="*/ 6596256 w 7016940"/>
              <a:gd name="connsiteY4" fmla="*/ 1108588 h 6857999"/>
              <a:gd name="connsiteX5" fmla="*/ 6648977 w 7016940"/>
              <a:gd name="connsiteY5" fmla="*/ 1235867 h 6857999"/>
              <a:gd name="connsiteX6" fmla="*/ 6679985 w 7016940"/>
              <a:gd name="connsiteY6" fmla="*/ 1256774 h 6857999"/>
              <a:gd name="connsiteX7" fmla="*/ 6641330 w 7016940"/>
              <a:gd name="connsiteY7" fmla="*/ 1400952 h 6857999"/>
              <a:gd name="connsiteX8" fmla="*/ 6614453 w 7016940"/>
              <a:gd name="connsiteY8" fmla="*/ 1403661 h 6857999"/>
              <a:gd name="connsiteX9" fmla="*/ 6470729 w 7016940"/>
              <a:gd name="connsiteY9" fmla="*/ 1580004 h 6857999"/>
              <a:gd name="connsiteX10" fmla="*/ 6523450 w 7016940"/>
              <a:gd name="connsiteY10" fmla="*/ 1707283 h 6857999"/>
              <a:gd name="connsiteX11" fmla="*/ 6553726 w 7016940"/>
              <a:gd name="connsiteY11" fmla="*/ 1727696 h 6857999"/>
              <a:gd name="connsiteX12" fmla="*/ 6514914 w 7016940"/>
              <a:gd name="connsiteY12" fmla="*/ 1872458 h 6857999"/>
              <a:gd name="connsiteX13" fmla="*/ 6488928 w 7016940"/>
              <a:gd name="connsiteY13" fmla="*/ 1875077 h 6857999"/>
              <a:gd name="connsiteX14" fmla="*/ 6345204 w 7016940"/>
              <a:gd name="connsiteY14" fmla="*/ 2051420 h 6857999"/>
              <a:gd name="connsiteX15" fmla="*/ 6397925 w 7016940"/>
              <a:gd name="connsiteY15" fmla="*/ 2178700 h 6857999"/>
              <a:gd name="connsiteX16" fmla="*/ 6427467 w 7016940"/>
              <a:gd name="connsiteY16" fmla="*/ 2198617 h 6857999"/>
              <a:gd name="connsiteX17" fmla="*/ 6388498 w 7016940"/>
              <a:gd name="connsiteY17" fmla="*/ 2343963 h 6857999"/>
              <a:gd name="connsiteX18" fmla="*/ 6363403 w 7016940"/>
              <a:gd name="connsiteY18" fmla="*/ 2346492 h 6857999"/>
              <a:gd name="connsiteX19" fmla="*/ 6219679 w 7016940"/>
              <a:gd name="connsiteY19" fmla="*/ 2522836 h 6857999"/>
              <a:gd name="connsiteX20" fmla="*/ 6272400 w 7016940"/>
              <a:gd name="connsiteY20" fmla="*/ 2650115 h 6857999"/>
              <a:gd name="connsiteX21" fmla="*/ 6301208 w 7016940"/>
              <a:gd name="connsiteY21" fmla="*/ 2669537 h 6857999"/>
              <a:gd name="connsiteX22" fmla="*/ 6262082 w 7016940"/>
              <a:gd name="connsiteY22" fmla="*/ 2815469 h 6857999"/>
              <a:gd name="connsiteX23" fmla="*/ 6237878 w 7016940"/>
              <a:gd name="connsiteY23" fmla="*/ 2817909 h 6857999"/>
              <a:gd name="connsiteX24" fmla="*/ 6094154 w 7016940"/>
              <a:gd name="connsiteY24" fmla="*/ 2994252 h 6857999"/>
              <a:gd name="connsiteX25" fmla="*/ 6146875 w 7016940"/>
              <a:gd name="connsiteY25" fmla="*/ 3121531 h 6857999"/>
              <a:gd name="connsiteX26" fmla="*/ 6174949 w 7016940"/>
              <a:gd name="connsiteY26" fmla="*/ 3140459 h 6857999"/>
              <a:gd name="connsiteX27" fmla="*/ 6135666 w 7016940"/>
              <a:gd name="connsiteY27" fmla="*/ 3286975 h 6857999"/>
              <a:gd name="connsiteX28" fmla="*/ 6112353 w 7016940"/>
              <a:gd name="connsiteY28" fmla="*/ 3289325 h 6857999"/>
              <a:gd name="connsiteX29" fmla="*/ 5968629 w 7016940"/>
              <a:gd name="connsiteY29" fmla="*/ 3465667 h 6857999"/>
              <a:gd name="connsiteX30" fmla="*/ 6021350 w 7016940"/>
              <a:gd name="connsiteY30" fmla="*/ 3592946 h 6857999"/>
              <a:gd name="connsiteX31" fmla="*/ 6048690 w 7016940"/>
              <a:gd name="connsiteY31" fmla="*/ 3611379 h 6857999"/>
              <a:gd name="connsiteX32" fmla="*/ 6009250 w 7016940"/>
              <a:gd name="connsiteY32" fmla="*/ 3758480 h 6857999"/>
              <a:gd name="connsiteX33" fmla="*/ 5986828 w 7016940"/>
              <a:gd name="connsiteY33" fmla="*/ 3760740 h 6857999"/>
              <a:gd name="connsiteX34" fmla="*/ 5843104 w 7016940"/>
              <a:gd name="connsiteY34" fmla="*/ 3937083 h 6857999"/>
              <a:gd name="connsiteX35" fmla="*/ 5895825 w 7016940"/>
              <a:gd name="connsiteY35" fmla="*/ 4064362 h 6857999"/>
              <a:gd name="connsiteX36" fmla="*/ 5922430 w 7016940"/>
              <a:gd name="connsiteY36" fmla="*/ 4082300 h 6857999"/>
              <a:gd name="connsiteX37" fmla="*/ 5882834 w 7016940"/>
              <a:gd name="connsiteY37" fmla="*/ 4229986 h 6857999"/>
              <a:gd name="connsiteX38" fmla="*/ 5861303 w 7016940"/>
              <a:gd name="connsiteY38" fmla="*/ 4232156 h 6857999"/>
              <a:gd name="connsiteX39" fmla="*/ 5717579 w 7016940"/>
              <a:gd name="connsiteY39" fmla="*/ 4408499 h 6857999"/>
              <a:gd name="connsiteX40" fmla="*/ 5770300 w 7016940"/>
              <a:gd name="connsiteY40" fmla="*/ 4535778 h 6857999"/>
              <a:gd name="connsiteX41" fmla="*/ 5796171 w 7016940"/>
              <a:gd name="connsiteY41" fmla="*/ 4553221 h 6857999"/>
              <a:gd name="connsiteX42" fmla="*/ 5756418 w 7016940"/>
              <a:gd name="connsiteY42" fmla="*/ 4701491 h 6857999"/>
              <a:gd name="connsiteX43" fmla="*/ 5735778 w 7016940"/>
              <a:gd name="connsiteY43" fmla="*/ 4703572 h 6857999"/>
              <a:gd name="connsiteX44" fmla="*/ 5592054 w 7016940"/>
              <a:gd name="connsiteY44" fmla="*/ 4879915 h 6857999"/>
              <a:gd name="connsiteX45" fmla="*/ 5644775 w 7016940"/>
              <a:gd name="connsiteY45" fmla="*/ 5007194 h 6857999"/>
              <a:gd name="connsiteX46" fmla="*/ 5669912 w 7016940"/>
              <a:gd name="connsiteY46" fmla="*/ 5024142 h 6857999"/>
              <a:gd name="connsiteX47" fmla="*/ 5630003 w 7016940"/>
              <a:gd name="connsiteY47" fmla="*/ 5172997 h 6857999"/>
              <a:gd name="connsiteX48" fmla="*/ 5610253 w 7016940"/>
              <a:gd name="connsiteY48" fmla="*/ 5174988 h 6857999"/>
              <a:gd name="connsiteX49" fmla="*/ 5466529 w 7016940"/>
              <a:gd name="connsiteY49" fmla="*/ 5351331 h 6857999"/>
              <a:gd name="connsiteX50" fmla="*/ 5519250 w 7016940"/>
              <a:gd name="connsiteY50" fmla="*/ 5478610 h 6857999"/>
              <a:gd name="connsiteX51" fmla="*/ 5543653 w 7016940"/>
              <a:gd name="connsiteY51" fmla="*/ 5495063 h 6857999"/>
              <a:gd name="connsiteX52" fmla="*/ 5503586 w 7016940"/>
              <a:gd name="connsiteY52" fmla="*/ 5644503 h 6857999"/>
              <a:gd name="connsiteX53" fmla="*/ 5484728 w 7016940"/>
              <a:gd name="connsiteY53" fmla="*/ 5646404 h 6857999"/>
              <a:gd name="connsiteX54" fmla="*/ 5341004 w 7016940"/>
              <a:gd name="connsiteY54" fmla="*/ 5822747 h 6857999"/>
              <a:gd name="connsiteX55" fmla="*/ 5393725 w 7016940"/>
              <a:gd name="connsiteY55" fmla="*/ 5950026 h 6857999"/>
              <a:gd name="connsiteX56" fmla="*/ 5417394 w 7016940"/>
              <a:gd name="connsiteY56" fmla="*/ 5965984 h 6857999"/>
              <a:gd name="connsiteX57" fmla="*/ 5377171 w 7016940"/>
              <a:gd name="connsiteY57" fmla="*/ 6116008 h 6857999"/>
              <a:gd name="connsiteX58" fmla="*/ 5359203 w 7016940"/>
              <a:gd name="connsiteY58" fmla="*/ 6117819 h 6857999"/>
              <a:gd name="connsiteX59" fmla="*/ 5215479 w 7016940"/>
              <a:gd name="connsiteY59" fmla="*/ 6294162 h 6857999"/>
              <a:gd name="connsiteX60" fmla="*/ 5268200 w 7016940"/>
              <a:gd name="connsiteY60" fmla="*/ 6421441 h 6857999"/>
              <a:gd name="connsiteX61" fmla="*/ 5291135 w 7016940"/>
              <a:gd name="connsiteY61" fmla="*/ 6436904 h 6857999"/>
              <a:gd name="connsiteX62" fmla="*/ 5178234 w 7016940"/>
              <a:gd name="connsiteY62" fmla="*/ 6857999 h 6857999"/>
              <a:gd name="connsiteX63" fmla="*/ 0 w 7016940"/>
              <a:gd name="connsiteY63" fmla="*/ 6857999 h 6857999"/>
              <a:gd name="connsiteX64" fmla="*/ 0 w 7016940"/>
              <a:gd name="connsiteY64" fmla="*/ 345225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7016940" h="6857999">
                <a:moveTo>
                  <a:pt x="936350" y="0"/>
                </a:moveTo>
                <a:lnTo>
                  <a:pt x="7016940" y="0"/>
                </a:lnTo>
                <a:lnTo>
                  <a:pt x="6767745" y="929446"/>
                </a:lnTo>
                <a:lnTo>
                  <a:pt x="6739980" y="932245"/>
                </a:lnTo>
                <a:cubicBezTo>
                  <a:pt x="6657957" y="949029"/>
                  <a:pt x="6596256" y="1021603"/>
                  <a:pt x="6596256" y="1108588"/>
                </a:cubicBezTo>
                <a:cubicBezTo>
                  <a:pt x="6596256" y="1158294"/>
                  <a:pt x="6616404" y="1203294"/>
                  <a:pt x="6648977" y="1235867"/>
                </a:cubicBezTo>
                <a:lnTo>
                  <a:pt x="6679985" y="1256774"/>
                </a:lnTo>
                <a:lnTo>
                  <a:pt x="6641330" y="1400952"/>
                </a:lnTo>
                <a:lnTo>
                  <a:pt x="6614453" y="1403661"/>
                </a:lnTo>
                <a:cubicBezTo>
                  <a:pt x="6532430" y="1420446"/>
                  <a:pt x="6470729" y="1493020"/>
                  <a:pt x="6470729" y="1580004"/>
                </a:cubicBezTo>
                <a:cubicBezTo>
                  <a:pt x="6470729" y="1629710"/>
                  <a:pt x="6490876" y="1674710"/>
                  <a:pt x="6523450" y="1707283"/>
                </a:cubicBezTo>
                <a:lnTo>
                  <a:pt x="6553726" y="1727696"/>
                </a:lnTo>
                <a:lnTo>
                  <a:pt x="6514914" y="1872458"/>
                </a:lnTo>
                <a:lnTo>
                  <a:pt x="6488928" y="1875077"/>
                </a:lnTo>
                <a:cubicBezTo>
                  <a:pt x="6406905" y="1891862"/>
                  <a:pt x="6345204" y="1964436"/>
                  <a:pt x="6345204" y="2051420"/>
                </a:cubicBezTo>
                <a:cubicBezTo>
                  <a:pt x="6345204" y="2101126"/>
                  <a:pt x="6365352" y="2146126"/>
                  <a:pt x="6397925" y="2178700"/>
                </a:cubicBezTo>
                <a:lnTo>
                  <a:pt x="6427467" y="2198617"/>
                </a:lnTo>
                <a:lnTo>
                  <a:pt x="6388498" y="2343963"/>
                </a:lnTo>
                <a:lnTo>
                  <a:pt x="6363403" y="2346492"/>
                </a:lnTo>
                <a:cubicBezTo>
                  <a:pt x="6281380" y="2363278"/>
                  <a:pt x="6219679" y="2435851"/>
                  <a:pt x="6219679" y="2522836"/>
                </a:cubicBezTo>
                <a:cubicBezTo>
                  <a:pt x="6219679" y="2572542"/>
                  <a:pt x="6239826" y="2617541"/>
                  <a:pt x="6272400" y="2650115"/>
                </a:cubicBezTo>
                <a:lnTo>
                  <a:pt x="6301208" y="2669537"/>
                </a:lnTo>
                <a:lnTo>
                  <a:pt x="6262082" y="2815469"/>
                </a:lnTo>
                <a:lnTo>
                  <a:pt x="6237878" y="2817909"/>
                </a:lnTo>
                <a:cubicBezTo>
                  <a:pt x="6155855" y="2834693"/>
                  <a:pt x="6094154" y="2907267"/>
                  <a:pt x="6094154" y="2994252"/>
                </a:cubicBezTo>
                <a:cubicBezTo>
                  <a:pt x="6094154" y="3043957"/>
                  <a:pt x="6114302" y="3088957"/>
                  <a:pt x="6146875" y="3121531"/>
                </a:cubicBezTo>
                <a:lnTo>
                  <a:pt x="6174949" y="3140459"/>
                </a:lnTo>
                <a:lnTo>
                  <a:pt x="6135666" y="3286975"/>
                </a:lnTo>
                <a:lnTo>
                  <a:pt x="6112353" y="3289325"/>
                </a:lnTo>
                <a:cubicBezTo>
                  <a:pt x="6030330" y="3306109"/>
                  <a:pt x="5968629" y="3378683"/>
                  <a:pt x="5968629" y="3465667"/>
                </a:cubicBezTo>
                <a:cubicBezTo>
                  <a:pt x="5968629" y="3515373"/>
                  <a:pt x="5988776" y="3560373"/>
                  <a:pt x="6021350" y="3592946"/>
                </a:cubicBezTo>
                <a:lnTo>
                  <a:pt x="6048690" y="3611379"/>
                </a:lnTo>
                <a:lnTo>
                  <a:pt x="6009250" y="3758480"/>
                </a:lnTo>
                <a:lnTo>
                  <a:pt x="5986828" y="3760740"/>
                </a:lnTo>
                <a:cubicBezTo>
                  <a:pt x="5904805" y="3777524"/>
                  <a:pt x="5843104" y="3850098"/>
                  <a:pt x="5843104" y="3937083"/>
                </a:cubicBezTo>
                <a:cubicBezTo>
                  <a:pt x="5843104" y="3986789"/>
                  <a:pt x="5863252" y="4031789"/>
                  <a:pt x="5895825" y="4064362"/>
                </a:cubicBezTo>
                <a:lnTo>
                  <a:pt x="5922430" y="4082300"/>
                </a:lnTo>
                <a:lnTo>
                  <a:pt x="5882834" y="4229986"/>
                </a:lnTo>
                <a:lnTo>
                  <a:pt x="5861303" y="4232156"/>
                </a:lnTo>
                <a:cubicBezTo>
                  <a:pt x="5779280" y="4248941"/>
                  <a:pt x="5717579" y="4321515"/>
                  <a:pt x="5717579" y="4408499"/>
                </a:cubicBezTo>
                <a:cubicBezTo>
                  <a:pt x="5717579" y="4458205"/>
                  <a:pt x="5737727" y="4503205"/>
                  <a:pt x="5770300" y="4535778"/>
                </a:cubicBezTo>
                <a:lnTo>
                  <a:pt x="5796171" y="4553221"/>
                </a:lnTo>
                <a:lnTo>
                  <a:pt x="5756418" y="4701491"/>
                </a:lnTo>
                <a:lnTo>
                  <a:pt x="5735778" y="4703572"/>
                </a:lnTo>
                <a:cubicBezTo>
                  <a:pt x="5653755" y="4720357"/>
                  <a:pt x="5592054" y="4792931"/>
                  <a:pt x="5592054" y="4879915"/>
                </a:cubicBezTo>
                <a:cubicBezTo>
                  <a:pt x="5592054" y="4929621"/>
                  <a:pt x="5612201" y="4974621"/>
                  <a:pt x="5644775" y="5007194"/>
                </a:cubicBezTo>
                <a:lnTo>
                  <a:pt x="5669912" y="5024142"/>
                </a:lnTo>
                <a:lnTo>
                  <a:pt x="5630003" y="5172997"/>
                </a:lnTo>
                <a:lnTo>
                  <a:pt x="5610253" y="5174988"/>
                </a:lnTo>
                <a:cubicBezTo>
                  <a:pt x="5528230" y="5191773"/>
                  <a:pt x="5466529" y="5264347"/>
                  <a:pt x="5466529" y="5351331"/>
                </a:cubicBezTo>
                <a:cubicBezTo>
                  <a:pt x="5466529" y="5401037"/>
                  <a:pt x="5486676" y="5446037"/>
                  <a:pt x="5519250" y="5478610"/>
                </a:cubicBezTo>
                <a:lnTo>
                  <a:pt x="5543653" y="5495063"/>
                </a:lnTo>
                <a:lnTo>
                  <a:pt x="5503586" y="5644503"/>
                </a:lnTo>
                <a:lnTo>
                  <a:pt x="5484728" y="5646404"/>
                </a:lnTo>
                <a:cubicBezTo>
                  <a:pt x="5402705" y="5663189"/>
                  <a:pt x="5341004" y="5735763"/>
                  <a:pt x="5341004" y="5822747"/>
                </a:cubicBezTo>
                <a:cubicBezTo>
                  <a:pt x="5341004" y="5872453"/>
                  <a:pt x="5361152" y="5917453"/>
                  <a:pt x="5393725" y="5950026"/>
                </a:cubicBezTo>
                <a:lnTo>
                  <a:pt x="5417394" y="5965984"/>
                </a:lnTo>
                <a:lnTo>
                  <a:pt x="5377171" y="6116008"/>
                </a:lnTo>
                <a:lnTo>
                  <a:pt x="5359203" y="6117819"/>
                </a:lnTo>
                <a:cubicBezTo>
                  <a:pt x="5277180" y="6134604"/>
                  <a:pt x="5215479" y="6207178"/>
                  <a:pt x="5215479" y="6294162"/>
                </a:cubicBezTo>
                <a:cubicBezTo>
                  <a:pt x="5215479" y="6343868"/>
                  <a:pt x="5235627" y="6388868"/>
                  <a:pt x="5268200" y="6421441"/>
                </a:cubicBezTo>
                <a:lnTo>
                  <a:pt x="5291135" y="6436904"/>
                </a:lnTo>
                <a:lnTo>
                  <a:pt x="5178234" y="6857999"/>
                </a:lnTo>
                <a:lnTo>
                  <a:pt x="0" y="6857999"/>
                </a:lnTo>
                <a:lnTo>
                  <a:pt x="0" y="3452256"/>
                </a:lnTo>
                <a:close/>
              </a:path>
            </a:pathLst>
          </a:custGeom>
        </p:spPr>
        <p:txBody>
          <a:bodyPr wrap="square">
            <a:noAutofit/>
          </a:bodyPr>
          <a:lstStyle/>
          <a:p>
            <a:r>
              <a:rPr lang="de-DE"/>
              <a:t>Bild durch Klicken auf Symbol hinzufügen</a:t>
            </a:r>
            <a:endParaRPr lang="x-none"/>
          </a:p>
        </p:txBody>
      </p:sp>
      <p:sp>
        <p:nvSpPr>
          <p:cNvPr id="3" name="Title 1">
            <a:extLst>
              <a:ext uri="{FF2B5EF4-FFF2-40B4-BE49-F238E27FC236}">
                <a16:creationId xmlns:a16="http://schemas.microsoft.com/office/drawing/2014/main" id="{7F88365C-40E5-6641-0830-CBAA2D8956D2}"/>
              </a:ext>
            </a:extLst>
          </p:cNvPr>
          <p:cNvSpPr>
            <a:spLocks noGrp="1"/>
          </p:cNvSpPr>
          <p:nvPr>
            <p:ph type="title" hasCustomPrompt="1"/>
          </p:nvPr>
        </p:nvSpPr>
        <p:spPr>
          <a:xfrm>
            <a:off x="7361584" y="642950"/>
            <a:ext cx="4525616"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Bericht</a:t>
            </a:r>
            <a:endParaRPr lang="de-DE" dirty="0"/>
          </a:p>
        </p:txBody>
      </p:sp>
      <p:sp>
        <p:nvSpPr>
          <p:cNvPr id="4" name="Text Placeholder 3">
            <a:extLst>
              <a:ext uri="{FF2B5EF4-FFF2-40B4-BE49-F238E27FC236}">
                <a16:creationId xmlns:a16="http://schemas.microsoft.com/office/drawing/2014/main" id="{45F8C163-8670-E90B-D7D0-73F482B48729}"/>
              </a:ext>
            </a:extLst>
          </p:cNvPr>
          <p:cNvSpPr>
            <a:spLocks noGrp="1"/>
          </p:cNvSpPr>
          <p:nvPr>
            <p:ph type="body" sz="quarter" idx="13" hasCustomPrompt="1"/>
          </p:nvPr>
        </p:nvSpPr>
        <p:spPr>
          <a:xfrm>
            <a:off x="7362048"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25722220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IVZ_13_Kapitel">
    <p:bg>
      <p:bgPr>
        <a:solidFill>
          <a:schemeClr val="bg1"/>
        </a:solidFill>
        <a:effectLst/>
      </p:bgPr>
    </p:bg>
    <p:spTree>
      <p:nvGrpSpPr>
        <p:cNvPr id="1" name=""/>
        <p:cNvGrpSpPr/>
        <p:nvPr/>
      </p:nvGrpSpPr>
      <p:grpSpPr>
        <a:xfrm>
          <a:off x="0" y="0"/>
          <a:ext cx="0" cy="0"/>
          <a:chOff x="0" y="0"/>
          <a:chExt cx="0" cy="0"/>
        </a:xfrm>
      </p:grpSpPr>
      <p:sp>
        <p:nvSpPr>
          <p:cNvPr id="10" name="Slide Number Placeholder 3">
            <a:extLst>
              <a:ext uri="{FF2B5EF4-FFF2-40B4-BE49-F238E27FC236}">
                <a16:creationId xmlns:a16="http://schemas.microsoft.com/office/drawing/2014/main" id="{82F64DB9-B56E-2941-8277-8AED61C61249}"/>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7" name="Text Placeholder 2">
            <a:extLst>
              <a:ext uri="{FF2B5EF4-FFF2-40B4-BE49-F238E27FC236}">
                <a16:creationId xmlns:a16="http://schemas.microsoft.com/office/drawing/2014/main" id="{DA0EF649-F051-43A6-8EB9-85681471AEB8}"/>
              </a:ext>
            </a:extLst>
          </p:cNvPr>
          <p:cNvSpPr>
            <a:spLocks noGrp="1"/>
          </p:cNvSpPr>
          <p:nvPr>
            <p:ph type="body" sz="quarter" idx="14"/>
          </p:nvPr>
        </p:nvSpPr>
        <p:spPr>
          <a:xfrm>
            <a:off x="6752043" y="2297259"/>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8" name="Text Placeholder 2">
            <a:extLst>
              <a:ext uri="{FF2B5EF4-FFF2-40B4-BE49-F238E27FC236}">
                <a16:creationId xmlns:a16="http://schemas.microsoft.com/office/drawing/2014/main" id="{ACBB52A9-1A43-4F32-959C-9247BF4AA28E}"/>
              </a:ext>
            </a:extLst>
          </p:cNvPr>
          <p:cNvSpPr>
            <a:spLocks noGrp="1"/>
          </p:cNvSpPr>
          <p:nvPr>
            <p:ph type="body" sz="quarter" idx="15"/>
          </p:nvPr>
        </p:nvSpPr>
        <p:spPr>
          <a:xfrm>
            <a:off x="6639378" y="2729390"/>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1" name="Text Placeholder 2">
            <a:extLst>
              <a:ext uri="{FF2B5EF4-FFF2-40B4-BE49-F238E27FC236}">
                <a16:creationId xmlns:a16="http://schemas.microsoft.com/office/drawing/2014/main" id="{60795A7F-9122-4C44-898B-0BA8537FB202}"/>
              </a:ext>
            </a:extLst>
          </p:cNvPr>
          <p:cNvSpPr>
            <a:spLocks noGrp="1"/>
          </p:cNvSpPr>
          <p:nvPr>
            <p:ph type="body" sz="quarter" idx="16"/>
          </p:nvPr>
        </p:nvSpPr>
        <p:spPr>
          <a:xfrm>
            <a:off x="6526713" y="3161521"/>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2" name="Text Placeholder 2">
            <a:extLst>
              <a:ext uri="{FF2B5EF4-FFF2-40B4-BE49-F238E27FC236}">
                <a16:creationId xmlns:a16="http://schemas.microsoft.com/office/drawing/2014/main" id="{EAD6D003-DAD8-48C6-9C57-BAA95F540224}"/>
              </a:ext>
            </a:extLst>
          </p:cNvPr>
          <p:cNvSpPr>
            <a:spLocks noGrp="1"/>
          </p:cNvSpPr>
          <p:nvPr>
            <p:ph type="body" sz="quarter" idx="17"/>
          </p:nvPr>
        </p:nvSpPr>
        <p:spPr>
          <a:xfrm>
            <a:off x="6414048" y="3593652"/>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3" name="Text Placeholder 2">
            <a:extLst>
              <a:ext uri="{FF2B5EF4-FFF2-40B4-BE49-F238E27FC236}">
                <a16:creationId xmlns:a16="http://schemas.microsoft.com/office/drawing/2014/main" id="{7D6A6399-3AB5-4B2E-A77B-4A367AD054B3}"/>
              </a:ext>
            </a:extLst>
          </p:cNvPr>
          <p:cNvSpPr>
            <a:spLocks noGrp="1"/>
          </p:cNvSpPr>
          <p:nvPr>
            <p:ph type="body" sz="quarter" idx="18"/>
          </p:nvPr>
        </p:nvSpPr>
        <p:spPr>
          <a:xfrm>
            <a:off x="6301383" y="4025783"/>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4" name="Text Placeholder 2">
            <a:extLst>
              <a:ext uri="{FF2B5EF4-FFF2-40B4-BE49-F238E27FC236}">
                <a16:creationId xmlns:a16="http://schemas.microsoft.com/office/drawing/2014/main" id="{8ACE3A89-8CAD-4D70-8DA0-6CD7E142C1AC}"/>
              </a:ext>
            </a:extLst>
          </p:cNvPr>
          <p:cNvSpPr>
            <a:spLocks noGrp="1"/>
          </p:cNvSpPr>
          <p:nvPr>
            <p:ph type="body" sz="quarter" idx="24"/>
          </p:nvPr>
        </p:nvSpPr>
        <p:spPr>
          <a:xfrm>
            <a:off x="5850723" y="5754307"/>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5" name="Text Placeholder 2">
            <a:extLst>
              <a:ext uri="{FF2B5EF4-FFF2-40B4-BE49-F238E27FC236}">
                <a16:creationId xmlns:a16="http://schemas.microsoft.com/office/drawing/2014/main" id="{2FCB0BC9-451D-4CB5-97CE-E54E512DD52A}"/>
              </a:ext>
            </a:extLst>
          </p:cNvPr>
          <p:cNvSpPr>
            <a:spLocks noGrp="1"/>
          </p:cNvSpPr>
          <p:nvPr>
            <p:ph type="body" sz="quarter" idx="25"/>
          </p:nvPr>
        </p:nvSpPr>
        <p:spPr>
          <a:xfrm>
            <a:off x="6076053" y="4890045"/>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6" name="Text Placeholder 2">
            <a:extLst>
              <a:ext uri="{FF2B5EF4-FFF2-40B4-BE49-F238E27FC236}">
                <a16:creationId xmlns:a16="http://schemas.microsoft.com/office/drawing/2014/main" id="{A3DBA3A3-CA1B-4138-8E53-D06E1055AD02}"/>
              </a:ext>
            </a:extLst>
          </p:cNvPr>
          <p:cNvSpPr>
            <a:spLocks noGrp="1"/>
          </p:cNvSpPr>
          <p:nvPr>
            <p:ph type="body" sz="quarter" idx="26"/>
          </p:nvPr>
        </p:nvSpPr>
        <p:spPr>
          <a:xfrm>
            <a:off x="5963388" y="532217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7" name="Text Placeholder 2">
            <a:extLst>
              <a:ext uri="{FF2B5EF4-FFF2-40B4-BE49-F238E27FC236}">
                <a16:creationId xmlns:a16="http://schemas.microsoft.com/office/drawing/2014/main" id="{EDB1F10E-B812-4A34-9C0F-A485463046A5}"/>
              </a:ext>
            </a:extLst>
          </p:cNvPr>
          <p:cNvSpPr>
            <a:spLocks noGrp="1"/>
          </p:cNvSpPr>
          <p:nvPr>
            <p:ph type="body" sz="quarter" idx="27"/>
          </p:nvPr>
        </p:nvSpPr>
        <p:spPr>
          <a:xfrm>
            <a:off x="5738058" y="6186441"/>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9" name="Oval 70">
            <a:extLst>
              <a:ext uri="{FF2B5EF4-FFF2-40B4-BE49-F238E27FC236}">
                <a16:creationId xmlns:a16="http://schemas.microsoft.com/office/drawing/2014/main" id="{40B5A312-D35E-4333-9A1A-D06912EBFE05}"/>
              </a:ext>
            </a:extLst>
          </p:cNvPr>
          <p:cNvSpPr>
            <a:spLocks noChangeAspect="1"/>
          </p:cNvSpPr>
          <p:nvPr userDrawn="1"/>
        </p:nvSpPr>
        <p:spPr>
          <a:xfrm>
            <a:off x="6592375" y="92858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dirty="0">
                <a:solidFill>
                  <a:schemeClr val="tx1">
                    <a:lumMod val="50000"/>
                  </a:schemeClr>
                </a:solidFill>
                <a:latin typeface="Arial" panose="020B0604020202020204" pitchFamily="34" charset="0"/>
                <a:cs typeface="Arial" panose="020B0604020202020204" pitchFamily="34" charset="0"/>
              </a:rPr>
              <a:t>1</a:t>
            </a:r>
          </a:p>
        </p:txBody>
      </p:sp>
      <p:sp>
        <p:nvSpPr>
          <p:cNvPr id="20" name="Oval 71">
            <a:extLst>
              <a:ext uri="{FF2B5EF4-FFF2-40B4-BE49-F238E27FC236}">
                <a16:creationId xmlns:a16="http://schemas.microsoft.com/office/drawing/2014/main" id="{62B45719-3C96-4A8B-96F1-3EE553F2C9DB}"/>
              </a:ext>
            </a:extLst>
          </p:cNvPr>
          <p:cNvSpPr>
            <a:spLocks noChangeAspect="1"/>
          </p:cNvSpPr>
          <p:nvPr userDrawn="1"/>
        </p:nvSpPr>
        <p:spPr>
          <a:xfrm>
            <a:off x="6477313" y="1360719"/>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2</a:t>
            </a:r>
          </a:p>
        </p:txBody>
      </p:sp>
      <p:sp>
        <p:nvSpPr>
          <p:cNvPr id="21" name="Oval 13">
            <a:extLst>
              <a:ext uri="{FF2B5EF4-FFF2-40B4-BE49-F238E27FC236}">
                <a16:creationId xmlns:a16="http://schemas.microsoft.com/office/drawing/2014/main" id="{5429BF70-C6F1-4DD0-A49F-62B9F3268794}"/>
              </a:ext>
            </a:extLst>
          </p:cNvPr>
          <p:cNvSpPr>
            <a:spLocks noChangeAspect="1"/>
          </p:cNvSpPr>
          <p:nvPr userDrawn="1"/>
        </p:nvSpPr>
        <p:spPr>
          <a:xfrm>
            <a:off x="6362248" y="1792850"/>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3</a:t>
            </a:r>
          </a:p>
        </p:txBody>
      </p:sp>
      <p:sp>
        <p:nvSpPr>
          <p:cNvPr id="22" name="Oval 16">
            <a:extLst>
              <a:ext uri="{FF2B5EF4-FFF2-40B4-BE49-F238E27FC236}">
                <a16:creationId xmlns:a16="http://schemas.microsoft.com/office/drawing/2014/main" id="{B7CD9936-52F6-4AAC-97EE-28620215C01D}"/>
              </a:ext>
            </a:extLst>
          </p:cNvPr>
          <p:cNvSpPr>
            <a:spLocks noChangeAspect="1"/>
          </p:cNvSpPr>
          <p:nvPr userDrawn="1"/>
        </p:nvSpPr>
        <p:spPr>
          <a:xfrm>
            <a:off x="6247183" y="2224981"/>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4</a:t>
            </a:r>
          </a:p>
        </p:txBody>
      </p:sp>
      <p:sp>
        <p:nvSpPr>
          <p:cNvPr id="23" name="Oval 19">
            <a:extLst>
              <a:ext uri="{FF2B5EF4-FFF2-40B4-BE49-F238E27FC236}">
                <a16:creationId xmlns:a16="http://schemas.microsoft.com/office/drawing/2014/main" id="{62500DA2-DC54-4406-80C5-E3AE004AE5C6}"/>
              </a:ext>
            </a:extLst>
          </p:cNvPr>
          <p:cNvSpPr>
            <a:spLocks noChangeAspect="1"/>
          </p:cNvSpPr>
          <p:nvPr userDrawn="1"/>
        </p:nvSpPr>
        <p:spPr>
          <a:xfrm>
            <a:off x="6132118" y="2657112"/>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5</a:t>
            </a:r>
          </a:p>
        </p:txBody>
      </p:sp>
      <p:sp>
        <p:nvSpPr>
          <p:cNvPr id="24" name="Oval 19">
            <a:extLst>
              <a:ext uri="{FF2B5EF4-FFF2-40B4-BE49-F238E27FC236}">
                <a16:creationId xmlns:a16="http://schemas.microsoft.com/office/drawing/2014/main" id="{4AB6D32E-36D0-4EC1-A743-CEB1B61830F2}"/>
              </a:ext>
            </a:extLst>
          </p:cNvPr>
          <p:cNvSpPr>
            <a:spLocks noChangeAspect="1"/>
          </p:cNvSpPr>
          <p:nvPr userDrawn="1"/>
        </p:nvSpPr>
        <p:spPr>
          <a:xfrm>
            <a:off x="5786923" y="3953505"/>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8</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25" name="Oval 19">
            <a:extLst>
              <a:ext uri="{FF2B5EF4-FFF2-40B4-BE49-F238E27FC236}">
                <a16:creationId xmlns:a16="http://schemas.microsoft.com/office/drawing/2014/main" id="{F1AB4992-4B6B-4A6F-A3CE-2DD47E23A5F7}"/>
              </a:ext>
            </a:extLst>
          </p:cNvPr>
          <p:cNvSpPr>
            <a:spLocks noChangeAspect="1"/>
          </p:cNvSpPr>
          <p:nvPr userDrawn="1"/>
        </p:nvSpPr>
        <p:spPr>
          <a:xfrm>
            <a:off x="6017053" y="3089243"/>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6</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26" name="Oval 19">
            <a:extLst>
              <a:ext uri="{FF2B5EF4-FFF2-40B4-BE49-F238E27FC236}">
                <a16:creationId xmlns:a16="http://schemas.microsoft.com/office/drawing/2014/main" id="{52DB280A-23A5-4263-BC7D-9345C892C67B}"/>
              </a:ext>
            </a:extLst>
          </p:cNvPr>
          <p:cNvSpPr>
            <a:spLocks noChangeAspect="1"/>
          </p:cNvSpPr>
          <p:nvPr userDrawn="1"/>
        </p:nvSpPr>
        <p:spPr>
          <a:xfrm>
            <a:off x="5901988" y="3521374"/>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7</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27" name="Oval 19">
            <a:extLst>
              <a:ext uri="{FF2B5EF4-FFF2-40B4-BE49-F238E27FC236}">
                <a16:creationId xmlns:a16="http://schemas.microsoft.com/office/drawing/2014/main" id="{66416430-ECCB-4819-A4FF-3DAF31BE1EE2}"/>
              </a:ext>
            </a:extLst>
          </p:cNvPr>
          <p:cNvSpPr>
            <a:spLocks noChangeAspect="1"/>
          </p:cNvSpPr>
          <p:nvPr userDrawn="1"/>
        </p:nvSpPr>
        <p:spPr>
          <a:xfrm>
            <a:off x="5556793" y="4817767"/>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spc="-150" baseline="0" dirty="0">
                <a:solidFill>
                  <a:schemeClr val="tx1">
                    <a:lumMod val="50000"/>
                  </a:schemeClr>
                </a:solidFill>
                <a:latin typeface="Arial" panose="020B0604020202020204" pitchFamily="34" charset="0"/>
                <a:cs typeface="Arial" panose="020B0604020202020204" pitchFamily="34" charset="0"/>
              </a:rPr>
              <a:t>10</a:t>
            </a:r>
            <a:endParaRPr lang="x-none" sz="1600" b="1" spc="-150" baseline="0" dirty="0">
              <a:solidFill>
                <a:schemeClr val="tx1">
                  <a:lumMod val="50000"/>
                </a:schemeClr>
              </a:solidFill>
              <a:latin typeface="Arial" panose="020B0604020202020204" pitchFamily="34" charset="0"/>
              <a:cs typeface="Arial" panose="020B0604020202020204" pitchFamily="34" charset="0"/>
            </a:endParaRPr>
          </a:p>
        </p:txBody>
      </p:sp>
      <p:sp>
        <p:nvSpPr>
          <p:cNvPr id="28" name="Oval 19">
            <a:extLst>
              <a:ext uri="{FF2B5EF4-FFF2-40B4-BE49-F238E27FC236}">
                <a16:creationId xmlns:a16="http://schemas.microsoft.com/office/drawing/2014/main" id="{61651642-16E4-4DDC-9D27-DA32A3F6D5AB}"/>
              </a:ext>
            </a:extLst>
          </p:cNvPr>
          <p:cNvSpPr>
            <a:spLocks noChangeAspect="1"/>
          </p:cNvSpPr>
          <p:nvPr userDrawn="1"/>
        </p:nvSpPr>
        <p:spPr>
          <a:xfrm>
            <a:off x="5671858" y="4385636"/>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9</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30" name="Text Placeholder 2">
            <a:extLst>
              <a:ext uri="{FF2B5EF4-FFF2-40B4-BE49-F238E27FC236}">
                <a16:creationId xmlns:a16="http://schemas.microsoft.com/office/drawing/2014/main" id="{1CEF41E1-0E7D-47F9-A8FF-D47B5B4F6861}"/>
              </a:ext>
            </a:extLst>
          </p:cNvPr>
          <p:cNvSpPr>
            <a:spLocks noGrp="1"/>
          </p:cNvSpPr>
          <p:nvPr>
            <p:ph type="body" sz="quarter" idx="29" hasCustomPrompt="1"/>
          </p:nvPr>
        </p:nvSpPr>
        <p:spPr>
          <a:xfrm>
            <a:off x="10095353" y="2297259"/>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1" name="Text Placeholder 2">
            <a:extLst>
              <a:ext uri="{FF2B5EF4-FFF2-40B4-BE49-F238E27FC236}">
                <a16:creationId xmlns:a16="http://schemas.microsoft.com/office/drawing/2014/main" id="{7DFC7892-9F85-4B21-8ED5-B3D3DF225F90}"/>
              </a:ext>
            </a:extLst>
          </p:cNvPr>
          <p:cNvSpPr>
            <a:spLocks noGrp="1"/>
          </p:cNvSpPr>
          <p:nvPr>
            <p:ph type="body" sz="quarter" idx="30" hasCustomPrompt="1"/>
          </p:nvPr>
        </p:nvSpPr>
        <p:spPr>
          <a:xfrm>
            <a:off x="9982587" y="2729390"/>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2" name="Text Placeholder 2">
            <a:extLst>
              <a:ext uri="{FF2B5EF4-FFF2-40B4-BE49-F238E27FC236}">
                <a16:creationId xmlns:a16="http://schemas.microsoft.com/office/drawing/2014/main" id="{1A5EAECB-FE63-4351-9BF7-A5689AB54299}"/>
              </a:ext>
            </a:extLst>
          </p:cNvPr>
          <p:cNvSpPr>
            <a:spLocks noGrp="1"/>
          </p:cNvSpPr>
          <p:nvPr>
            <p:ph type="body" sz="quarter" idx="31" hasCustomPrompt="1"/>
          </p:nvPr>
        </p:nvSpPr>
        <p:spPr>
          <a:xfrm>
            <a:off x="9869821" y="3161521"/>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3" name="Text Placeholder 2">
            <a:extLst>
              <a:ext uri="{FF2B5EF4-FFF2-40B4-BE49-F238E27FC236}">
                <a16:creationId xmlns:a16="http://schemas.microsoft.com/office/drawing/2014/main" id="{DF2892F6-2C10-4C31-A7CC-0EA787ECEB04}"/>
              </a:ext>
            </a:extLst>
          </p:cNvPr>
          <p:cNvSpPr>
            <a:spLocks noGrp="1"/>
          </p:cNvSpPr>
          <p:nvPr>
            <p:ph type="body" sz="quarter" idx="32" hasCustomPrompt="1"/>
          </p:nvPr>
        </p:nvSpPr>
        <p:spPr>
          <a:xfrm>
            <a:off x="9757055" y="3593652"/>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4" name="Text Placeholder 2">
            <a:extLst>
              <a:ext uri="{FF2B5EF4-FFF2-40B4-BE49-F238E27FC236}">
                <a16:creationId xmlns:a16="http://schemas.microsoft.com/office/drawing/2014/main" id="{2EA89152-FEDF-40B5-87A0-752E2012D470}"/>
              </a:ext>
            </a:extLst>
          </p:cNvPr>
          <p:cNvSpPr>
            <a:spLocks noGrp="1"/>
          </p:cNvSpPr>
          <p:nvPr>
            <p:ph type="body" sz="quarter" idx="33" hasCustomPrompt="1"/>
          </p:nvPr>
        </p:nvSpPr>
        <p:spPr>
          <a:xfrm>
            <a:off x="9644289" y="4025783"/>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5" name="Text Placeholder 2">
            <a:extLst>
              <a:ext uri="{FF2B5EF4-FFF2-40B4-BE49-F238E27FC236}">
                <a16:creationId xmlns:a16="http://schemas.microsoft.com/office/drawing/2014/main" id="{08BCE334-1A2F-463C-A912-555EC893426B}"/>
              </a:ext>
            </a:extLst>
          </p:cNvPr>
          <p:cNvSpPr>
            <a:spLocks noGrp="1"/>
          </p:cNvSpPr>
          <p:nvPr>
            <p:ph type="body" sz="quarter" idx="34" hasCustomPrompt="1"/>
          </p:nvPr>
        </p:nvSpPr>
        <p:spPr>
          <a:xfrm>
            <a:off x="9193225" y="5754307"/>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6" name="Text Placeholder 2">
            <a:extLst>
              <a:ext uri="{FF2B5EF4-FFF2-40B4-BE49-F238E27FC236}">
                <a16:creationId xmlns:a16="http://schemas.microsoft.com/office/drawing/2014/main" id="{80357ADD-AADE-4912-8F06-39E3ED26AB35}"/>
              </a:ext>
            </a:extLst>
          </p:cNvPr>
          <p:cNvSpPr>
            <a:spLocks noGrp="1"/>
          </p:cNvSpPr>
          <p:nvPr>
            <p:ph type="body" sz="quarter" idx="35" hasCustomPrompt="1"/>
          </p:nvPr>
        </p:nvSpPr>
        <p:spPr>
          <a:xfrm>
            <a:off x="9418757" y="4890045"/>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7" name="Text Placeholder 2">
            <a:extLst>
              <a:ext uri="{FF2B5EF4-FFF2-40B4-BE49-F238E27FC236}">
                <a16:creationId xmlns:a16="http://schemas.microsoft.com/office/drawing/2014/main" id="{FA1CB3C5-CA7F-4479-888D-650022ECA215}"/>
              </a:ext>
            </a:extLst>
          </p:cNvPr>
          <p:cNvSpPr>
            <a:spLocks noGrp="1"/>
          </p:cNvSpPr>
          <p:nvPr>
            <p:ph type="body" sz="quarter" idx="36" hasCustomPrompt="1"/>
          </p:nvPr>
        </p:nvSpPr>
        <p:spPr>
          <a:xfrm>
            <a:off x="9305991" y="532217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8" name="Text Placeholder 2">
            <a:extLst>
              <a:ext uri="{FF2B5EF4-FFF2-40B4-BE49-F238E27FC236}">
                <a16:creationId xmlns:a16="http://schemas.microsoft.com/office/drawing/2014/main" id="{05C8E654-ACE8-4E79-B947-A30ED161703F}"/>
              </a:ext>
            </a:extLst>
          </p:cNvPr>
          <p:cNvSpPr>
            <a:spLocks noGrp="1"/>
          </p:cNvSpPr>
          <p:nvPr>
            <p:ph type="body" sz="quarter" idx="37" hasCustomPrompt="1"/>
          </p:nvPr>
        </p:nvSpPr>
        <p:spPr>
          <a:xfrm>
            <a:off x="9080459" y="6186441"/>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41" name="Oval 19">
            <a:extLst>
              <a:ext uri="{FF2B5EF4-FFF2-40B4-BE49-F238E27FC236}">
                <a16:creationId xmlns:a16="http://schemas.microsoft.com/office/drawing/2014/main" id="{3E1FF108-B304-4A39-8BA1-991DAFC076CD}"/>
              </a:ext>
            </a:extLst>
          </p:cNvPr>
          <p:cNvSpPr>
            <a:spLocks noChangeAspect="1"/>
          </p:cNvSpPr>
          <p:nvPr userDrawn="1"/>
        </p:nvSpPr>
        <p:spPr>
          <a:xfrm>
            <a:off x="5441728" y="524989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11</a:t>
            </a:r>
            <a:endParaRPr lang="x-none" sz="1600" b="1" dirty="0">
              <a:solidFill>
                <a:schemeClr val="tx1">
                  <a:lumMod val="50000"/>
                </a:schemeClr>
              </a:solidFill>
              <a:latin typeface="Arial" panose="020B0604020202020204" pitchFamily="34" charset="0"/>
              <a:cs typeface="Arial" panose="020B0604020202020204" pitchFamily="34" charset="0"/>
            </a:endParaRPr>
          </a:p>
        </p:txBody>
      </p:sp>
      <p:sp>
        <p:nvSpPr>
          <p:cNvPr id="42" name="Oval 19">
            <a:extLst>
              <a:ext uri="{FF2B5EF4-FFF2-40B4-BE49-F238E27FC236}">
                <a16:creationId xmlns:a16="http://schemas.microsoft.com/office/drawing/2014/main" id="{2DFF95FB-B514-448E-B0A5-01B04C69D610}"/>
              </a:ext>
            </a:extLst>
          </p:cNvPr>
          <p:cNvSpPr>
            <a:spLocks noChangeAspect="1"/>
          </p:cNvSpPr>
          <p:nvPr userDrawn="1"/>
        </p:nvSpPr>
        <p:spPr>
          <a:xfrm>
            <a:off x="5326663" y="5682029"/>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12</a:t>
            </a:r>
            <a:endParaRPr lang="x-none" sz="1600" b="1" dirty="0">
              <a:solidFill>
                <a:schemeClr val="tx1">
                  <a:lumMod val="50000"/>
                </a:schemeClr>
              </a:solidFill>
              <a:latin typeface="Arial" panose="020B0604020202020204" pitchFamily="34" charset="0"/>
              <a:cs typeface="Arial" panose="020B0604020202020204" pitchFamily="34" charset="0"/>
            </a:endParaRPr>
          </a:p>
        </p:txBody>
      </p:sp>
      <p:sp>
        <p:nvSpPr>
          <p:cNvPr id="43" name="Oval 19">
            <a:extLst>
              <a:ext uri="{FF2B5EF4-FFF2-40B4-BE49-F238E27FC236}">
                <a16:creationId xmlns:a16="http://schemas.microsoft.com/office/drawing/2014/main" id="{8257FC03-96D4-42DB-A0A2-5DAB2A70E022}"/>
              </a:ext>
            </a:extLst>
          </p:cNvPr>
          <p:cNvSpPr>
            <a:spLocks noChangeAspect="1"/>
          </p:cNvSpPr>
          <p:nvPr userDrawn="1"/>
        </p:nvSpPr>
        <p:spPr>
          <a:xfrm>
            <a:off x="5211598" y="6114163"/>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spc="-150" baseline="0" dirty="0">
                <a:solidFill>
                  <a:schemeClr val="tx1">
                    <a:lumMod val="50000"/>
                  </a:schemeClr>
                </a:solidFill>
                <a:latin typeface="Arial" panose="020B0604020202020204" pitchFamily="34" charset="0"/>
                <a:cs typeface="Arial" panose="020B0604020202020204" pitchFamily="34" charset="0"/>
              </a:rPr>
              <a:t>13</a:t>
            </a:r>
            <a:endParaRPr lang="x-none" sz="1600" b="1" spc="-150" baseline="0" dirty="0">
              <a:solidFill>
                <a:schemeClr val="tx1">
                  <a:lumMod val="50000"/>
                </a:schemeClr>
              </a:solidFill>
              <a:latin typeface="Arial" panose="020B0604020202020204" pitchFamily="34" charset="0"/>
              <a:cs typeface="Arial" panose="020B0604020202020204" pitchFamily="34" charset="0"/>
            </a:endParaRPr>
          </a:p>
        </p:txBody>
      </p:sp>
      <p:sp>
        <p:nvSpPr>
          <p:cNvPr id="45" name="Text Placeholder 2">
            <a:extLst>
              <a:ext uri="{FF2B5EF4-FFF2-40B4-BE49-F238E27FC236}">
                <a16:creationId xmlns:a16="http://schemas.microsoft.com/office/drawing/2014/main" id="{A9F87758-7DDA-4B42-B537-50B6CFDD65A2}"/>
              </a:ext>
            </a:extLst>
          </p:cNvPr>
          <p:cNvSpPr>
            <a:spLocks noGrp="1"/>
          </p:cNvSpPr>
          <p:nvPr>
            <p:ph type="body" sz="quarter" idx="39"/>
          </p:nvPr>
        </p:nvSpPr>
        <p:spPr>
          <a:xfrm>
            <a:off x="7090044" y="100086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6" name="Text Placeholder 2">
            <a:extLst>
              <a:ext uri="{FF2B5EF4-FFF2-40B4-BE49-F238E27FC236}">
                <a16:creationId xmlns:a16="http://schemas.microsoft.com/office/drawing/2014/main" id="{97FD4CF4-607B-462E-9A77-D7E6988B1815}"/>
              </a:ext>
            </a:extLst>
          </p:cNvPr>
          <p:cNvSpPr>
            <a:spLocks noGrp="1"/>
          </p:cNvSpPr>
          <p:nvPr>
            <p:ph type="body" sz="quarter" idx="40" hasCustomPrompt="1"/>
          </p:nvPr>
        </p:nvSpPr>
        <p:spPr>
          <a:xfrm>
            <a:off x="10433657" y="100086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47" name="Text Placeholder 2">
            <a:extLst>
              <a:ext uri="{FF2B5EF4-FFF2-40B4-BE49-F238E27FC236}">
                <a16:creationId xmlns:a16="http://schemas.microsoft.com/office/drawing/2014/main" id="{59E7D75E-1940-4F6E-A2B5-1B607B1FD8FC}"/>
              </a:ext>
            </a:extLst>
          </p:cNvPr>
          <p:cNvSpPr>
            <a:spLocks noGrp="1"/>
          </p:cNvSpPr>
          <p:nvPr>
            <p:ph type="body" sz="quarter" idx="41"/>
          </p:nvPr>
        </p:nvSpPr>
        <p:spPr>
          <a:xfrm>
            <a:off x="6977373" y="1432997"/>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8" name="Text Placeholder 2">
            <a:extLst>
              <a:ext uri="{FF2B5EF4-FFF2-40B4-BE49-F238E27FC236}">
                <a16:creationId xmlns:a16="http://schemas.microsoft.com/office/drawing/2014/main" id="{C0FC9F94-A57D-40E0-83A8-E84B2032579E}"/>
              </a:ext>
            </a:extLst>
          </p:cNvPr>
          <p:cNvSpPr>
            <a:spLocks noGrp="1"/>
          </p:cNvSpPr>
          <p:nvPr>
            <p:ph type="body" sz="quarter" idx="42" hasCustomPrompt="1"/>
          </p:nvPr>
        </p:nvSpPr>
        <p:spPr>
          <a:xfrm>
            <a:off x="10320885" y="1432997"/>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49" name="Text Placeholder 2">
            <a:extLst>
              <a:ext uri="{FF2B5EF4-FFF2-40B4-BE49-F238E27FC236}">
                <a16:creationId xmlns:a16="http://schemas.microsoft.com/office/drawing/2014/main" id="{73C33C91-D3AC-473E-8831-345F475481C2}"/>
              </a:ext>
            </a:extLst>
          </p:cNvPr>
          <p:cNvSpPr>
            <a:spLocks noGrp="1"/>
          </p:cNvSpPr>
          <p:nvPr>
            <p:ph type="body" sz="quarter" idx="43"/>
          </p:nvPr>
        </p:nvSpPr>
        <p:spPr>
          <a:xfrm>
            <a:off x="6864708" y="1865128"/>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50" name="Text Placeholder 2">
            <a:extLst>
              <a:ext uri="{FF2B5EF4-FFF2-40B4-BE49-F238E27FC236}">
                <a16:creationId xmlns:a16="http://schemas.microsoft.com/office/drawing/2014/main" id="{7076B810-74A4-4B3D-A835-4C3621B6DED7}"/>
              </a:ext>
            </a:extLst>
          </p:cNvPr>
          <p:cNvSpPr>
            <a:spLocks noGrp="1"/>
          </p:cNvSpPr>
          <p:nvPr>
            <p:ph type="body" sz="quarter" idx="44" hasCustomPrompt="1"/>
          </p:nvPr>
        </p:nvSpPr>
        <p:spPr>
          <a:xfrm>
            <a:off x="10208119" y="1865128"/>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51" name="Text Placeholder 2">
            <a:extLst>
              <a:ext uri="{FF2B5EF4-FFF2-40B4-BE49-F238E27FC236}">
                <a16:creationId xmlns:a16="http://schemas.microsoft.com/office/drawing/2014/main" id="{2C7D379D-38E0-4E6C-988C-4FB784704B20}"/>
              </a:ext>
            </a:extLst>
          </p:cNvPr>
          <p:cNvSpPr>
            <a:spLocks noGrp="1"/>
          </p:cNvSpPr>
          <p:nvPr>
            <p:ph type="body" sz="quarter" idx="45"/>
          </p:nvPr>
        </p:nvSpPr>
        <p:spPr>
          <a:xfrm>
            <a:off x="6188718" y="4457914"/>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52" name="Text Placeholder 2">
            <a:extLst>
              <a:ext uri="{FF2B5EF4-FFF2-40B4-BE49-F238E27FC236}">
                <a16:creationId xmlns:a16="http://schemas.microsoft.com/office/drawing/2014/main" id="{36C05AD1-0EF0-4832-B87A-EAD15DCB7E0D}"/>
              </a:ext>
            </a:extLst>
          </p:cNvPr>
          <p:cNvSpPr>
            <a:spLocks noGrp="1"/>
          </p:cNvSpPr>
          <p:nvPr>
            <p:ph type="body" sz="quarter" idx="46" hasCustomPrompt="1"/>
          </p:nvPr>
        </p:nvSpPr>
        <p:spPr>
          <a:xfrm>
            <a:off x="9531523" y="4457914"/>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69" name="Picture Placeholder 68">
            <a:extLst>
              <a:ext uri="{FF2B5EF4-FFF2-40B4-BE49-F238E27FC236}">
                <a16:creationId xmlns:a16="http://schemas.microsoft.com/office/drawing/2014/main" id="{DA048F42-DBBB-4B65-B802-D5A038303A90}"/>
              </a:ext>
            </a:extLst>
          </p:cNvPr>
          <p:cNvSpPr>
            <a:spLocks noGrp="1" noChangeAspect="1"/>
          </p:cNvSpPr>
          <p:nvPr>
            <p:ph type="pic" sz="quarter" idx="12"/>
          </p:nvPr>
        </p:nvSpPr>
        <p:spPr>
          <a:xfrm>
            <a:off x="-3881" y="2"/>
            <a:ext cx="7016940" cy="6857999"/>
          </a:xfrm>
          <a:custGeom>
            <a:avLst/>
            <a:gdLst>
              <a:gd name="connsiteX0" fmla="*/ 936350 w 7016940"/>
              <a:gd name="connsiteY0" fmla="*/ 0 h 6857999"/>
              <a:gd name="connsiteX1" fmla="*/ 7016940 w 7016940"/>
              <a:gd name="connsiteY1" fmla="*/ 0 h 6857999"/>
              <a:gd name="connsiteX2" fmla="*/ 6767745 w 7016940"/>
              <a:gd name="connsiteY2" fmla="*/ 929446 h 6857999"/>
              <a:gd name="connsiteX3" fmla="*/ 6739980 w 7016940"/>
              <a:gd name="connsiteY3" fmla="*/ 932245 h 6857999"/>
              <a:gd name="connsiteX4" fmla="*/ 6596256 w 7016940"/>
              <a:gd name="connsiteY4" fmla="*/ 1108589 h 6857999"/>
              <a:gd name="connsiteX5" fmla="*/ 6648977 w 7016940"/>
              <a:gd name="connsiteY5" fmla="*/ 1235867 h 6857999"/>
              <a:gd name="connsiteX6" fmla="*/ 6679985 w 7016940"/>
              <a:gd name="connsiteY6" fmla="*/ 1256774 h 6857999"/>
              <a:gd name="connsiteX7" fmla="*/ 6651864 w 7016940"/>
              <a:gd name="connsiteY7" fmla="*/ 1361660 h 6857999"/>
              <a:gd name="connsiteX8" fmla="*/ 6624918 w 7016940"/>
              <a:gd name="connsiteY8" fmla="*/ 1364376 h 6857999"/>
              <a:gd name="connsiteX9" fmla="*/ 6481194 w 7016940"/>
              <a:gd name="connsiteY9" fmla="*/ 1540719 h 6857999"/>
              <a:gd name="connsiteX10" fmla="*/ 6533915 w 7016940"/>
              <a:gd name="connsiteY10" fmla="*/ 1667999 h 6857999"/>
              <a:gd name="connsiteX11" fmla="*/ 6564248 w 7016940"/>
              <a:gd name="connsiteY11" fmla="*/ 1688450 h 6857999"/>
              <a:gd name="connsiteX12" fmla="*/ 6535983 w 7016940"/>
              <a:gd name="connsiteY12" fmla="*/ 1793873 h 6857999"/>
              <a:gd name="connsiteX13" fmla="*/ 6509853 w 7016940"/>
              <a:gd name="connsiteY13" fmla="*/ 1796507 h 6857999"/>
              <a:gd name="connsiteX14" fmla="*/ 6366129 w 7016940"/>
              <a:gd name="connsiteY14" fmla="*/ 1972850 h 6857999"/>
              <a:gd name="connsiteX15" fmla="*/ 6418850 w 7016940"/>
              <a:gd name="connsiteY15" fmla="*/ 2100129 h 6857999"/>
              <a:gd name="connsiteX16" fmla="*/ 6448511 w 7016940"/>
              <a:gd name="connsiteY16" fmla="*/ 2120127 h 6857999"/>
              <a:gd name="connsiteX17" fmla="*/ 6420102 w 7016940"/>
              <a:gd name="connsiteY17" fmla="*/ 2226086 h 6857999"/>
              <a:gd name="connsiteX18" fmla="*/ 6394788 w 7016940"/>
              <a:gd name="connsiteY18" fmla="*/ 2228638 h 6857999"/>
              <a:gd name="connsiteX19" fmla="*/ 6251064 w 7016940"/>
              <a:gd name="connsiteY19" fmla="*/ 2404981 h 6857999"/>
              <a:gd name="connsiteX20" fmla="*/ 6303785 w 7016940"/>
              <a:gd name="connsiteY20" fmla="*/ 2532260 h 6857999"/>
              <a:gd name="connsiteX21" fmla="*/ 6332773 w 7016940"/>
              <a:gd name="connsiteY21" fmla="*/ 2551804 h 6857999"/>
              <a:gd name="connsiteX22" fmla="*/ 6304221 w 7016940"/>
              <a:gd name="connsiteY22" fmla="*/ 2658299 h 6857999"/>
              <a:gd name="connsiteX23" fmla="*/ 6279723 w 7016940"/>
              <a:gd name="connsiteY23" fmla="*/ 2660769 h 6857999"/>
              <a:gd name="connsiteX24" fmla="*/ 6135999 w 7016940"/>
              <a:gd name="connsiteY24" fmla="*/ 2837112 h 6857999"/>
              <a:gd name="connsiteX25" fmla="*/ 6188720 w 7016940"/>
              <a:gd name="connsiteY25" fmla="*/ 2964391 h 6857999"/>
              <a:gd name="connsiteX26" fmla="*/ 6217036 w 7016940"/>
              <a:gd name="connsiteY26" fmla="*/ 2983482 h 6857999"/>
              <a:gd name="connsiteX27" fmla="*/ 6188340 w 7016940"/>
              <a:gd name="connsiteY27" fmla="*/ 3090513 h 6857999"/>
              <a:gd name="connsiteX28" fmla="*/ 6164658 w 7016940"/>
              <a:gd name="connsiteY28" fmla="*/ 3092900 h 6857999"/>
              <a:gd name="connsiteX29" fmla="*/ 6020934 w 7016940"/>
              <a:gd name="connsiteY29" fmla="*/ 3269242 h 6857999"/>
              <a:gd name="connsiteX30" fmla="*/ 6073655 w 7016940"/>
              <a:gd name="connsiteY30" fmla="*/ 3396521 h 6857999"/>
              <a:gd name="connsiteX31" fmla="*/ 6101298 w 7016940"/>
              <a:gd name="connsiteY31" fmla="*/ 3415159 h 6857999"/>
              <a:gd name="connsiteX32" fmla="*/ 6072459 w 7016940"/>
              <a:gd name="connsiteY32" fmla="*/ 3522725 h 6857999"/>
              <a:gd name="connsiteX33" fmla="*/ 6049593 w 7016940"/>
              <a:gd name="connsiteY33" fmla="*/ 3525030 h 6857999"/>
              <a:gd name="connsiteX34" fmla="*/ 5905869 w 7016940"/>
              <a:gd name="connsiteY34" fmla="*/ 3701373 h 6857999"/>
              <a:gd name="connsiteX35" fmla="*/ 5958590 w 7016940"/>
              <a:gd name="connsiteY35" fmla="*/ 3828652 h 6857999"/>
              <a:gd name="connsiteX36" fmla="*/ 5985561 w 7016940"/>
              <a:gd name="connsiteY36" fmla="*/ 3846836 h 6857999"/>
              <a:gd name="connsiteX37" fmla="*/ 5956577 w 7016940"/>
              <a:gd name="connsiteY37" fmla="*/ 3954938 h 6857999"/>
              <a:gd name="connsiteX38" fmla="*/ 5934528 w 7016940"/>
              <a:gd name="connsiteY38" fmla="*/ 3957161 h 6857999"/>
              <a:gd name="connsiteX39" fmla="*/ 5790804 w 7016940"/>
              <a:gd name="connsiteY39" fmla="*/ 4133504 h 6857999"/>
              <a:gd name="connsiteX40" fmla="*/ 5843525 w 7016940"/>
              <a:gd name="connsiteY40" fmla="*/ 4260783 h 6857999"/>
              <a:gd name="connsiteX41" fmla="*/ 5869823 w 7016940"/>
              <a:gd name="connsiteY41" fmla="*/ 4278514 h 6857999"/>
              <a:gd name="connsiteX42" fmla="*/ 5840696 w 7016940"/>
              <a:gd name="connsiteY42" fmla="*/ 4387152 h 6857999"/>
              <a:gd name="connsiteX43" fmla="*/ 5819463 w 7016940"/>
              <a:gd name="connsiteY43" fmla="*/ 4389292 h 6857999"/>
              <a:gd name="connsiteX44" fmla="*/ 5675739 w 7016940"/>
              <a:gd name="connsiteY44" fmla="*/ 4565635 h 6857999"/>
              <a:gd name="connsiteX45" fmla="*/ 5728460 w 7016940"/>
              <a:gd name="connsiteY45" fmla="*/ 4692914 h 6857999"/>
              <a:gd name="connsiteX46" fmla="*/ 5754086 w 7016940"/>
              <a:gd name="connsiteY46" fmla="*/ 4710192 h 6857999"/>
              <a:gd name="connsiteX47" fmla="*/ 5724815 w 7016940"/>
              <a:gd name="connsiteY47" fmla="*/ 4819365 h 6857999"/>
              <a:gd name="connsiteX48" fmla="*/ 5704398 w 7016940"/>
              <a:gd name="connsiteY48" fmla="*/ 4821423 h 6857999"/>
              <a:gd name="connsiteX49" fmla="*/ 5560674 w 7016940"/>
              <a:gd name="connsiteY49" fmla="*/ 4997766 h 6857999"/>
              <a:gd name="connsiteX50" fmla="*/ 5613395 w 7016940"/>
              <a:gd name="connsiteY50" fmla="*/ 5125045 h 6857999"/>
              <a:gd name="connsiteX51" fmla="*/ 5638348 w 7016940"/>
              <a:gd name="connsiteY51" fmla="*/ 5141869 h 6857999"/>
              <a:gd name="connsiteX52" fmla="*/ 5608934 w 7016940"/>
              <a:gd name="connsiteY52" fmla="*/ 5251578 h 6857999"/>
              <a:gd name="connsiteX53" fmla="*/ 5589333 w 7016940"/>
              <a:gd name="connsiteY53" fmla="*/ 5253554 h 6857999"/>
              <a:gd name="connsiteX54" fmla="*/ 5445609 w 7016940"/>
              <a:gd name="connsiteY54" fmla="*/ 5429897 h 6857999"/>
              <a:gd name="connsiteX55" fmla="*/ 5498330 w 7016940"/>
              <a:gd name="connsiteY55" fmla="*/ 5557176 h 6857999"/>
              <a:gd name="connsiteX56" fmla="*/ 5522611 w 7016940"/>
              <a:gd name="connsiteY56" fmla="*/ 5573547 h 6857999"/>
              <a:gd name="connsiteX57" fmla="*/ 5493053 w 7016940"/>
              <a:gd name="connsiteY57" fmla="*/ 5683792 h 6857999"/>
              <a:gd name="connsiteX58" fmla="*/ 5474268 w 7016940"/>
              <a:gd name="connsiteY58" fmla="*/ 5685685 h 6857999"/>
              <a:gd name="connsiteX59" fmla="*/ 5330544 w 7016940"/>
              <a:gd name="connsiteY59" fmla="*/ 5862028 h 6857999"/>
              <a:gd name="connsiteX60" fmla="*/ 5383265 w 7016940"/>
              <a:gd name="connsiteY60" fmla="*/ 5989307 h 6857999"/>
              <a:gd name="connsiteX61" fmla="*/ 5406873 w 7016940"/>
              <a:gd name="connsiteY61" fmla="*/ 6005224 h 6857999"/>
              <a:gd name="connsiteX62" fmla="*/ 5377171 w 7016940"/>
              <a:gd name="connsiteY62" fmla="*/ 6116008 h 6857999"/>
              <a:gd name="connsiteX63" fmla="*/ 5359203 w 7016940"/>
              <a:gd name="connsiteY63" fmla="*/ 6117819 h 6857999"/>
              <a:gd name="connsiteX64" fmla="*/ 5215479 w 7016940"/>
              <a:gd name="connsiteY64" fmla="*/ 6294162 h 6857999"/>
              <a:gd name="connsiteX65" fmla="*/ 5268200 w 7016940"/>
              <a:gd name="connsiteY65" fmla="*/ 6421441 h 6857999"/>
              <a:gd name="connsiteX66" fmla="*/ 5291135 w 7016940"/>
              <a:gd name="connsiteY66" fmla="*/ 6436904 h 6857999"/>
              <a:gd name="connsiteX67" fmla="*/ 5178234 w 7016940"/>
              <a:gd name="connsiteY67" fmla="*/ 6857999 h 6857999"/>
              <a:gd name="connsiteX68" fmla="*/ 0 w 7016940"/>
              <a:gd name="connsiteY68" fmla="*/ 6857999 h 6857999"/>
              <a:gd name="connsiteX69" fmla="*/ 0 w 7016940"/>
              <a:gd name="connsiteY69" fmla="*/ 345225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016940" h="6857999">
                <a:moveTo>
                  <a:pt x="936350" y="0"/>
                </a:moveTo>
                <a:lnTo>
                  <a:pt x="7016940" y="0"/>
                </a:lnTo>
                <a:lnTo>
                  <a:pt x="6767745" y="929446"/>
                </a:lnTo>
                <a:lnTo>
                  <a:pt x="6739980" y="932245"/>
                </a:lnTo>
                <a:cubicBezTo>
                  <a:pt x="6657957" y="949030"/>
                  <a:pt x="6596256" y="1021604"/>
                  <a:pt x="6596256" y="1108589"/>
                </a:cubicBezTo>
                <a:cubicBezTo>
                  <a:pt x="6596256" y="1158294"/>
                  <a:pt x="6616404" y="1203294"/>
                  <a:pt x="6648977" y="1235867"/>
                </a:cubicBezTo>
                <a:lnTo>
                  <a:pt x="6679985" y="1256774"/>
                </a:lnTo>
                <a:lnTo>
                  <a:pt x="6651864" y="1361660"/>
                </a:lnTo>
                <a:lnTo>
                  <a:pt x="6624918" y="1364376"/>
                </a:lnTo>
                <a:cubicBezTo>
                  <a:pt x="6542895" y="1381161"/>
                  <a:pt x="6481194" y="1453735"/>
                  <a:pt x="6481194" y="1540719"/>
                </a:cubicBezTo>
                <a:cubicBezTo>
                  <a:pt x="6481194" y="1590425"/>
                  <a:pt x="6501342" y="1635425"/>
                  <a:pt x="6533915" y="1667999"/>
                </a:cubicBezTo>
                <a:lnTo>
                  <a:pt x="6564248" y="1688450"/>
                </a:lnTo>
                <a:lnTo>
                  <a:pt x="6535983" y="1793873"/>
                </a:lnTo>
                <a:lnTo>
                  <a:pt x="6509853" y="1796507"/>
                </a:lnTo>
                <a:cubicBezTo>
                  <a:pt x="6427830" y="1813292"/>
                  <a:pt x="6366129" y="1885866"/>
                  <a:pt x="6366129" y="1972850"/>
                </a:cubicBezTo>
                <a:cubicBezTo>
                  <a:pt x="6366129" y="2022556"/>
                  <a:pt x="6386277" y="2067556"/>
                  <a:pt x="6418850" y="2100129"/>
                </a:cubicBezTo>
                <a:lnTo>
                  <a:pt x="6448511" y="2120127"/>
                </a:lnTo>
                <a:lnTo>
                  <a:pt x="6420102" y="2226086"/>
                </a:lnTo>
                <a:lnTo>
                  <a:pt x="6394788" y="2228638"/>
                </a:lnTo>
                <a:cubicBezTo>
                  <a:pt x="6312765" y="2245423"/>
                  <a:pt x="6251064" y="2317996"/>
                  <a:pt x="6251064" y="2404981"/>
                </a:cubicBezTo>
                <a:cubicBezTo>
                  <a:pt x="6251064" y="2454686"/>
                  <a:pt x="6271211" y="2499686"/>
                  <a:pt x="6303785" y="2532260"/>
                </a:cubicBezTo>
                <a:lnTo>
                  <a:pt x="6332773" y="2551804"/>
                </a:lnTo>
                <a:lnTo>
                  <a:pt x="6304221" y="2658299"/>
                </a:lnTo>
                <a:lnTo>
                  <a:pt x="6279723" y="2660769"/>
                </a:lnTo>
                <a:cubicBezTo>
                  <a:pt x="6197700" y="2677553"/>
                  <a:pt x="6135999" y="2750127"/>
                  <a:pt x="6135999" y="2837112"/>
                </a:cubicBezTo>
                <a:cubicBezTo>
                  <a:pt x="6135999" y="2886818"/>
                  <a:pt x="6156146" y="2931818"/>
                  <a:pt x="6188720" y="2964391"/>
                </a:cubicBezTo>
                <a:lnTo>
                  <a:pt x="6217036" y="2983482"/>
                </a:lnTo>
                <a:lnTo>
                  <a:pt x="6188340" y="3090513"/>
                </a:lnTo>
                <a:lnTo>
                  <a:pt x="6164658" y="3092900"/>
                </a:lnTo>
                <a:cubicBezTo>
                  <a:pt x="6082635" y="3109684"/>
                  <a:pt x="6020934" y="3182258"/>
                  <a:pt x="6020934" y="3269242"/>
                </a:cubicBezTo>
                <a:cubicBezTo>
                  <a:pt x="6020934" y="3318948"/>
                  <a:pt x="6041082" y="3363948"/>
                  <a:pt x="6073655" y="3396521"/>
                </a:cubicBezTo>
                <a:lnTo>
                  <a:pt x="6101298" y="3415159"/>
                </a:lnTo>
                <a:lnTo>
                  <a:pt x="6072459" y="3522725"/>
                </a:lnTo>
                <a:lnTo>
                  <a:pt x="6049593" y="3525030"/>
                </a:lnTo>
                <a:cubicBezTo>
                  <a:pt x="5967570" y="3541814"/>
                  <a:pt x="5905869" y="3614388"/>
                  <a:pt x="5905869" y="3701373"/>
                </a:cubicBezTo>
                <a:cubicBezTo>
                  <a:pt x="5905869" y="3751079"/>
                  <a:pt x="5926017" y="3796079"/>
                  <a:pt x="5958590" y="3828652"/>
                </a:cubicBezTo>
                <a:lnTo>
                  <a:pt x="5985561" y="3846836"/>
                </a:lnTo>
                <a:lnTo>
                  <a:pt x="5956577" y="3954938"/>
                </a:lnTo>
                <a:lnTo>
                  <a:pt x="5934528" y="3957161"/>
                </a:lnTo>
                <a:cubicBezTo>
                  <a:pt x="5852505" y="3973945"/>
                  <a:pt x="5790804" y="4046519"/>
                  <a:pt x="5790804" y="4133504"/>
                </a:cubicBezTo>
                <a:cubicBezTo>
                  <a:pt x="5790804" y="4183210"/>
                  <a:pt x="5810952" y="4228210"/>
                  <a:pt x="5843525" y="4260783"/>
                </a:cubicBezTo>
                <a:lnTo>
                  <a:pt x="5869823" y="4278514"/>
                </a:lnTo>
                <a:lnTo>
                  <a:pt x="5840696" y="4387152"/>
                </a:lnTo>
                <a:lnTo>
                  <a:pt x="5819463" y="4389292"/>
                </a:lnTo>
                <a:cubicBezTo>
                  <a:pt x="5737440" y="4406077"/>
                  <a:pt x="5675739" y="4478651"/>
                  <a:pt x="5675739" y="4565635"/>
                </a:cubicBezTo>
                <a:cubicBezTo>
                  <a:pt x="5675739" y="4615341"/>
                  <a:pt x="5695887" y="4660341"/>
                  <a:pt x="5728460" y="4692914"/>
                </a:cubicBezTo>
                <a:lnTo>
                  <a:pt x="5754086" y="4710192"/>
                </a:lnTo>
                <a:lnTo>
                  <a:pt x="5724815" y="4819365"/>
                </a:lnTo>
                <a:lnTo>
                  <a:pt x="5704398" y="4821423"/>
                </a:lnTo>
                <a:cubicBezTo>
                  <a:pt x="5622375" y="4838208"/>
                  <a:pt x="5560674" y="4910782"/>
                  <a:pt x="5560674" y="4997766"/>
                </a:cubicBezTo>
                <a:cubicBezTo>
                  <a:pt x="5560674" y="5047472"/>
                  <a:pt x="5580822" y="5092472"/>
                  <a:pt x="5613395" y="5125045"/>
                </a:cubicBezTo>
                <a:lnTo>
                  <a:pt x="5638348" y="5141869"/>
                </a:lnTo>
                <a:lnTo>
                  <a:pt x="5608934" y="5251578"/>
                </a:lnTo>
                <a:lnTo>
                  <a:pt x="5589333" y="5253554"/>
                </a:lnTo>
                <a:cubicBezTo>
                  <a:pt x="5507310" y="5270339"/>
                  <a:pt x="5445609" y="5342913"/>
                  <a:pt x="5445609" y="5429897"/>
                </a:cubicBezTo>
                <a:cubicBezTo>
                  <a:pt x="5445609" y="5479603"/>
                  <a:pt x="5465757" y="5524603"/>
                  <a:pt x="5498330" y="5557176"/>
                </a:cubicBezTo>
                <a:lnTo>
                  <a:pt x="5522611" y="5573547"/>
                </a:lnTo>
                <a:lnTo>
                  <a:pt x="5493053" y="5683792"/>
                </a:lnTo>
                <a:lnTo>
                  <a:pt x="5474268" y="5685685"/>
                </a:lnTo>
                <a:cubicBezTo>
                  <a:pt x="5392245" y="5702470"/>
                  <a:pt x="5330544" y="5775044"/>
                  <a:pt x="5330544" y="5862028"/>
                </a:cubicBezTo>
                <a:cubicBezTo>
                  <a:pt x="5330544" y="5911734"/>
                  <a:pt x="5350692" y="5956734"/>
                  <a:pt x="5383265" y="5989307"/>
                </a:cubicBezTo>
                <a:lnTo>
                  <a:pt x="5406873" y="6005224"/>
                </a:lnTo>
                <a:lnTo>
                  <a:pt x="5377171" y="6116008"/>
                </a:lnTo>
                <a:lnTo>
                  <a:pt x="5359203" y="6117819"/>
                </a:lnTo>
                <a:cubicBezTo>
                  <a:pt x="5277180" y="6134604"/>
                  <a:pt x="5215479" y="6207178"/>
                  <a:pt x="5215479" y="6294162"/>
                </a:cubicBezTo>
                <a:cubicBezTo>
                  <a:pt x="5215479" y="6343868"/>
                  <a:pt x="5235627" y="6388868"/>
                  <a:pt x="5268200" y="6421441"/>
                </a:cubicBezTo>
                <a:lnTo>
                  <a:pt x="5291135" y="6436904"/>
                </a:lnTo>
                <a:lnTo>
                  <a:pt x="5178234" y="6857999"/>
                </a:lnTo>
                <a:lnTo>
                  <a:pt x="0" y="6857999"/>
                </a:lnTo>
                <a:lnTo>
                  <a:pt x="0" y="3452256"/>
                </a:lnTo>
                <a:close/>
              </a:path>
            </a:pathLst>
          </a:custGeom>
        </p:spPr>
        <p:txBody>
          <a:bodyPr wrap="square">
            <a:noAutofit/>
          </a:bodyPr>
          <a:lstStyle/>
          <a:p>
            <a:r>
              <a:rPr lang="de-DE"/>
              <a:t>Bild durch Klicken auf Symbol hinzufügen</a:t>
            </a:r>
            <a:endParaRPr lang="x-none"/>
          </a:p>
        </p:txBody>
      </p:sp>
      <p:sp>
        <p:nvSpPr>
          <p:cNvPr id="3" name="Title 1">
            <a:extLst>
              <a:ext uri="{FF2B5EF4-FFF2-40B4-BE49-F238E27FC236}">
                <a16:creationId xmlns:a16="http://schemas.microsoft.com/office/drawing/2014/main" id="{70DFB01B-BCE1-6228-CB2B-F56A0A6DF93B}"/>
              </a:ext>
            </a:extLst>
          </p:cNvPr>
          <p:cNvSpPr>
            <a:spLocks noGrp="1"/>
          </p:cNvSpPr>
          <p:nvPr>
            <p:ph type="title" hasCustomPrompt="1"/>
          </p:nvPr>
        </p:nvSpPr>
        <p:spPr>
          <a:xfrm>
            <a:off x="7361584" y="642950"/>
            <a:ext cx="4525616"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Bericht</a:t>
            </a:r>
            <a:endParaRPr lang="de-DE" dirty="0"/>
          </a:p>
        </p:txBody>
      </p:sp>
      <p:sp>
        <p:nvSpPr>
          <p:cNvPr id="4" name="Text Placeholder 3">
            <a:extLst>
              <a:ext uri="{FF2B5EF4-FFF2-40B4-BE49-F238E27FC236}">
                <a16:creationId xmlns:a16="http://schemas.microsoft.com/office/drawing/2014/main" id="{1F36300D-4688-0269-AD80-D1E6EF02E567}"/>
              </a:ext>
            </a:extLst>
          </p:cNvPr>
          <p:cNvSpPr>
            <a:spLocks noGrp="1"/>
          </p:cNvSpPr>
          <p:nvPr>
            <p:ph type="body" sz="quarter" idx="13" hasCustomPrompt="1"/>
          </p:nvPr>
        </p:nvSpPr>
        <p:spPr>
          <a:xfrm>
            <a:off x="7362048"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15791307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IVZ_14_Kapitel">
    <p:bg>
      <p:bgPr>
        <a:solidFill>
          <a:schemeClr val="bg1"/>
        </a:solidFill>
        <a:effectLst/>
      </p:bgPr>
    </p:bg>
    <p:spTree>
      <p:nvGrpSpPr>
        <p:cNvPr id="1" name=""/>
        <p:cNvGrpSpPr/>
        <p:nvPr/>
      </p:nvGrpSpPr>
      <p:grpSpPr>
        <a:xfrm>
          <a:off x="0" y="0"/>
          <a:ext cx="0" cy="0"/>
          <a:chOff x="0" y="0"/>
          <a:chExt cx="0" cy="0"/>
        </a:xfrm>
      </p:grpSpPr>
      <p:sp>
        <p:nvSpPr>
          <p:cNvPr id="10" name="Slide Number Placeholder 3">
            <a:extLst>
              <a:ext uri="{FF2B5EF4-FFF2-40B4-BE49-F238E27FC236}">
                <a16:creationId xmlns:a16="http://schemas.microsoft.com/office/drawing/2014/main" id="{82F64DB9-B56E-2941-8277-8AED61C61249}"/>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7" name="Text Placeholder 2">
            <a:extLst>
              <a:ext uri="{FF2B5EF4-FFF2-40B4-BE49-F238E27FC236}">
                <a16:creationId xmlns:a16="http://schemas.microsoft.com/office/drawing/2014/main" id="{DA0EF649-F051-43A6-8EB9-85681471AEB8}"/>
              </a:ext>
            </a:extLst>
          </p:cNvPr>
          <p:cNvSpPr>
            <a:spLocks noGrp="1"/>
          </p:cNvSpPr>
          <p:nvPr>
            <p:ph type="body" sz="quarter" idx="14"/>
          </p:nvPr>
        </p:nvSpPr>
        <p:spPr>
          <a:xfrm>
            <a:off x="6778048" y="219753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8" name="Text Placeholder 2">
            <a:extLst>
              <a:ext uri="{FF2B5EF4-FFF2-40B4-BE49-F238E27FC236}">
                <a16:creationId xmlns:a16="http://schemas.microsoft.com/office/drawing/2014/main" id="{ACBB52A9-1A43-4F32-959C-9247BF4AA28E}"/>
              </a:ext>
            </a:extLst>
          </p:cNvPr>
          <p:cNvSpPr>
            <a:spLocks noGrp="1"/>
          </p:cNvSpPr>
          <p:nvPr>
            <p:ph type="body" sz="quarter" idx="15"/>
          </p:nvPr>
        </p:nvSpPr>
        <p:spPr>
          <a:xfrm>
            <a:off x="6674049" y="259642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1" name="Text Placeholder 2">
            <a:extLst>
              <a:ext uri="{FF2B5EF4-FFF2-40B4-BE49-F238E27FC236}">
                <a16:creationId xmlns:a16="http://schemas.microsoft.com/office/drawing/2014/main" id="{60795A7F-9122-4C44-898B-0BA8537FB202}"/>
              </a:ext>
            </a:extLst>
          </p:cNvPr>
          <p:cNvSpPr>
            <a:spLocks noGrp="1"/>
          </p:cNvSpPr>
          <p:nvPr>
            <p:ph type="body" sz="quarter" idx="16"/>
          </p:nvPr>
        </p:nvSpPr>
        <p:spPr>
          <a:xfrm>
            <a:off x="6570050" y="299531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2" name="Text Placeholder 2">
            <a:extLst>
              <a:ext uri="{FF2B5EF4-FFF2-40B4-BE49-F238E27FC236}">
                <a16:creationId xmlns:a16="http://schemas.microsoft.com/office/drawing/2014/main" id="{EAD6D003-DAD8-48C6-9C57-BAA95F540224}"/>
              </a:ext>
            </a:extLst>
          </p:cNvPr>
          <p:cNvSpPr>
            <a:spLocks noGrp="1"/>
          </p:cNvSpPr>
          <p:nvPr>
            <p:ph type="body" sz="quarter" idx="17"/>
          </p:nvPr>
        </p:nvSpPr>
        <p:spPr>
          <a:xfrm>
            <a:off x="6466051" y="339420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3" name="Text Placeholder 2">
            <a:extLst>
              <a:ext uri="{FF2B5EF4-FFF2-40B4-BE49-F238E27FC236}">
                <a16:creationId xmlns:a16="http://schemas.microsoft.com/office/drawing/2014/main" id="{7D6A6399-3AB5-4B2E-A77B-4A367AD054B3}"/>
              </a:ext>
            </a:extLst>
          </p:cNvPr>
          <p:cNvSpPr>
            <a:spLocks noGrp="1"/>
          </p:cNvSpPr>
          <p:nvPr>
            <p:ph type="body" sz="quarter" idx="18"/>
          </p:nvPr>
        </p:nvSpPr>
        <p:spPr>
          <a:xfrm>
            <a:off x="6362052" y="379309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4" name="Text Placeholder 2">
            <a:extLst>
              <a:ext uri="{FF2B5EF4-FFF2-40B4-BE49-F238E27FC236}">
                <a16:creationId xmlns:a16="http://schemas.microsoft.com/office/drawing/2014/main" id="{8ACE3A89-8CAD-4D70-8DA0-6CD7E142C1AC}"/>
              </a:ext>
            </a:extLst>
          </p:cNvPr>
          <p:cNvSpPr>
            <a:spLocks noGrp="1"/>
          </p:cNvSpPr>
          <p:nvPr>
            <p:ph type="body" sz="quarter" idx="24"/>
          </p:nvPr>
        </p:nvSpPr>
        <p:spPr>
          <a:xfrm>
            <a:off x="5946056" y="538865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5" name="Text Placeholder 2">
            <a:extLst>
              <a:ext uri="{FF2B5EF4-FFF2-40B4-BE49-F238E27FC236}">
                <a16:creationId xmlns:a16="http://schemas.microsoft.com/office/drawing/2014/main" id="{2FCB0BC9-451D-4CB5-97CE-E54E512DD52A}"/>
              </a:ext>
            </a:extLst>
          </p:cNvPr>
          <p:cNvSpPr>
            <a:spLocks noGrp="1"/>
          </p:cNvSpPr>
          <p:nvPr>
            <p:ph type="body" sz="quarter" idx="25"/>
          </p:nvPr>
        </p:nvSpPr>
        <p:spPr>
          <a:xfrm>
            <a:off x="6154054" y="459087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6" name="Text Placeholder 2">
            <a:extLst>
              <a:ext uri="{FF2B5EF4-FFF2-40B4-BE49-F238E27FC236}">
                <a16:creationId xmlns:a16="http://schemas.microsoft.com/office/drawing/2014/main" id="{A3DBA3A3-CA1B-4138-8E53-D06E1055AD02}"/>
              </a:ext>
            </a:extLst>
          </p:cNvPr>
          <p:cNvSpPr>
            <a:spLocks noGrp="1"/>
          </p:cNvSpPr>
          <p:nvPr>
            <p:ph type="body" sz="quarter" idx="26"/>
          </p:nvPr>
        </p:nvSpPr>
        <p:spPr>
          <a:xfrm>
            <a:off x="6050055" y="498976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7" name="Text Placeholder 2">
            <a:extLst>
              <a:ext uri="{FF2B5EF4-FFF2-40B4-BE49-F238E27FC236}">
                <a16:creationId xmlns:a16="http://schemas.microsoft.com/office/drawing/2014/main" id="{EDB1F10E-B812-4A34-9C0F-A485463046A5}"/>
              </a:ext>
            </a:extLst>
          </p:cNvPr>
          <p:cNvSpPr>
            <a:spLocks noGrp="1"/>
          </p:cNvSpPr>
          <p:nvPr>
            <p:ph type="body" sz="quarter" idx="27"/>
          </p:nvPr>
        </p:nvSpPr>
        <p:spPr>
          <a:xfrm>
            <a:off x="5738058" y="6186441"/>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9" name="Oval 70">
            <a:extLst>
              <a:ext uri="{FF2B5EF4-FFF2-40B4-BE49-F238E27FC236}">
                <a16:creationId xmlns:a16="http://schemas.microsoft.com/office/drawing/2014/main" id="{40B5A312-D35E-4333-9A1A-D06912EBFE05}"/>
              </a:ext>
            </a:extLst>
          </p:cNvPr>
          <p:cNvSpPr>
            <a:spLocks noChangeAspect="1"/>
          </p:cNvSpPr>
          <p:nvPr userDrawn="1"/>
        </p:nvSpPr>
        <p:spPr>
          <a:xfrm>
            <a:off x="6592375" y="92858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dirty="0">
                <a:solidFill>
                  <a:schemeClr val="tx1">
                    <a:lumMod val="50000"/>
                  </a:schemeClr>
                </a:solidFill>
                <a:latin typeface="Arial" panose="020B0604020202020204" pitchFamily="34" charset="0"/>
                <a:cs typeface="Arial" panose="020B0604020202020204" pitchFamily="34" charset="0"/>
              </a:rPr>
              <a:t>1</a:t>
            </a:r>
          </a:p>
        </p:txBody>
      </p:sp>
      <p:sp>
        <p:nvSpPr>
          <p:cNvPr id="20" name="Oval 71">
            <a:extLst>
              <a:ext uri="{FF2B5EF4-FFF2-40B4-BE49-F238E27FC236}">
                <a16:creationId xmlns:a16="http://schemas.microsoft.com/office/drawing/2014/main" id="{62B45719-3C96-4A8B-96F1-3EE553F2C9DB}"/>
              </a:ext>
            </a:extLst>
          </p:cNvPr>
          <p:cNvSpPr>
            <a:spLocks noChangeAspect="1"/>
          </p:cNvSpPr>
          <p:nvPr userDrawn="1"/>
        </p:nvSpPr>
        <p:spPr>
          <a:xfrm>
            <a:off x="6486166" y="132747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2</a:t>
            </a:r>
          </a:p>
        </p:txBody>
      </p:sp>
      <p:sp>
        <p:nvSpPr>
          <p:cNvPr id="21" name="Oval 13">
            <a:extLst>
              <a:ext uri="{FF2B5EF4-FFF2-40B4-BE49-F238E27FC236}">
                <a16:creationId xmlns:a16="http://schemas.microsoft.com/office/drawing/2014/main" id="{5429BF70-C6F1-4DD0-A49F-62B9F3268794}"/>
              </a:ext>
            </a:extLst>
          </p:cNvPr>
          <p:cNvSpPr>
            <a:spLocks noChangeAspect="1"/>
          </p:cNvSpPr>
          <p:nvPr userDrawn="1"/>
        </p:nvSpPr>
        <p:spPr>
          <a:xfrm>
            <a:off x="6379952" y="172636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3</a:t>
            </a:r>
          </a:p>
        </p:txBody>
      </p:sp>
      <p:sp>
        <p:nvSpPr>
          <p:cNvPr id="22" name="Oval 16">
            <a:extLst>
              <a:ext uri="{FF2B5EF4-FFF2-40B4-BE49-F238E27FC236}">
                <a16:creationId xmlns:a16="http://schemas.microsoft.com/office/drawing/2014/main" id="{B7CD9936-52F6-4AAC-97EE-28620215C01D}"/>
              </a:ext>
            </a:extLst>
          </p:cNvPr>
          <p:cNvSpPr>
            <a:spLocks noChangeAspect="1"/>
          </p:cNvSpPr>
          <p:nvPr userDrawn="1"/>
        </p:nvSpPr>
        <p:spPr>
          <a:xfrm>
            <a:off x="6273738" y="212525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4</a:t>
            </a:r>
          </a:p>
        </p:txBody>
      </p:sp>
      <p:sp>
        <p:nvSpPr>
          <p:cNvPr id="23" name="Oval 19">
            <a:extLst>
              <a:ext uri="{FF2B5EF4-FFF2-40B4-BE49-F238E27FC236}">
                <a16:creationId xmlns:a16="http://schemas.microsoft.com/office/drawing/2014/main" id="{62500DA2-DC54-4406-80C5-E3AE004AE5C6}"/>
              </a:ext>
            </a:extLst>
          </p:cNvPr>
          <p:cNvSpPr>
            <a:spLocks noChangeAspect="1"/>
          </p:cNvSpPr>
          <p:nvPr userDrawn="1"/>
        </p:nvSpPr>
        <p:spPr>
          <a:xfrm>
            <a:off x="6167524" y="252414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5</a:t>
            </a:r>
          </a:p>
        </p:txBody>
      </p:sp>
      <p:sp>
        <p:nvSpPr>
          <p:cNvPr id="24" name="Oval 19">
            <a:extLst>
              <a:ext uri="{FF2B5EF4-FFF2-40B4-BE49-F238E27FC236}">
                <a16:creationId xmlns:a16="http://schemas.microsoft.com/office/drawing/2014/main" id="{4AB6D32E-36D0-4EC1-A743-CEB1B61830F2}"/>
              </a:ext>
            </a:extLst>
          </p:cNvPr>
          <p:cNvSpPr>
            <a:spLocks noChangeAspect="1"/>
          </p:cNvSpPr>
          <p:nvPr userDrawn="1"/>
        </p:nvSpPr>
        <p:spPr>
          <a:xfrm>
            <a:off x="5848882" y="372081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8</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25" name="Oval 19">
            <a:extLst>
              <a:ext uri="{FF2B5EF4-FFF2-40B4-BE49-F238E27FC236}">
                <a16:creationId xmlns:a16="http://schemas.microsoft.com/office/drawing/2014/main" id="{F1AB4992-4B6B-4A6F-A3CE-2DD47E23A5F7}"/>
              </a:ext>
            </a:extLst>
          </p:cNvPr>
          <p:cNvSpPr>
            <a:spLocks noChangeAspect="1"/>
          </p:cNvSpPr>
          <p:nvPr userDrawn="1"/>
        </p:nvSpPr>
        <p:spPr>
          <a:xfrm>
            <a:off x="6061310" y="292303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6</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26" name="Oval 19">
            <a:extLst>
              <a:ext uri="{FF2B5EF4-FFF2-40B4-BE49-F238E27FC236}">
                <a16:creationId xmlns:a16="http://schemas.microsoft.com/office/drawing/2014/main" id="{52DB280A-23A5-4263-BC7D-9345C892C67B}"/>
              </a:ext>
            </a:extLst>
          </p:cNvPr>
          <p:cNvSpPr>
            <a:spLocks noChangeAspect="1"/>
          </p:cNvSpPr>
          <p:nvPr userDrawn="1"/>
        </p:nvSpPr>
        <p:spPr>
          <a:xfrm>
            <a:off x="5955096" y="332192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7</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27" name="Oval 19">
            <a:extLst>
              <a:ext uri="{FF2B5EF4-FFF2-40B4-BE49-F238E27FC236}">
                <a16:creationId xmlns:a16="http://schemas.microsoft.com/office/drawing/2014/main" id="{66416430-ECCB-4819-A4FF-3DAF31BE1EE2}"/>
              </a:ext>
            </a:extLst>
          </p:cNvPr>
          <p:cNvSpPr>
            <a:spLocks noChangeAspect="1"/>
          </p:cNvSpPr>
          <p:nvPr userDrawn="1"/>
        </p:nvSpPr>
        <p:spPr>
          <a:xfrm>
            <a:off x="5636454" y="451859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spc="-150" baseline="0" dirty="0">
                <a:solidFill>
                  <a:schemeClr val="tx1">
                    <a:lumMod val="50000"/>
                  </a:schemeClr>
                </a:solidFill>
                <a:latin typeface="Arial" panose="020B0604020202020204" pitchFamily="34" charset="0"/>
                <a:cs typeface="Arial" panose="020B0604020202020204" pitchFamily="34" charset="0"/>
              </a:rPr>
              <a:t>10</a:t>
            </a:r>
            <a:endParaRPr lang="x-none" sz="1600" b="1" spc="-150" baseline="0" dirty="0">
              <a:solidFill>
                <a:schemeClr val="tx1">
                  <a:lumMod val="50000"/>
                </a:schemeClr>
              </a:solidFill>
              <a:latin typeface="Arial" panose="020B0604020202020204" pitchFamily="34" charset="0"/>
              <a:cs typeface="Arial" panose="020B0604020202020204" pitchFamily="34" charset="0"/>
            </a:endParaRPr>
          </a:p>
        </p:txBody>
      </p:sp>
      <p:sp>
        <p:nvSpPr>
          <p:cNvPr id="28" name="Oval 19">
            <a:extLst>
              <a:ext uri="{FF2B5EF4-FFF2-40B4-BE49-F238E27FC236}">
                <a16:creationId xmlns:a16="http://schemas.microsoft.com/office/drawing/2014/main" id="{61651642-16E4-4DDC-9D27-DA32A3F6D5AB}"/>
              </a:ext>
            </a:extLst>
          </p:cNvPr>
          <p:cNvSpPr>
            <a:spLocks noChangeAspect="1"/>
          </p:cNvSpPr>
          <p:nvPr userDrawn="1"/>
        </p:nvSpPr>
        <p:spPr>
          <a:xfrm>
            <a:off x="5742668" y="411970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9</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30" name="Text Placeholder 2">
            <a:extLst>
              <a:ext uri="{FF2B5EF4-FFF2-40B4-BE49-F238E27FC236}">
                <a16:creationId xmlns:a16="http://schemas.microsoft.com/office/drawing/2014/main" id="{1CEF41E1-0E7D-47F9-A8FF-D47B5B4F6861}"/>
              </a:ext>
            </a:extLst>
          </p:cNvPr>
          <p:cNvSpPr>
            <a:spLocks noGrp="1"/>
          </p:cNvSpPr>
          <p:nvPr>
            <p:ph type="body" sz="quarter" idx="29" hasCustomPrompt="1"/>
          </p:nvPr>
        </p:nvSpPr>
        <p:spPr>
          <a:xfrm>
            <a:off x="10121379" y="219753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1" name="Text Placeholder 2">
            <a:extLst>
              <a:ext uri="{FF2B5EF4-FFF2-40B4-BE49-F238E27FC236}">
                <a16:creationId xmlns:a16="http://schemas.microsoft.com/office/drawing/2014/main" id="{7DFC7892-9F85-4B21-8ED5-B3D3DF225F90}"/>
              </a:ext>
            </a:extLst>
          </p:cNvPr>
          <p:cNvSpPr>
            <a:spLocks noGrp="1"/>
          </p:cNvSpPr>
          <p:nvPr>
            <p:ph type="body" sz="quarter" idx="30" hasCustomPrompt="1"/>
          </p:nvPr>
        </p:nvSpPr>
        <p:spPr>
          <a:xfrm>
            <a:off x="10017287" y="259642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2" name="Text Placeholder 2">
            <a:extLst>
              <a:ext uri="{FF2B5EF4-FFF2-40B4-BE49-F238E27FC236}">
                <a16:creationId xmlns:a16="http://schemas.microsoft.com/office/drawing/2014/main" id="{1A5EAECB-FE63-4351-9BF7-A5689AB54299}"/>
              </a:ext>
            </a:extLst>
          </p:cNvPr>
          <p:cNvSpPr>
            <a:spLocks noGrp="1"/>
          </p:cNvSpPr>
          <p:nvPr>
            <p:ph type="body" sz="quarter" idx="31" hasCustomPrompt="1"/>
          </p:nvPr>
        </p:nvSpPr>
        <p:spPr>
          <a:xfrm>
            <a:off x="9913195" y="299531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3" name="Text Placeholder 2">
            <a:extLst>
              <a:ext uri="{FF2B5EF4-FFF2-40B4-BE49-F238E27FC236}">
                <a16:creationId xmlns:a16="http://schemas.microsoft.com/office/drawing/2014/main" id="{DF2892F6-2C10-4C31-A7CC-0EA787ECEB04}"/>
              </a:ext>
            </a:extLst>
          </p:cNvPr>
          <p:cNvSpPr>
            <a:spLocks noGrp="1"/>
          </p:cNvSpPr>
          <p:nvPr>
            <p:ph type="body" sz="quarter" idx="32" hasCustomPrompt="1"/>
          </p:nvPr>
        </p:nvSpPr>
        <p:spPr>
          <a:xfrm>
            <a:off x="9809103" y="339420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4" name="Text Placeholder 2">
            <a:extLst>
              <a:ext uri="{FF2B5EF4-FFF2-40B4-BE49-F238E27FC236}">
                <a16:creationId xmlns:a16="http://schemas.microsoft.com/office/drawing/2014/main" id="{2EA89152-FEDF-40B5-87A0-752E2012D470}"/>
              </a:ext>
            </a:extLst>
          </p:cNvPr>
          <p:cNvSpPr>
            <a:spLocks noGrp="1"/>
          </p:cNvSpPr>
          <p:nvPr>
            <p:ph type="body" sz="quarter" idx="33" hasCustomPrompt="1"/>
          </p:nvPr>
        </p:nvSpPr>
        <p:spPr>
          <a:xfrm>
            <a:off x="9705011" y="379309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5" name="Text Placeholder 2">
            <a:extLst>
              <a:ext uri="{FF2B5EF4-FFF2-40B4-BE49-F238E27FC236}">
                <a16:creationId xmlns:a16="http://schemas.microsoft.com/office/drawing/2014/main" id="{08BCE334-1A2F-463C-A912-555EC893426B}"/>
              </a:ext>
            </a:extLst>
          </p:cNvPr>
          <p:cNvSpPr>
            <a:spLocks noGrp="1"/>
          </p:cNvSpPr>
          <p:nvPr>
            <p:ph type="body" sz="quarter" idx="34" hasCustomPrompt="1"/>
          </p:nvPr>
        </p:nvSpPr>
        <p:spPr>
          <a:xfrm>
            <a:off x="9288643" y="538865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6" name="Text Placeholder 2">
            <a:extLst>
              <a:ext uri="{FF2B5EF4-FFF2-40B4-BE49-F238E27FC236}">
                <a16:creationId xmlns:a16="http://schemas.microsoft.com/office/drawing/2014/main" id="{80357ADD-AADE-4912-8F06-39E3ED26AB35}"/>
              </a:ext>
            </a:extLst>
          </p:cNvPr>
          <p:cNvSpPr>
            <a:spLocks noGrp="1"/>
          </p:cNvSpPr>
          <p:nvPr>
            <p:ph type="body" sz="quarter" idx="35" hasCustomPrompt="1"/>
          </p:nvPr>
        </p:nvSpPr>
        <p:spPr>
          <a:xfrm>
            <a:off x="9496827" y="459087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7" name="Text Placeholder 2">
            <a:extLst>
              <a:ext uri="{FF2B5EF4-FFF2-40B4-BE49-F238E27FC236}">
                <a16:creationId xmlns:a16="http://schemas.microsoft.com/office/drawing/2014/main" id="{FA1CB3C5-CA7F-4479-888D-650022ECA215}"/>
              </a:ext>
            </a:extLst>
          </p:cNvPr>
          <p:cNvSpPr>
            <a:spLocks noGrp="1"/>
          </p:cNvSpPr>
          <p:nvPr>
            <p:ph type="body" sz="quarter" idx="36" hasCustomPrompt="1"/>
          </p:nvPr>
        </p:nvSpPr>
        <p:spPr>
          <a:xfrm>
            <a:off x="9392735" y="498976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8" name="Text Placeholder 2">
            <a:extLst>
              <a:ext uri="{FF2B5EF4-FFF2-40B4-BE49-F238E27FC236}">
                <a16:creationId xmlns:a16="http://schemas.microsoft.com/office/drawing/2014/main" id="{05C8E654-ACE8-4E79-B947-A30ED161703F}"/>
              </a:ext>
            </a:extLst>
          </p:cNvPr>
          <p:cNvSpPr>
            <a:spLocks noGrp="1"/>
          </p:cNvSpPr>
          <p:nvPr>
            <p:ph type="body" sz="quarter" idx="37" hasCustomPrompt="1"/>
          </p:nvPr>
        </p:nvSpPr>
        <p:spPr>
          <a:xfrm>
            <a:off x="9080459" y="6186441"/>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40" name="Oval 19">
            <a:extLst>
              <a:ext uri="{FF2B5EF4-FFF2-40B4-BE49-F238E27FC236}">
                <a16:creationId xmlns:a16="http://schemas.microsoft.com/office/drawing/2014/main" id="{47B5EEB9-96A5-4D28-8687-2941A53C5839}"/>
              </a:ext>
            </a:extLst>
          </p:cNvPr>
          <p:cNvSpPr>
            <a:spLocks noChangeAspect="1"/>
          </p:cNvSpPr>
          <p:nvPr userDrawn="1"/>
        </p:nvSpPr>
        <p:spPr>
          <a:xfrm>
            <a:off x="5317812" y="571526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13</a:t>
            </a:r>
            <a:endParaRPr lang="x-none" sz="1600" b="1" dirty="0">
              <a:solidFill>
                <a:schemeClr val="tx1">
                  <a:lumMod val="50000"/>
                </a:schemeClr>
              </a:solidFill>
              <a:latin typeface="Arial" panose="020B0604020202020204" pitchFamily="34" charset="0"/>
              <a:cs typeface="Arial" panose="020B0604020202020204" pitchFamily="34" charset="0"/>
            </a:endParaRPr>
          </a:p>
        </p:txBody>
      </p:sp>
      <p:sp>
        <p:nvSpPr>
          <p:cNvPr id="41" name="Oval 19">
            <a:extLst>
              <a:ext uri="{FF2B5EF4-FFF2-40B4-BE49-F238E27FC236}">
                <a16:creationId xmlns:a16="http://schemas.microsoft.com/office/drawing/2014/main" id="{3E1FF108-B304-4A39-8BA1-991DAFC076CD}"/>
              </a:ext>
            </a:extLst>
          </p:cNvPr>
          <p:cNvSpPr>
            <a:spLocks noChangeAspect="1"/>
          </p:cNvSpPr>
          <p:nvPr userDrawn="1"/>
        </p:nvSpPr>
        <p:spPr>
          <a:xfrm>
            <a:off x="5530240" y="491748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11</a:t>
            </a:r>
            <a:endParaRPr lang="x-none" sz="1600" b="1" dirty="0">
              <a:solidFill>
                <a:schemeClr val="tx1">
                  <a:lumMod val="50000"/>
                </a:schemeClr>
              </a:solidFill>
              <a:latin typeface="Arial" panose="020B0604020202020204" pitchFamily="34" charset="0"/>
              <a:cs typeface="Arial" panose="020B0604020202020204" pitchFamily="34" charset="0"/>
            </a:endParaRPr>
          </a:p>
        </p:txBody>
      </p:sp>
      <p:sp>
        <p:nvSpPr>
          <p:cNvPr id="42" name="Oval 19">
            <a:extLst>
              <a:ext uri="{FF2B5EF4-FFF2-40B4-BE49-F238E27FC236}">
                <a16:creationId xmlns:a16="http://schemas.microsoft.com/office/drawing/2014/main" id="{2DFF95FB-B514-448E-B0A5-01B04C69D610}"/>
              </a:ext>
            </a:extLst>
          </p:cNvPr>
          <p:cNvSpPr>
            <a:spLocks noChangeAspect="1"/>
          </p:cNvSpPr>
          <p:nvPr userDrawn="1"/>
        </p:nvSpPr>
        <p:spPr>
          <a:xfrm>
            <a:off x="5424026" y="531637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12</a:t>
            </a:r>
            <a:endParaRPr lang="x-none" sz="1600" b="1" dirty="0">
              <a:solidFill>
                <a:schemeClr val="tx1">
                  <a:lumMod val="50000"/>
                </a:schemeClr>
              </a:solidFill>
              <a:latin typeface="Arial" panose="020B0604020202020204" pitchFamily="34" charset="0"/>
              <a:cs typeface="Arial" panose="020B0604020202020204" pitchFamily="34" charset="0"/>
            </a:endParaRPr>
          </a:p>
        </p:txBody>
      </p:sp>
      <p:sp>
        <p:nvSpPr>
          <p:cNvPr id="43" name="Oval 19">
            <a:extLst>
              <a:ext uri="{FF2B5EF4-FFF2-40B4-BE49-F238E27FC236}">
                <a16:creationId xmlns:a16="http://schemas.microsoft.com/office/drawing/2014/main" id="{8257FC03-96D4-42DB-A0A2-5DAB2A70E022}"/>
              </a:ext>
            </a:extLst>
          </p:cNvPr>
          <p:cNvSpPr>
            <a:spLocks noChangeAspect="1"/>
          </p:cNvSpPr>
          <p:nvPr userDrawn="1"/>
        </p:nvSpPr>
        <p:spPr>
          <a:xfrm>
            <a:off x="5211598" y="6114163"/>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spc="-150" baseline="0" dirty="0">
                <a:solidFill>
                  <a:schemeClr val="tx1">
                    <a:lumMod val="50000"/>
                  </a:schemeClr>
                </a:solidFill>
                <a:latin typeface="Arial" panose="020B0604020202020204" pitchFamily="34" charset="0"/>
                <a:cs typeface="Arial" panose="020B0604020202020204" pitchFamily="34" charset="0"/>
              </a:rPr>
              <a:t>14</a:t>
            </a:r>
            <a:endParaRPr lang="x-none" sz="1600" b="1" spc="-150" baseline="0" dirty="0">
              <a:solidFill>
                <a:schemeClr val="tx1">
                  <a:lumMod val="50000"/>
                </a:schemeClr>
              </a:solidFill>
              <a:latin typeface="Arial" panose="020B0604020202020204" pitchFamily="34" charset="0"/>
              <a:cs typeface="Arial" panose="020B0604020202020204" pitchFamily="34" charset="0"/>
            </a:endParaRPr>
          </a:p>
        </p:txBody>
      </p:sp>
      <p:sp>
        <p:nvSpPr>
          <p:cNvPr id="45" name="Text Placeholder 2">
            <a:extLst>
              <a:ext uri="{FF2B5EF4-FFF2-40B4-BE49-F238E27FC236}">
                <a16:creationId xmlns:a16="http://schemas.microsoft.com/office/drawing/2014/main" id="{A9F87758-7DDA-4B42-B537-50B6CFDD65A2}"/>
              </a:ext>
            </a:extLst>
          </p:cNvPr>
          <p:cNvSpPr>
            <a:spLocks noGrp="1"/>
          </p:cNvSpPr>
          <p:nvPr>
            <p:ph type="body" sz="quarter" idx="39"/>
          </p:nvPr>
        </p:nvSpPr>
        <p:spPr>
          <a:xfrm>
            <a:off x="7090044" y="100086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6" name="Text Placeholder 2">
            <a:extLst>
              <a:ext uri="{FF2B5EF4-FFF2-40B4-BE49-F238E27FC236}">
                <a16:creationId xmlns:a16="http://schemas.microsoft.com/office/drawing/2014/main" id="{97FD4CF4-607B-462E-9A77-D7E6988B1815}"/>
              </a:ext>
            </a:extLst>
          </p:cNvPr>
          <p:cNvSpPr>
            <a:spLocks noGrp="1"/>
          </p:cNvSpPr>
          <p:nvPr>
            <p:ph type="body" sz="quarter" idx="40" hasCustomPrompt="1"/>
          </p:nvPr>
        </p:nvSpPr>
        <p:spPr>
          <a:xfrm>
            <a:off x="10433657" y="100086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47" name="Text Placeholder 2">
            <a:extLst>
              <a:ext uri="{FF2B5EF4-FFF2-40B4-BE49-F238E27FC236}">
                <a16:creationId xmlns:a16="http://schemas.microsoft.com/office/drawing/2014/main" id="{59E7D75E-1940-4F6E-A2B5-1B607B1FD8FC}"/>
              </a:ext>
            </a:extLst>
          </p:cNvPr>
          <p:cNvSpPr>
            <a:spLocks noGrp="1"/>
          </p:cNvSpPr>
          <p:nvPr>
            <p:ph type="body" sz="quarter" idx="41"/>
          </p:nvPr>
        </p:nvSpPr>
        <p:spPr>
          <a:xfrm>
            <a:off x="6986046" y="139975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8" name="Text Placeholder 2">
            <a:extLst>
              <a:ext uri="{FF2B5EF4-FFF2-40B4-BE49-F238E27FC236}">
                <a16:creationId xmlns:a16="http://schemas.microsoft.com/office/drawing/2014/main" id="{C0FC9F94-A57D-40E0-83A8-E84B2032579E}"/>
              </a:ext>
            </a:extLst>
          </p:cNvPr>
          <p:cNvSpPr>
            <a:spLocks noGrp="1"/>
          </p:cNvSpPr>
          <p:nvPr>
            <p:ph type="body" sz="quarter" idx="42" hasCustomPrompt="1"/>
          </p:nvPr>
        </p:nvSpPr>
        <p:spPr>
          <a:xfrm>
            <a:off x="10329563" y="139975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49" name="Text Placeholder 2">
            <a:extLst>
              <a:ext uri="{FF2B5EF4-FFF2-40B4-BE49-F238E27FC236}">
                <a16:creationId xmlns:a16="http://schemas.microsoft.com/office/drawing/2014/main" id="{73C33C91-D3AC-473E-8831-345F475481C2}"/>
              </a:ext>
            </a:extLst>
          </p:cNvPr>
          <p:cNvSpPr>
            <a:spLocks noGrp="1"/>
          </p:cNvSpPr>
          <p:nvPr>
            <p:ph type="body" sz="quarter" idx="43"/>
          </p:nvPr>
        </p:nvSpPr>
        <p:spPr>
          <a:xfrm>
            <a:off x="6882047" y="179864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50" name="Text Placeholder 2">
            <a:extLst>
              <a:ext uri="{FF2B5EF4-FFF2-40B4-BE49-F238E27FC236}">
                <a16:creationId xmlns:a16="http://schemas.microsoft.com/office/drawing/2014/main" id="{7076B810-74A4-4B3D-A835-4C3621B6DED7}"/>
              </a:ext>
            </a:extLst>
          </p:cNvPr>
          <p:cNvSpPr>
            <a:spLocks noGrp="1"/>
          </p:cNvSpPr>
          <p:nvPr>
            <p:ph type="body" sz="quarter" idx="44" hasCustomPrompt="1"/>
          </p:nvPr>
        </p:nvSpPr>
        <p:spPr>
          <a:xfrm>
            <a:off x="10225471" y="179864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51" name="Text Placeholder 2">
            <a:extLst>
              <a:ext uri="{FF2B5EF4-FFF2-40B4-BE49-F238E27FC236}">
                <a16:creationId xmlns:a16="http://schemas.microsoft.com/office/drawing/2014/main" id="{2C7D379D-38E0-4E6C-988C-4FB784704B20}"/>
              </a:ext>
            </a:extLst>
          </p:cNvPr>
          <p:cNvSpPr>
            <a:spLocks noGrp="1"/>
          </p:cNvSpPr>
          <p:nvPr>
            <p:ph type="body" sz="quarter" idx="45"/>
          </p:nvPr>
        </p:nvSpPr>
        <p:spPr>
          <a:xfrm>
            <a:off x="6258053" y="419198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52" name="Text Placeholder 2">
            <a:extLst>
              <a:ext uri="{FF2B5EF4-FFF2-40B4-BE49-F238E27FC236}">
                <a16:creationId xmlns:a16="http://schemas.microsoft.com/office/drawing/2014/main" id="{36C05AD1-0EF0-4832-B87A-EAD15DCB7E0D}"/>
              </a:ext>
            </a:extLst>
          </p:cNvPr>
          <p:cNvSpPr>
            <a:spLocks noGrp="1"/>
          </p:cNvSpPr>
          <p:nvPr>
            <p:ph type="body" sz="quarter" idx="46" hasCustomPrompt="1"/>
          </p:nvPr>
        </p:nvSpPr>
        <p:spPr>
          <a:xfrm>
            <a:off x="9600919" y="419198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53" name="Text Placeholder 2">
            <a:extLst>
              <a:ext uri="{FF2B5EF4-FFF2-40B4-BE49-F238E27FC236}">
                <a16:creationId xmlns:a16="http://schemas.microsoft.com/office/drawing/2014/main" id="{B7F0CA5D-8D82-498B-8770-9183CAA92A1D}"/>
              </a:ext>
            </a:extLst>
          </p:cNvPr>
          <p:cNvSpPr>
            <a:spLocks noGrp="1"/>
          </p:cNvSpPr>
          <p:nvPr>
            <p:ph type="body" sz="quarter" idx="47"/>
          </p:nvPr>
        </p:nvSpPr>
        <p:spPr>
          <a:xfrm>
            <a:off x="5842057" y="578754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54" name="Text Placeholder 2">
            <a:extLst>
              <a:ext uri="{FF2B5EF4-FFF2-40B4-BE49-F238E27FC236}">
                <a16:creationId xmlns:a16="http://schemas.microsoft.com/office/drawing/2014/main" id="{7B3C29F3-90EE-4AF0-80A4-8EC3143A1B6D}"/>
              </a:ext>
            </a:extLst>
          </p:cNvPr>
          <p:cNvSpPr>
            <a:spLocks noGrp="1"/>
          </p:cNvSpPr>
          <p:nvPr>
            <p:ph type="body" sz="quarter" idx="48" hasCustomPrompt="1"/>
          </p:nvPr>
        </p:nvSpPr>
        <p:spPr>
          <a:xfrm>
            <a:off x="9184551" y="578754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70" name="Picture Placeholder 69">
            <a:extLst>
              <a:ext uri="{FF2B5EF4-FFF2-40B4-BE49-F238E27FC236}">
                <a16:creationId xmlns:a16="http://schemas.microsoft.com/office/drawing/2014/main" id="{F222E4C0-7336-48B6-A046-B7A7F64BD007}"/>
              </a:ext>
            </a:extLst>
          </p:cNvPr>
          <p:cNvSpPr>
            <a:spLocks noGrp="1" noChangeAspect="1"/>
          </p:cNvSpPr>
          <p:nvPr>
            <p:ph type="pic" sz="quarter" idx="12"/>
          </p:nvPr>
        </p:nvSpPr>
        <p:spPr>
          <a:xfrm>
            <a:off x="-3881" y="2"/>
            <a:ext cx="7016940" cy="6857999"/>
          </a:xfrm>
          <a:custGeom>
            <a:avLst/>
            <a:gdLst>
              <a:gd name="connsiteX0" fmla="*/ 936350 w 7016940"/>
              <a:gd name="connsiteY0" fmla="*/ 0 h 6857999"/>
              <a:gd name="connsiteX1" fmla="*/ 7016940 w 7016940"/>
              <a:gd name="connsiteY1" fmla="*/ 0 h 6857999"/>
              <a:gd name="connsiteX2" fmla="*/ 6767745 w 7016940"/>
              <a:gd name="connsiteY2" fmla="*/ 929446 h 6857999"/>
              <a:gd name="connsiteX3" fmla="*/ 6739980 w 7016940"/>
              <a:gd name="connsiteY3" fmla="*/ 932245 h 6857999"/>
              <a:gd name="connsiteX4" fmla="*/ 6596256 w 7016940"/>
              <a:gd name="connsiteY4" fmla="*/ 1108589 h 6857999"/>
              <a:gd name="connsiteX5" fmla="*/ 6648977 w 7016940"/>
              <a:gd name="connsiteY5" fmla="*/ 1235867 h 6857999"/>
              <a:gd name="connsiteX6" fmla="*/ 6679985 w 7016940"/>
              <a:gd name="connsiteY6" fmla="*/ 1256774 h 6857999"/>
              <a:gd name="connsiteX7" fmla="*/ 6660778 w 7016940"/>
              <a:gd name="connsiteY7" fmla="*/ 1328413 h 6857999"/>
              <a:gd name="connsiteX8" fmla="*/ 6633771 w 7016940"/>
              <a:gd name="connsiteY8" fmla="*/ 1331136 h 6857999"/>
              <a:gd name="connsiteX9" fmla="*/ 6490047 w 7016940"/>
              <a:gd name="connsiteY9" fmla="*/ 1507478 h 6857999"/>
              <a:gd name="connsiteX10" fmla="*/ 6542768 w 7016940"/>
              <a:gd name="connsiteY10" fmla="*/ 1634758 h 6857999"/>
              <a:gd name="connsiteX11" fmla="*/ 6573151 w 7016940"/>
              <a:gd name="connsiteY11" fmla="*/ 1655243 h 6857999"/>
              <a:gd name="connsiteX12" fmla="*/ 6553811 w 7016940"/>
              <a:gd name="connsiteY12" fmla="*/ 1727379 h 6857999"/>
              <a:gd name="connsiteX13" fmla="*/ 6527557 w 7016940"/>
              <a:gd name="connsiteY13" fmla="*/ 1730025 h 6857999"/>
              <a:gd name="connsiteX14" fmla="*/ 6383833 w 7016940"/>
              <a:gd name="connsiteY14" fmla="*/ 1906369 h 6857999"/>
              <a:gd name="connsiteX15" fmla="*/ 6436554 w 7016940"/>
              <a:gd name="connsiteY15" fmla="*/ 2033648 h 6857999"/>
              <a:gd name="connsiteX16" fmla="*/ 6466317 w 7016940"/>
              <a:gd name="connsiteY16" fmla="*/ 2053714 h 6857999"/>
              <a:gd name="connsiteX17" fmla="*/ 6446844 w 7016940"/>
              <a:gd name="connsiteY17" fmla="*/ 2126345 h 6857999"/>
              <a:gd name="connsiteX18" fmla="*/ 6421343 w 7016940"/>
              <a:gd name="connsiteY18" fmla="*/ 2128915 h 6857999"/>
              <a:gd name="connsiteX19" fmla="*/ 6277619 w 7016940"/>
              <a:gd name="connsiteY19" fmla="*/ 2305258 h 6857999"/>
              <a:gd name="connsiteX20" fmla="*/ 6330340 w 7016940"/>
              <a:gd name="connsiteY20" fmla="*/ 2432537 h 6857999"/>
              <a:gd name="connsiteX21" fmla="*/ 6359482 w 7016940"/>
              <a:gd name="connsiteY21" fmla="*/ 2452186 h 6857999"/>
              <a:gd name="connsiteX22" fmla="*/ 6339877 w 7016940"/>
              <a:gd name="connsiteY22" fmla="*/ 2525310 h 6857999"/>
              <a:gd name="connsiteX23" fmla="*/ 6315129 w 7016940"/>
              <a:gd name="connsiteY23" fmla="*/ 2527805 h 6857999"/>
              <a:gd name="connsiteX24" fmla="*/ 6171405 w 7016940"/>
              <a:gd name="connsiteY24" fmla="*/ 2704148 h 6857999"/>
              <a:gd name="connsiteX25" fmla="*/ 6224126 w 7016940"/>
              <a:gd name="connsiteY25" fmla="*/ 2831427 h 6857999"/>
              <a:gd name="connsiteX26" fmla="*/ 6252648 w 7016940"/>
              <a:gd name="connsiteY26" fmla="*/ 2850657 h 6857999"/>
              <a:gd name="connsiteX27" fmla="*/ 6232910 w 7016940"/>
              <a:gd name="connsiteY27" fmla="*/ 2924276 h 6857999"/>
              <a:gd name="connsiteX28" fmla="*/ 6208915 w 7016940"/>
              <a:gd name="connsiteY28" fmla="*/ 2926695 h 6857999"/>
              <a:gd name="connsiteX29" fmla="*/ 6065191 w 7016940"/>
              <a:gd name="connsiteY29" fmla="*/ 3103038 h 6857999"/>
              <a:gd name="connsiteX30" fmla="*/ 6117912 w 7016940"/>
              <a:gd name="connsiteY30" fmla="*/ 3230317 h 6857999"/>
              <a:gd name="connsiteX31" fmla="*/ 6145813 w 7016940"/>
              <a:gd name="connsiteY31" fmla="*/ 3249129 h 6857999"/>
              <a:gd name="connsiteX32" fmla="*/ 6125943 w 7016940"/>
              <a:gd name="connsiteY32" fmla="*/ 3323241 h 6857999"/>
              <a:gd name="connsiteX33" fmla="*/ 6102701 w 7016940"/>
              <a:gd name="connsiteY33" fmla="*/ 3325585 h 6857999"/>
              <a:gd name="connsiteX34" fmla="*/ 5958977 w 7016940"/>
              <a:gd name="connsiteY34" fmla="*/ 3501927 h 6857999"/>
              <a:gd name="connsiteX35" fmla="*/ 6011698 w 7016940"/>
              <a:gd name="connsiteY35" fmla="*/ 3629206 h 6857999"/>
              <a:gd name="connsiteX36" fmla="*/ 6038979 w 7016940"/>
              <a:gd name="connsiteY36" fmla="*/ 3647599 h 6857999"/>
              <a:gd name="connsiteX37" fmla="*/ 6018976 w 7016940"/>
              <a:gd name="connsiteY37" fmla="*/ 3722207 h 6857999"/>
              <a:gd name="connsiteX38" fmla="*/ 5996487 w 7016940"/>
              <a:gd name="connsiteY38" fmla="*/ 3724474 h 6857999"/>
              <a:gd name="connsiteX39" fmla="*/ 5852763 w 7016940"/>
              <a:gd name="connsiteY39" fmla="*/ 3900817 h 6857999"/>
              <a:gd name="connsiteX40" fmla="*/ 5905484 w 7016940"/>
              <a:gd name="connsiteY40" fmla="*/ 4028096 h 6857999"/>
              <a:gd name="connsiteX41" fmla="*/ 5932144 w 7016940"/>
              <a:gd name="connsiteY41" fmla="*/ 4046071 h 6857999"/>
              <a:gd name="connsiteX42" fmla="*/ 5912008 w 7016940"/>
              <a:gd name="connsiteY42" fmla="*/ 4121173 h 6857999"/>
              <a:gd name="connsiteX43" fmla="*/ 5890273 w 7016940"/>
              <a:gd name="connsiteY43" fmla="*/ 4123364 h 6857999"/>
              <a:gd name="connsiteX44" fmla="*/ 5746549 w 7016940"/>
              <a:gd name="connsiteY44" fmla="*/ 4299707 h 6857999"/>
              <a:gd name="connsiteX45" fmla="*/ 5799270 w 7016940"/>
              <a:gd name="connsiteY45" fmla="*/ 4426986 h 6857999"/>
              <a:gd name="connsiteX46" fmla="*/ 5825309 w 7016940"/>
              <a:gd name="connsiteY46" fmla="*/ 4444542 h 6857999"/>
              <a:gd name="connsiteX47" fmla="*/ 5805041 w 7016940"/>
              <a:gd name="connsiteY47" fmla="*/ 4520139 h 6857999"/>
              <a:gd name="connsiteX48" fmla="*/ 5784059 w 7016940"/>
              <a:gd name="connsiteY48" fmla="*/ 4522254 h 6857999"/>
              <a:gd name="connsiteX49" fmla="*/ 5640335 w 7016940"/>
              <a:gd name="connsiteY49" fmla="*/ 4698597 h 6857999"/>
              <a:gd name="connsiteX50" fmla="*/ 5693056 w 7016940"/>
              <a:gd name="connsiteY50" fmla="*/ 4825876 h 6857999"/>
              <a:gd name="connsiteX51" fmla="*/ 5718475 w 7016940"/>
              <a:gd name="connsiteY51" fmla="*/ 4843014 h 6857999"/>
              <a:gd name="connsiteX52" fmla="*/ 5698074 w 7016940"/>
              <a:gd name="connsiteY52" fmla="*/ 4919105 h 6857999"/>
              <a:gd name="connsiteX53" fmla="*/ 5677845 w 7016940"/>
              <a:gd name="connsiteY53" fmla="*/ 4921144 h 6857999"/>
              <a:gd name="connsiteX54" fmla="*/ 5534121 w 7016940"/>
              <a:gd name="connsiteY54" fmla="*/ 5097487 h 6857999"/>
              <a:gd name="connsiteX55" fmla="*/ 5586842 w 7016940"/>
              <a:gd name="connsiteY55" fmla="*/ 5224766 h 6857999"/>
              <a:gd name="connsiteX56" fmla="*/ 5611640 w 7016940"/>
              <a:gd name="connsiteY56" fmla="*/ 5241486 h 6857999"/>
              <a:gd name="connsiteX57" fmla="*/ 5591106 w 7016940"/>
              <a:gd name="connsiteY57" fmla="*/ 5318071 h 6857999"/>
              <a:gd name="connsiteX58" fmla="*/ 5571631 w 7016940"/>
              <a:gd name="connsiteY58" fmla="*/ 5320034 h 6857999"/>
              <a:gd name="connsiteX59" fmla="*/ 5427907 w 7016940"/>
              <a:gd name="connsiteY59" fmla="*/ 5496377 h 6857999"/>
              <a:gd name="connsiteX60" fmla="*/ 5480628 w 7016940"/>
              <a:gd name="connsiteY60" fmla="*/ 5623656 h 6857999"/>
              <a:gd name="connsiteX61" fmla="*/ 5504805 w 7016940"/>
              <a:gd name="connsiteY61" fmla="*/ 5639957 h 6857999"/>
              <a:gd name="connsiteX62" fmla="*/ 5484139 w 7016940"/>
              <a:gd name="connsiteY62" fmla="*/ 5717037 h 6857999"/>
              <a:gd name="connsiteX63" fmla="*/ 5465417 w 7016940"/>
              <a:gd name="connsiteY63" fmla="*/ 5718924 h 6857999"/>
              <a:gd name="connsiteX64" fmla="*/ 5321693 w 7016940"/>
              <a:gd name="connsiteY64" fmla="*/ 5895267 h 6857999"/>
              <a:gd name="connsiteX65" fmla="*/ 5374414 w 7016940"/>
              <a:gd name="connsiteY65" fmla="*/ 6022546 h 6857999"/>
              <a:gd name="connsiteX66" fmla="*/ 5397970 w 7016940"/>
              <a:gd name="connsiteY66" fmla="*/ 6038428 h 6857999"/>
              <a:gd name="connsiteX67" fmla="*/ 5377170 w 7016940"/>
              <a:gd name="connsiteY67" fmla="*/ 6116008 h 6857999"/>
              <a:gd name="connsiteX68" fmla="*/ 5359203 w 7016940"/>
              <a:gd name="connsiteY68" fmla="*/ 6117819 h 6857999"/>
              <a:gd name="connsiteX69" fmla="*/ 5215479 w 7016940"/>
              <a:gd name="connsiteY69" fmla="*/ 6294162 h 6857999"/>
              <a:gd name="connsiteX70" fmla="*/ 5268200 w 7016940"/>
              <a:gd name="connsiteY70" fmla="*/ 6421441 h 6857999"/>
              <a:gd name="connsiteX71" fmla="*/ 5291134 w 7016940"/>
              <a:gd name="connsiteY71" fmla="*/ 6436904 h 6857999"/>
              <a:gd name="connsiteX72" fmla="*/ 5178234 w 7016940"/>
              <a:gd name="connsiteY72" fmla="*/ 6857999 h 6857999"/>
              <a:gd name="connsiteX73" fmla="*/ 0 w 7016940"/>
              <a:gd name="connsiteY73" fmla="*/ 6857999 h 6857999"/>
              <a:gd name="connsiteX74" fmla="*/ 0 w 7016940"/>
              <a:gd name="connsiteY74" fmla="*/ 3452256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7016940" h="6857999">
                <a:moveTo>
                  <a:pt x="936350" y="0"/>
                </a:moveTo>
                <a:lnTo>
                  <a:pt x="7016940" y="0"/>
                </a:lnTo>
                <a:lnTo>
                  <a:pt x="6767745" y="929446"/>
                </a:lnTo>
                <a:lnTo>
                  <a:pt x="6739980" y="932245"/>
                </a:lnTo>
                <a:cubicBezTo>
                  <a:pt x="6657957" y="949030"/>
                  <a:pt x="6596256" y="1021604"/>
                  <a:pt x="6596256" y="1108589"/>
                </a:cubicBezTo>
                <a:cubicBezTo>
                  <a:pt x="6596256" y="1158294"/>
                  <a:pt x="6616404" y="1203294"/>
                  <a:pt x="6648977" y="1235867"/>
                </a:cubicBezTo>
                <a:lnTo>
                  <a:pt x="6679985" y="1256774"/>
                </a:lnTo>
                <a:lnTo>
                  <a:pt x="6660778" y="1328413"/>
                </a:lnTo>
                <a:lnTo>
                  <a:pt x="6633771" y="1331136"/>
                </a:lnTo>
                <a:cubicBezTo>
                  <a:pt x="6551748" y="1347920"/>
                  <a:pt x="6490047" y="1420494"/>
                  <a:pt x="6490047" y="1507478"/>
                </a:cubicBezTo>
                <a:cubicBezTo>
                  <a:pt x="6490047" y="1557184"/>
                  <a:pt x="6510194" y="1602184"/>
                  <a:pt x="6542768" y="1634758"/>
                </a:cubicBezTo>
                <a:lnTo>
                  <a:pt x="6573151" y="1655243"/>
                </a:lnTo>
                <a:lnTo>
                  <a:pt x="6553811" y="1727379"/>
                </a:lnTo>
                <a:lnTo>
                  <a:pt x="6527557" y="1730025"/>
                </a:lnTo>
                <a:cubicBezTo>
                  <a:pt x="6445534" y="1746810"/>
                  <a:pt x="6383833" y="1819384"/>
                  <a:pt x="6383833" y="1906369"/>
                </a:cubicBezTo>
                <a:cubicBezTo>
                  <a:pt x="6383833" y="1956074"/>
                  <a:pt x="6403980" y="2001074"/>
                  <a:pt x="6436554" y="2033648"/>
                </a:cubicBezTo>
                <a:lnTo>
                  <a:pt x="6466317" y="2053714"/>
                </a:lnTo>
                <a:lnTo>
                  <a:pt x="6446844" y="2126345"/>
                </a:lnTo>
                <a:lnTo>
                  <a:pt x="6421343" y="2128915"/>
                </a:lnTo>
                <a:cubicBezTo>
                  <a:pt x="6339320" y="2145700"/>
                  <a:pt x="6277619" y="2218274"/>
                  <a:pt x="6277619" y="2305258"/>
                </a:cubicBezTo>
                <a:cubicBezTo>
                  <a:pt x="6277619" y="2354964"/>
                  <a:pt x="6297767" y="2399963"/>
                  <a:pt x="6330340" y="2432537"/>
                </a:cubicBezTo>
                <a:lnTo>
                  <a:pt x="6359482" y="2452186"/>
                </a:lnTo>
                <a:lnTo>
                  <a:pt x="6339877" y="2525310"/>
                </a:lnTo>
                <a:lnTo>
                  <a:pt x="6315129" y="2527805"/>
                </a:lnTo>
                <a:cubicBezTo>
                  <a:pt x="6233106" y="2544590"/>
                  <a:pt x="6171405" y="2617163"/>
                  <a:pt x="6171405" y="2704148"/>
                </a:cubicBezTo>
                <a:cubicBezTo>
                  <a:pt x="6171405" y="2753853"/>
                  <a:pt x="6191553" y="2798853"/>
                  <a:pt x="6224126" y="2831427"/>
                </a:cubicBezTo>
                <a:lnTo>
                  <a:pt x="6252648" y="2850657"/>
                </a:lnTo>
                <a:lnTo>
                  <a:pt x="6232910" y="2924276"/>
                </a:lnTo>
                <a:lnTo>
                  <a:pt x="6208915" y="2926695"/>
                </a:lnTo>
                <a:cubicBezTo>
                  <a:pt x="6126892" y="2943479"/>
                  <a:pt x="6065191" y="3016053"/>
                  <a:pt x="6065191" y="3103038"/>
                </a:cubicBezTo>
                <a:cubicBezTo>
                  <a:pt x="6065191" y="3152743"/>
                  <a:pt x="6085338" y="3197743"/>
                  <a:pt x="6117912" y="3230317"/>
                </a:cubicBezTo>
                <a:lnTo>
                  <a:pt x="6145813" y="3249129"/>
                </a:lnTo>
                <a:lnTo>
                  <a:pt x="6125943" y="3323241"/>
                </a:lnTo>
                <a:lnTo>
                  <a:pt x="6102701" y="3325585"/>
                </a:lnTo>
                <a:cubicBezTo>
                  <a:pt x="6020678" y="3342369"/>
                  <a:pt x="5958977" y="3414943"/>
                  <a:pt x="5958977" y="3501927"/>
                </a:cubicBezTo>
                <a:cubicBezTo>
                  <a:pt x="5958977" y="3551633"/>
                  <a:pt x="5979125" y="3596633"/>
                  <a:pt x="6011698" y="3629206"/>
                </a:cubicBezTo>
                <a:lnTo>
                  <a:pt x="6038979" y="3647599"/>
                </a:lnTo>
                <a:lnTo>
                  <a:pt x="6018976" y="3722207"/>
                </a:lnTo>
                <a:lnTo>
                  <a:pt x="5996487" y="3724474"/>
                </a:lnTo>
                <a:cubicBezTo>
                  <a:pt x="5914464" y="3741258"/>
                  <a:pt x="5852763" y="3813832"/>
                  <a:pt x="5852763" y="3900817"/>
                </a:cubicBezTo>
                <a:cubicBezTo>
                  <a:pt x="5852763" y="3950523"/>
                  <a:pt x="5872910" y="3995523"/>
                  <a:pt x="5905484" y="4028096"/>
                </a:cubicBezTo>
                <a:lnTo>
                  <a:pt x="5932144" y="4046071"/>
                </a:lnTo>
                <a:lnTo>
                  <a:pt x="5912008" y="4121173"/>
                </a:lnTo>
                <a:lnTo>
                  <a:pt x="5890273" y="4123364"/>
                </a:lnTo>
                <a:cubicBezTo>
                  <a:pt x="5808250" y="4140148"/>
                  <a:pt x="5746549" y="4212723"/>
                  <a:pt x="5746549" y="4299707"/>
                </a:cubicBezTo>
                <a:cubicBezTo>
                  <a:pt x="5746549" y="4349413"/>
                  <a:pt x="5766696" y="4394413"/>
                  <a:pt x="5799270" y="4426986"/>
                </a:cubicBezTo>
                <a:lnTo>
                  <a:pt x="5825309" y="4444542"/>
                </a:lnTo>
                <a:lnTo>
                  <a:pt x="5805041" y="4520139"/>
                </a:lnTo>
                <a:lnTo>
                  <a:pt x="5784059" y="4522254"/>
                </a:lnTo>
                <a:cubicBezTo>
                  <a:pt x="5702036" y="4539039"/>
                  <a:pt x="5640335" y="4611613"/>
                  <a:pt x="5640335" y="4698597"/>
                </a:cubicBezTo>
                <a:cubicBezTo>
                  <a:pt x="5640335" y="4748303"/>
                  <a:pt x="5660483" y="4793303"/>
                  <a:pt x="5693056" y="4825876"/>
                </a:cubicBezTo>
                <a:lnTo>
                  <a:pt x="5718475" y="4843014"/>
                </a:lnTo>
                <a:lnTo>
                  <a:pt x="5698074" y="4919105"/>
                </a:lnTo>
                <a:lnTo>
                  <a:pt x="5677845" y="4921144"/>
                </a:lnTo>
                <a:cubicBezTo>
                  <a:pt x="5595822" y="4937929"/>
                  <a:pt x="5534121" y="5010503"/>
                  <a:pt x="5534121" y="5097487"/>
                </a:cubicBezTo>
                <a:cubicBezTo>
                  <a:pt x="5534121" y="5147193"/>
                  <a:pt x="5554268" y="5192193"/>
                  <a:pt x="5586842" y="5224766"/>
                </a:cubicBezTo>
                <a:lnTo>
                  <a:pt x="5611640" y="5241486"/>
                </a:lnTo>
                <a:lnTo>
                  <a:pt x="5591106" y="5318071"/>
                </a:lnTo>
                <a:lnTo>
                  <a:pt x="5571631" y="5320034"/>
                </a:lnTo>
                <a:cubicBezTo>
                  <a:pt x="5489608" y="5336819"/>
                  <a:pt x="5427907" y="5409393"/>
                  <a:pt x="5427907" y="5496377"/>
                </a:cubicBezTo>
                <a:cubicBezTo>
                  <a:pt x="5427907" y="5546083"/>
                  <a:pt x="5448055" y="5591083"/>
                  <a:pt x="5480628" y="5623656"/>
                </a:cubicBezTo>
                <a:lnTo>
                  <a:pt x="5504805" y="5639957"/>
                </a:lnTo>
                <a:lnTo>
                  <a:pt x="5484139" y="5717037"/>
                </a:lnTo>
                <a:lnTo>
                  <a:pt x="5465417" y="5718924"/>
                </a:lnTo>
                <a:cubicBezTo>
                  <a:pt x="5383394" y="5735709"/>
                  <a:pt x="5321693" y="5808283"/>
                  <a:pt x="5321693" y="5895267"/>
                </a:cubicBezTo>
                <a:cubicBezTo>
                  <a:pt x="5321693" y="5944973"/>
                  <a:pt x="5341840" y="5989973"/>
                  <a:pt x="5374414" y="6022546"/>
                </a:cubicBezTo>
                <a:lnTo>
                  <a:pt x="5397970" y="6038428"/>
                </a:lnTo>
                <a:lnTo>
                  <a:pt x="5377170" y="6116008"/>
                </a:lnTo>
                <a:lnTo>
                  <a:pt x="5359203" y="6117819"/>
                </a:lnTo>
                <a:cubicBezTo>
                  <a:pt x="5277180" y="6134604"/>
                  <a:pt x="5215479" y="6207178"/>
                  <a:pt x="5215479" y="6294162"/>
                </a:cubicBezTo>
                <a:cubicBezTo>
                  <a:pt x="5215479" y="6343868"/>
                  <a:pt x="5235626" y="6388868"/>
                  <a:pt x="5268200" y="6421441"/>
                </a:cubicBezTo>
                <a:lnTo>
                  <a:pt x="5291134" y="6436904"/>
                </a:lnTo>
                <a:lnTo>
                  <a:pt x="5178234" y="6857999"/>
                </a:lnTo>
                <a:lnTo>
                  <a:pt x="0" y="6857999"/>
                </a:lnTo>
                <a:lnTo>
                  <a:pt x="0" y="3452256"/>
                </a:lnTo>
                <a:close/>
              </a:path>
            </a:pathLst>
          </a:custGeom>
        </p:spPr>
        <p:txBody>
          <a:bodyPr wrap="square">
            <a:noAutofit/>
          </a:bodyPr>
          <a:lstStyle/>
          <a:p>
            <a:r>
              <a:rPr lang="de-DE"/>
              <a:t>Bild durch Klicken auf Symbol hinzufügen</a:t>
            </a:r>
            <a:endParaRPr lang="x-none" dirty="0"/>
          </a:p>
        </p:txBody>
      </p:sp>
      <p:sp>
        <p:nvSpPr>
          <p:cNvPr id="3" name="Title 1">
            <a:extLst>
              <a:ext uri="{FF2B5EF4-FFF2-40B4-BE49-F238E27FC236}">
                <a16:creationId xmlns:a16="http://schemas.microsoft.com/office/drawing/2014/main" id="{72C0657C-5A87-1F59-2F16-2FA4BC3126F3}"/>
              </a:ext>
            </a:extLst>
          </p:cNvPr>
          <p:cNvSpPr>
            <a:spLocks noGrp="1"/>
          </p:cNvSpPr>
          <p:nvPr>
            <p:ph type="title" hasCustomPrompt="1"/>
          </p:nvPr>
        </p:nvSpPr>
        <p:spPr>
          <a:xfrm>
            <a:off x="7361584" y="642950"/>
            <a:ext cx="4525616"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Bericht</a:t>
            </a:r>
            <a:endParaRPr lang="de-DE" dirty="0"/>
          </a:p>
        </p:txBody>
      </p:sp>
      <p:sp>
        <p:nvSpPr>
          <p:cNvPr id="4" name="Text Placeholder 3">
            <a:extLst>
              <a:ext uri="{FF2B5EF4-FFF2-40B4-BE49-F238E27FC236}">
                <a16:creationId xmlns:a16="http://schemas.microsoft.com/office/drawing/2014/main" id="{32E33008-BB36-48C5-3938-35C9D486578D}"/>
              </a:ext>
            </a:extLst>
          </p:cNvPr>
          <p:cNvSpPr>
            <a:spLocks noGrp="1"/>
          </p:cNvSpPr>
          <p:nvPr>
            <p:ph type="body" sz="quarter" idx="13" hasCustomPrompt="1"/>
          </p:nvPr>
        </p:nvSpPr>
        <p:spPr>
          <a:xfrm>
            <a:off x="7362048"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4008507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IVZ_15_Kapitel">
    <p:bg>
      <p:bgPr>
        <a:solidFill>
          <a:schemeClr val="bg1"/>
        </a:solidFill>
        <a:effectLst/>
      </p:bgPr>
    </p:bg>
    <p:spTree>
      <p:nvGrpSpPr>
        <p:cNvPr id="1" name=""/>
        <p:cNvGrpSpPr/>
        <p:nvPr/>
      </p:nvGrpSpPr>
      <p:grpSpPr>
        <a:xfrm>
          <a:off x="0" y="0"/>
          <a:ext cx="0" cy="0"/>
          <a:chOff x="0" y="0"/>
          <a:chExt cx="0" cy="0"/>
        </a:xfrm>
      </p:grpSpPr>
      <p:sp>
        <p:nvSpPr>
          <p:cNvPr id="10" name="Slide Number Placeholder 3">
            <a:extLst>
              <a:ext uri="{FF2B5EF4-FFF2-40B4-BE49-F238E27FC236}">
                <a16:creationId xmlns:a16="http://schemas.microsoft.com/office/drawing/2014/main" id="{82F64DB9-B56E-2941-8277-8AED61C61249}"/>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7" name="Text Placeholder 2">
            <a:extLst>
              <a:ext uri="{FF2B5EF4-FFF2-40B4-BE49-F238E27FC236}">
                <a16:creationId xmlns:a16="http://schemas.microsoft.com/office/drawing/2014/main" id="{DA0EF649-F051-43A6-8EB9-85681471AEB8}"/>
              </a:ext>
            </a:extLst>
          </p:cNvPr>
          <p:cNvSpPr>
            <a:spLocks noGrp="1"/>
          </p:cNvSpPr>
          <p:nvPr>
            <p:ph type="body" sz="quarter" idx="14"/>
          </p:nvPr>
        </p:nvSpPr>
        <p:spPr>
          <a:xfrm>
            <a:off x="6800328" y="2112060"/>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8" name="Text Placeholder 2">
            <a:extLst>
              <a:ext uri="{FF2B5EF4-FFF2-40B4-BE49-F238E27FC236}">
                <a16:creationId xmlns:a16="http://schemas.microsoft.com/office/drawing/2014/main" id="{ACBB52A9-1A43-4F32-959C-9247BF4AA28E}"/>
              </a:ext>
            </a:extLst>
          </p:cNvPr>
          <p:cNvSpPr>
            <a:spLocks noGrp="1"/>
          </p:cNvSpPr>
          <p:nvPr>
            <p:ph type="body" sz="quarter" idx="15"/>
          </p:nvPr>
        </p:nvSpPr>
        <p:spPr>
          <a:xfrm>
            <a:off x="6703758" y="2482458"/>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1" name="Text Placeholder 2">
            <a:extLst>
              <a:ext uri="{FF2B5EF4-FFF2-40B4-BE49-F238E27FC236}">
                <a16:creationId xmlns:a16="http://schemas.microsoft.com/office/drawing/2014/main" id="{60795A7F-9122-4C44-898B-0BA8537FB202}"/>
              </a:ext>
            </a:extLst>
          </p:cNvPr>
          <p:cNvSpPr>
            <a:spLocks noGrp="1"/>
          </p:cNvSpPr>
          <p:nvPr>
            <p:ph type="body" sz="quarter" idx="16"/>
          </p:nvPr>
        </p:nvSpPr>
        <p:spPr>
          <a:xfrm>
            <a:off x="6607188" y="285285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2" name="Text Placeholder 2">
            <a:extLst>
              <a:ext uri="{FF2B5EF4-FFF2-40B4-BE49-F238E27FC236}">
                <a16:creationId xmlns:a16="http://schemas.microsoft.com/office/drawing/2014/main" id="{EAD6D003-DAD8-48C6-9C57-BAA95F540224}"/>
              </a:ext>
            </a:extLst>
          </p:cNvPr>
          <p:cNvSpPr>
            <a:spLocks noGrp="1"/>
          </p:cNvSpPr>
          <p:nvPr>
            <p:ph type="body" sz="quarter" idx="17"/>
          </p:nvPr>
        </p:nvSpPr>
        <p:spPr>
          <a:xfrm>
            <a:off x="6510618" y="3223254"/>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3" name="Text Placeholder 2">
            <a:extLst>
              <a:ext uri="{FF2B5EF4-FFF2-40B4-BE49-F238E27FC236}">
                <a16:creationId xmlns:a16="http://schemas.microsoft.com/office/drawing/2014/main" id="{7D6A6399-3AB5-4B2E-A77B-4A367AD054B3}"/>
              </a:ext>
            </a:extLst>
          </p:cNvPr>
          <p:cNvSpPr>
            <a:spLocks noGrp="1"/>
          </p:cNvSpPr>
          <p:nvPr>
            <p:ph type="body" sz="quarter" idx="18"/>
          </p:nvPr>
        </p:nvSpPr>
        <p:spPr>
          <a:xfrm>
            <a:off x="6414048" y="3593652"/>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4" name="Text Placeholder 2">
            <a:extLst>
              <a:ext uri="{FF2B5EF4-FFF2-40B4-BE49-F238E27FC236}">
                <a16:creationId xmlns:a16="http://schemas.microsoft.com/office/drawing/2014/main" id="{8ACE3A89-8CAD-4D70-8DA0-6CD7E142C1AC}"/>
              </a:ext>
            </a:extLst>
          </p:cNvPr>
          <p:cNvSpPr>
            <a:spLocks noGrp="1"/>
          </p:cNvSpPr>
          <p:nvPr>
            <p:ph type="body" sz="quarter" idx="24"/>
          </p:nvPr>
        </p:nvSpPr>
        <p:spPr>
          <a:xfrm>
            <a:off x="6027768" y="5075244"/>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5" name="Text Placeholder 2">
            <a:extLst>
              <a:ext uri="{FF2B5EF4-FFF2-40B4-BE49-F238E27FC236}">
                <a16:creationId xmlns:a16="http://schemas.microsoft.com/office/drawing/2014/main" id="{2FCB0BC9-451D-4CB5-97CE-E54E512DD52A}"/>
              </a:ext>
            </a:extLst>
          </p:cNvPr>
          <p:cNvSpPr>
            <a:spLocks noGrp="1"/>
          </p:cNvSpPr>
          <p:nvPr>
            <p:ph type="body" sz="quarter" idx="25"/>
          </p:nvPr>
        </p:nvSpPr>
        <p:spPr>
          <a:xfrm>
            <a:off x="6220908" y="4334448"/>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6" name="Text Placeholder 2">
            <a:extLst>
              <a:ext uri="{FF2B5EF4-FFF2-40B4-BE49-F238E27FC236}">
                <a16:creationId xmlns:a16="http://schemas.microsoft.com/office/drawing/2014/main" id="{A3DBA3A3-CA1B-4138-8E53-D06E1055AD02}"/>
              </a:ext>
            </a:extLst>
          </p:cNvPr>
          <p:cNvSpPr>
            <a:spLocks noGrp="1"/>
          </p:cNvSpPr>
          <p:nvPr>
            <p:ph type="body" sz="quarter" idx="26"/>
          </p:nvPr>
        </p:nvSpPr>
        <p:spPr>
          <a:xfrm>
            <a:off x="6124338" y="470484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7" name="Text Placeholder 2">
            <a:extLst>
              <a:ext uri="{FF2B5EF4-FFF2-40B4-BE49-F238E27FC236}">
                <a16:creationId xmlns:a16="http://schemas.microsoft.com/office/drawing/2014/main" id="{EDB1F10E-B812-4A34-9C0F-A485463046A5}"/>
              </a:ext>
            </a:extLst>
          </p:cNvPr>
          <p:cNvSpPr>
            <a:spLocks noGrp="1"/>
          </p:cNvSpPr>
          <p:nvPr>
            <p:ph type="body" sz="quarter" idx="27"/>
          </p:nvPr>
        </p:nvSpPr>
        <p:spPr>
          <a:xfrm>
            <a:off x="5738058" y="6186441"/>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8" name="Text Placeholder 2">
            <a:extLst>
              <a:ext uri="{FF2B5EF4-FFF2-40B4-BE49-F238E27FC236}">
                <a16:creationId xmlns:a16="http://schemas.microsoft.com/office/drawing/2014/main" id="{BB815B4B-C487-49F3-B33A-2B91219B39D3}"/>
              </a:ext>
            </a:extLst>
          </p:cNvPr>
          <p:cNvSpPr>
            <a:spLocks noGrp="1"/>
          </p:cNvSpPr>
          <p:nvPr>
            <p:ph type="body" sz="quarter" idx="28"/>
          </p:nvPr>
        </p:nvSpPr>
        <p:spPr>
          <a:xfrm>
            <a:off x="5834628" y="5816040"/>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19" name="Oval 70">
            <a:extLst>
              <a:ext uri="{FF2B5EF4-FFF2-40B4-BE49-F238E27FC236}">
                <a16:creationId xmlns:a16="http://schemas.microsoft.com/office/drawing/2014/main" id="{40B5A312-D35E-4333-9A1A-D06912EBFE05}"/>
              </a:ext>
            </a:extLst>
          </p:cNvPr>
          <p:cNvSpPr>
            <a:spLocks noChangeAspect="1"/>
          </p:cNvSpPr>
          <p:nvPr userDrawn="1"/>
        </p:nvSpPr>
        <p:spPr>
          <a:xfrm>
            <a:off x="6592375" y="92858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dirty="0">
                <a:solidFill>
                  <a:schemeClr val="tx1">
                    <a:lumMod val="50000"/>
                  </a:schemeClr>
                </a:solidFill>
                <a:latin typeface="Arial" panose="020B0604020202020204" pitchFamily="34" charset="0"/>
                <a:cs typeface="Arial" panose="020B0604020202020204" pitchFamily="34" charset="0"/>
              </a:rPr>
              <a:t>1</a:t>
            </a:r>
          </a:p>
        </p:txBody>
      </p:sp>
      <p:sp>
        <p:nvSpPr>
          <p:cNvPr id="20" name="Oval 71">
            <a:extLst>
              <a:ext uri="{FF2B5EF4-FFF2-40B4-BE49-F238E27FC236}">
                <a16:creationId xmlns:a16="http://schemas.microsoft.com/office/drawing/2014/main" id="{62B45719-3C96-4A8B-96F1-3EE553F2C9DB}"/>
              </a:ext>
            </a:extLst>
          </p:cNvPr>
          <p:cNvSpPr>
            <a:spLocks noChangeAspect="1"/>
          </p:cNvSpPr>
          <p:nvPr userDrawn="1"/>
        </p:nvSpPr>
        <p:spPr>
          <a:xfrm>
            <a:off x="6493749" y="1298986"/>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2</a:t>
            </a:r>
          </a:p>
        </p:txBody>
      </p:sp>
      <p:sp>
        <p:nvSpPr>
          <p:cNvPr id="21" name="Oval 13">
            <a:extLst>
              <a:ext uri="{FF2B5EF4-FFF2-40B4-BE49-F238E27FC236}">
                <a16:creationId xmlns:a16="http://schemas.microsoft.com/office/drawing/2014/main" id="{5429BF70-C6F1-4DD0-A49F-62B9F3268794}"/>
              </a:ext>
            </a:extLst>
          </p:cNvPr>
          <p:cNvSpPr>
            <a:spLocks noChangeAspect="1"/>
          </p:cNvSpPr>
          <p:nvPr userDrawn="1"/>
        </p:nvSpPr>
        <p:spPr>
          <a:xfrm>
            <a:off x="6395122" y="1669384"/>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3</a:t>
            </a:r>
          </a:p>
        </p:txBody>
      </p:sp>
      <p:sp>
        <p:nvSpPr>
          <p:cNvPr id="22" name="Oval 16">
            <a:extLst>
              <a:ext uri="{FF2B5EF4-FFF2-40B4-BE49-F238E27FC236}">
                <a16:creationId xmlns:a16="http://schemas.microsoft.com/office/drawing/2014/main" id="{B7CD9936-52F6-4AAC-97EE-28620215C01D}"/>
              </a:ext>
            </a:extLst>
          </p:cNvPr>
          <p:cNvSpPr>
            <a:spLocks noChangeAspect="1"/>
          </p:cNvSpPr>
          <p:nvPr userDrawn="1"/>
        </p:nvSpPr>
        <p:spPr>
          <a:xfrm>
            <a:off x="6296495" y="2039782"/>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4</a:t>
            </a:r>
          </a:p>
        </p:txBody>
      </p:sp>
      <p:sp>
        <p:nvSpPr>
          <p:cNvPr id="23" name="Oval 19">
            <a:extLst>
              <a:ext uri="{FF2B5EF4-FFF2-40B4-BE49-F238E27FC236}">
                <a16:creationId xmlns:a16="http://schemas.microsoft.com/office/drawing/2014/main" id="{62500DA2-DC54-4406-80C5-E3AE004AE5C6}"/>
              </a:ext>
            </a:extLst>
          </p:cNvPr>
          <p:cNvSpPr>
            <a:spLocks noChangeAspect="1"/>
          </p:cNvSpPr>
          <p:nvPr userDrawn="1"/>
        </p:nvSpPr>
        <p:spPr>
          <a:xfrm>
            <a:off x="6197868" y="2410180"/>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x-none" sz="1600" b="1">
                <a:solidFill>
                  <a:schemeClr val="tx1">
                    <a:lumMod val="50000"/>
                  </a:schemeClr>
                </a:solidFill>
                <a:latin typeface="Arial" panose="020B0604020202020204" pitchFamily="34" charset="0"/>
                <a:cs typeface="Arial" panose="020B0604020202020204" pitchFamily="34" charset="0"/>
              </a:rPr>
              <a:t>5</a:t>
            </a:r>
          </a:p>
        </p:txBody>
      </p:sp>
      <p:sp>
        <p:nvSpPr>
          <p:cNvPr id="24" name="Oval 19">
            <a:extLst>
              <a:ext uri="{FF2B5EF4-FFF2-40B4-BE49-F238E27FC236}">
                <a16:creationId xmlns:a16="http://schemas.microsoft.com/office/drawing/2014/main" id="{4AB6D32E-36D0-4EC1-A743-CEB1B61830F2}"/>
              </a:ext>
            </a:extLst>
          </p:cNvPr>
          <p:cNvSpPr>
            <a:spLocks noChangeAspect="1"/>
          </p:cNvSpPr>
          <p:nvPr userDrawn="1"/>
        </p:nvSpPr>
        <p:spPr>
          <a:xfrm>
            <a:off x="5901987" y="3521374"/>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8</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25" name="Oval 19">
            <a:extLst>
              <a:ext uri="{FF2B5EF4-FFF2-40B4-BE49-F238E27FC236}">
                <a16:creationId xmlns:a16="http://schemas.microsoft.com/office/drawing/2014/main" id="{F1AB4992-4B6B-4A6F-A3CE-2DD47E23A5F7}"/>
              </a:ext>
            </a:extLst>
          </p:cNvPr>
          <p:cNvSpPr>
            <a:spLocks noChangeAspect="1"/>
          </p:cNvSpPr>
          <p:nvPr userDrawn="1"/>
        </p:nvSpPr>
        <p:spPr>
          <a:xfrm>
            <a:off x="6099241" y="278057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6</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26" name="Oval 19">
            <a:extLst>
              <a:ext uri="{FF2B5EF4-FFF2-40B4-BE49-F238E27FC236}">
                <a16:creationId xmlns:a16="http://schemas.microsoft.com/office/drawing/2014/main" id="{52DB280A-23A5-4263-BC7D-9345C892C67B}"/>
              </a:ext>
            </a:extLst>
          </p:cNvPr>
          <p:cNvSpPr>
            <a:spLocks noChangeAspect="1"/>
          </p:cNvSpPr>
          <p:nvPr userDrawn="1"/>
        </p:nvSpPr>
        <p:spPr>
          <a:xfrm>
            <a:off x="6000614" y="3150976"/>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7</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27" name="Oval 19">
            <a:extLst>
              <a:ext uri="{FF2B5EF4-FFF2-40B4-BE49-F238E27FC236}">
                <a16:creationId xmlns:a16="http://schemas.microsoft.com/office/drawing/2014/main" id="{66416430-ECCB-4819-A4FF-3DAF31BE1EE2}"/>
              </a:ext>
            </a:extLst>
          </p:cNvPr>
          <p:cNvSpPr>
            <a:spLocks noChangeAspect="1"/>
          </p:cNvSpPr>
          <p:nvPr userDrawn="1"/>
        </p:nvSpPr>
        <p:spPr>
          <a:xfrm>
            <a:off x="5704733" y="4262170"/>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spc="-150" baseline="0" dirty="0">
                <a:solidFill>
                  <a:schemeClr val="tx1">
                    <a:lumMod val="50000"/>
                  </a:schemeClr>
                </a:solidFill>
                <a:latin typeface="Arial" panose="020B0604020202020204" pitchFamily="34" charset="0"/>
                <a:cs typeface="Arial" panose="020B0604020202020204" pitchFamily="34" charset="0"/>
              </a:rPr>
              <a:t>10</a:t>
            </a:r>
            <a:endParaRPr lang="x-none" sz="1600" b="1" spc="-150" baseline="0" dirty="0">
              <a:solidFill>
                <a:schemeClr val="tx1">
                  <a:lumMod val="50000"/>
                </a:schemeClr>
              </a:solidFill>
              <a:latin typeface="Arial" panose="020B0604020202020204" pitchFamily="34" charset="0"/>
              <a:cs typeface="Arial" panose="020B0604020202020204" pitchFamily="34" charset="0"/>
            </a:endParaRPr>
          </a:p>
        </p:txBody>
      </p:sp>
      <p:sp>
        <p:nvSpPr>
          <p:cNvPr id="28" name="Oval 19">
            <a:extLst>
              <a:ext uri="{FF2B5EF4-FFF2-40B4-BE49-F238E27FC236}">
                <a16:creationId xmlns:a16="http://schemas.microsoft.com/office/drawing/2014/main" id="{61651642-16E4-4DDC-9D27-DA32A3F6D5AB}"/>
              </a:ext>
            </a:extLst>
          </p:cNvPr>
          <p:cNvSpPr>
            <a:spLocks noChangeAspect="1"/>
          </p:cNvSpPr>
          <p:nvPr userDrawn="1"/>
        </p:nvSpPr>
        <p:spPr>
          <a:xfrm>
            <a:off x="5803360" y="3891772"/>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9</a:t>
            </a:r>
            <a:endParaRPr lang="x-none" sz="1600" b="1">
              <a:solidFill>
                <a:schemeClr val="tx1">
                  <a:lumMod val="50000"/>
                </a:schemeClr>
              </a:solidFill>
              <a:latin typeface="Arial" panose="020B0604020202020204" pitchFamily="34" charset="0"/>
              <a:cs typeface="Arial" panose="020B0604020202020204" pitchFamily="34" charset="0"/>
            </a:endParaRPr>
          </a:p>
        </p:txBody>
      </p:sp>
      <p:sp>
        <p:nvSpPr>
          <p:cNvPr id="30" name="Text Placeholder 2">
            <a:extLst>
              <a:ext uri="{FF2B5EF4-FFF2-40B4-BE49-F238E27FC236}">
                <a16:creationId xmlns:a16="http://schemas.microsoft.com/office/drawing/2014/main" id="{1CEF41E1-0E7D-47F9-A8FF-D47B5B4F6861}"/>
              </a:ext>
            </a:extLst>
          </p:cNvPr>
          <p:cNvSpPr>
            <a:spLocks noGrp="1"/>
          </p:cNvSpPr>
          <p:nvPr>
            <p:ph type="body" sz="quarter" idx="29" hasCustomPrompt="1"/>
          </p:nvPr>
        </p:nvSpPr>
        <p:spPr>
          <a:xfrm>
            <a:off x="10143686" y="2112060"/>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1" name="Text Placeholder 2">
            <a:extLst>
              <a:ext uri="{FF2B5EF4-FFF2-40B4-BE49-F238E27FC236}">
                <a16:creationId xmlns:a16="http://schemas.microsoft.com/office/drawing/2014/main" id="{7DFC7892-9F85-4B21-8ED5-B3D3DF225F90}"/>
              </a:ext>
            </a:extLst>
          </p:cNvPr>
          <p:cNvSpPr>
            <a:spLocks noGrp="1"/>
          </p:cNvSpPr>
          <p:nvPr>
            <p:ph type="body" sz="quarter" idx="30" hasCustomPrompt="1"/>
          </p:nvPr>
        </p:nvSpPr>
        <p:spPr>
          <a:xfrm>
            <a:off x="10047029" y="2482458"/>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2" name="Text Placeholder 2">
            <a:extLst>
              <a:ext uri="{FF2B5EF4-FFF2-40B4-BE49-F238E27FC236}">
                <a16:creationId xmlns:a16="http://schemas.microsoft.com/office/drawing/2014/main" id="{1A5EAECB-FE63-4351-9BF7-A5689AB54299}"/>
              </a:ext>
            </a:extLst>
          </p:cNvPr>
          <p:cNvSpPr>
            <a:spLocks noGrp="1"/>
          </p:cNvSpPr>
          <p:nvPr>
            <p:ph type="body" sz="quarter" idx="31" hasCustomPrompt="1"/>
          </p:nvPr>
        </p:nvSpPr>
        <p:spPr>
          <a:xfrm>
            <a:off x="9950372" y="285285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3" name="Text Placeholder 2">
            <a:extLst>
              <a:ext uri="{FF2B5EF4-FFF2-40B4-BE49-F238E27FC236}">
                <a16:creationId xmlns:a16="http://schemas.microsoft.com/office/drawing/2014/main" id="{DF2892F6-2C10-4C31-A7CC-0EA787ECEB04}"/>
              </a:ext>
            </a:extLst>
          </p:cNvPr>
          <p:cNvSpPr>
            <a:spLocks noGrp="1"/>
          </p:cNvSpPr>
          <p:nvPr>
            <p:ph type="body" sz="quarter" idx="32" hasCustomPrompt="1"/>
          </p:nvPr>
        </p:nvSpPr>
        <p:spPr>
          <a:xfrm>
            <a:off x="9853715" y="3223254"/>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4" name="Text Placeholder 2">
            <a:extLst>
              <a:ext uri="{FF2B5EF4-FFF2-40B4-BE49-F238E27FC236}">
                <a16:creationId xmlns:a16="http://schemas.microsoft.com/office/drawing/2014/main" id="{2EA89152-FEDF-40B5-87A0-752E2012D470}"/>
              </a:ext>
            </a:extLst>
          </p:cNvPr>
          <p:cNvSpPr>
            <a:spLocks noGrp="1"/>
          </p:cNvSpPr>
          <p:nvPr>
            <p:ph type="body" sz="quarter" idx="33" hasCustomPrompt="1"/>
          </p:nvPr>
        </p:nvSpPr>
        <p:spPr>
          <a:xfrm>
            <a:off x="9757058" y="3593652"/>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5" name="Text Placeholder 2">
            <a:extLst>
              <a:ext uri="{FF2B5EF4-FFF2-40B4-BE49-F238E27FC236}">
                <a16:creationId xmlns:a16="http://schemas.microsoft.com/office/drawing/2014/main" id="{08BCE334-1A2F-463C-A912-555EC893426B}"/>
              </a:ext>
            </a:extLst>
          </p:cNvPr>
          <p:cNvSpPr>
            <a:spLocks noGrp="1"/>
          </p:cNvSpPr>
          <p:nvPr>
            <p:ph type="body" sz="quarter" idx="34" hasCustomPrompt="1"/>
          </p:nvPr>
        </p:nvSpPr>
        <p:spPr>
          <a:xfrm>
            <a:off x="9370430" y="5075244"/>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6" name="Text Placeholder 2">
            <a:extLst>
              <a:ext uri="{FF2B5EF4-FFF2-40B4-BE49-F238E27FC236}">
                <a16:creationId xmlns:a16="http://schemas.microsoft.com/office/drawing/2014/main" id="{80357ADD-AADE-4912-8F06-39E3ED26AB35}"/>
              </a:ext>
            </a:extLst>
          </p:cNvPr>
          <p:cNvSpPr>
            <a:spLocks noGrp="1"/>
          </p:cNvSpPr>
          <p:nvPr>
            <p:ph type="body" sz="quarter" idx="35" hasCustomPrompt="1"/>
          </p:nvPr>
        </p:nvSpPr>
        <p:spPr>
          <a:xfrm>
            <a:off x="9563744" y="4334448"/>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7" name="Text Placeholder 2">
            <a:extLst>
              <a:ext uri="{FF2B5EF4-FFF2-40B4-BE49-F238E27FC236}">
                <a16:creationId xmlns:a16="http://schemas.microsoft.com/office/drawing/2014/main" id="{FA1CB3C5-CA7F-4479-888D-650022ECA215}"/>
              </a:ext>
            </a:extLst>
          </p:cNvPr>
          <p:cNvSpPr>
            <a:spLocks noGrp="1"/>
          </p:cNvSpPr>
          <p:nvPr>
            <p:ph type="body" sz="quarter" idx="36" hasCustomPrompt="1"/>
          </p:nvPr>
        </p:nvSpPr>
        <p:spPr>
          <a:xfrm>
            <a:off x="9467087" y="470484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8" name="Text Placeholder 2">
            <a:extLst>
              <a:ext uri="{FF2B5EF4-FFF2-40B4-BE49-F238E27FC236}">
                <a16:creationId xmlns:a16="http://schemas.microsoft.com/office/drawing/2014/main" id="{05C8E654-ACE8-4E79-B947-A30ED161703F}"/>
              </a:ext>
            </a:extLst>
          </p:cNvPr>
          <p:cNvSpPr>
            <a:spLocks noGrp="1"/>
          </p:cNvSpPr>
          <p:nvPr>
            <p:ph type="body" sz="quarter" idx="37" hasCustomPrompt="1"/>
          </p:nvPr>
        </p:nvSpPr>
        <p:spPr>
          <a:xfrm>
            <a:off x="9080459" y="6186441"/>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39" name="Text Placeholder 2">
            <a:extLst>
              <a:ext uri="{FF2B5EF4-FFF2-40B4-BE49-F238E27FC236}">
                <a16:creationId xmlns:a16="http://schemas.microsoft.com/office/drawing/2014/main" id="{592AFA37-3019-4E96-B708-2C58EDD4B37E}"/>
              </a:ext>
            </a:extLst>
          </p:cNvPr>
          <p:cNvSpPr>
            <a:spLocks noGrp="1"/>
          </p:cNvSpPr>
          <p:nvPr>
            <p:ph type="body" sz="quarter" idx="38" hasCustomPrompt="1"/>
          </p:nvPr>
        </p:nvSpPr>
        <p:spPr>
          <a:xfrm>
            <a:off x="9177116" y="5816040"/>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40" name="Oval 19">
            <a:extLst>
              <a:ext uri="{FF2B5EF4-FFF2-40B4-BE49-F238E27FC236}">
                <a16:creationId xmlns:a16="http://schemas.microsoft.com/office/drawing/2014/main" id="{47B5EEB9-96A5-4D28-8687-2941A53C5839}"/>
              </a:ext>
            </a:extLst>
          </p:cNvPr>
          <p:cNvSpPr>
            <a:spLocks noChangeAspect="1"/>
          </p:cNvSpPr>
          <p:nvPr userDrawn="1"/>
        </p:nvSpPr>
        <p:spPr>
          <a:xfrm>
            <a:off x="5408852" y="5373364"/>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13</a:t>
            </a:r>
            <a:endParaRPr lang="x-none" sz="1600" b="1" dirty="0">
              <a:solidFill>
                <a:schemeClr val="tx1">
                  <a:lumMod val="50000"/>
                </a:schemeClr>
              </a:solidFill>
              <a:latin typeface="Arial" panose="020B0604020202020204" pitchFamily="34" charset="0"/>
              <a:cs typeface="Arial" panose="020B0604020202020204" pitchFamily="34" charset="0"/>
            </a:endParaRPr>
          </a:p>
        </p:txBody>
      </p:sp>
      <p:sp>
        <p:nvSpPr>
          <p:cNvPr id="41" name="Oval 19">
            <a:extLst>
              <a:ext uri="{FF2B5EF4-FFF2-40B4-BE49-F238E27FC236}">
                <a16:creationId xmlns:a16="http://schemas.microsoft.com/office/drawing/2014/main" id="{3E1FF108-B304-4A39-8BA1-991DAFC076CD}"/>
              </a:ext>
            </a:extLst>
          </p:cNvPr>
          <p:cNvSpPr>
            <a:spLocks noChangeAspect="1"/>
          </p:cNvSpPr>
          <p:nvPr userDrawn="1"/>
        </p:nvSpPr>
        <p:spPr>
          <a:xfrm>
            <a:off x="5606106" y="4632568"/>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11</a:t>
            </a:r>
            <a:endParaRPr lang="x-none" sz="1600" b="1" dirty="0">
              <a:solidFill>
                <a:schemeClr val="tx1">
                  <a:lumMod val="50000"/>
                </a:schemeClr>
              </a:solidFill>
              <a:latin typeface="Arial" panose="020B0604020202020204" pitchFamily="34" charset="0"/>
              <a:cs typeface="Arial" panose="020B0604020202020204" pitchFamily="34" charset="0"/>
            </a:endParaRPr>
          </a:p>
        </p:txBody>
      </p:sp>
      <p:sp>
        <p:nvSpPr>
          <p:cNvPr id="42" name="Oval 19">
            <a:extLst>
              <a:ext uri="{FF2B5EF4-FFF2-40B4-BE49-F238E27FC236}">
                <a16:creationId xmlns:a16="http://schemas.microsoft.com/office/drawing/2014/main" id="{2DFF95FB-B514-448E-B0A5-01B04C69D610}"/>
              </a:ext>
            </a:extLst>
          </p:cNvPr>
          <p:cNvSpPr>
            <a:spLocks noChangeAspect="1"/>
          </p:cNvSpPr>
          <p:nvPr userDrawn="1"/>
        </p:nvSpPr>
        <p:spPr>
          <a:xfrm>
            <a:off x="5507479" y="5002966"/>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12</a:t>
            </a:r>
            <a:endParaRPr lang="x-none" sz="1600" b="1" dirty="0">
              <a:solidFill>
                <a:schemeClr val="tx1">
                  <a:lumMod val="50000"/>
                </a:schemeClr>
              </a:solidFill>
              <a:latin typeface="Arial" panose="020B0604020202020204" pitchFamily="34" charset="0"/>
              <a:cs typeface="Arial" panose="020B0604020202020204" pitchFamily="34" charset="0"/>
            </a:endParaRPr>
          </a:p>
        </p:txBody>
      </p:sp>
      <p:sp>
        <p:nvSpPr>
          <p:cNvPr id="43" name="Oval 19">
            <a:extLst>
              <a:ext uri="{FF2B5EF4-FFF2-40B4-BE49-F238E27FC236}">
                <a16:creationId xmlns:a16="http://schemas.microsoft.com/office/drawing/2014/main" id="{8257FC03-96D4-42DB-A0A2-5DAB2A70E022}"/>
              </a:ext>
            </a:extLst>
          </p:cNvPr>
          <p:cNvSpPr>
            <a:spLocks noChangeAspect="1"/>
          </p:cNvSpPr>
          <p:nvPr userDrawn="1"/>
        </p:nvSpPr>
        <p:spPr>
          <a:xfrm>
            <a:off x="5211598" y="6114163"/>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spc="-150" baseline="0" dirty="0">
                <a:solidFill>
                  <a:schemeClr val="tx1">
                    <a:lumMod val="50000"/>
                  </a:schemeClr>
                </a:solidFill>
                <a:latin typeface="Arial" panose="020B0604020202020204" pitchFamily="34" charset="0"/>
                <a:cs typeface="Arial" panose="020B0604020202020204" pitchFamily="34" charset="0"/>
              </a:rPr>
              <a:t>15</a:t>
            </a:r>
            <a:endParaRPr lang="x-none" sz="1600" b="1" spc="-150" baseline="0" dirty="0">
              <a:solidFill>
                <a:schemeClr val="tx1">
                  <a:lumMod val="50000"/>
                </a:schemeClr>
              </a:solidFill>
              <a:latin typeface="Arial" panose="020B0604020202020204" pitchFamily="34" charset="0"/>
              <a:cs typeface="Arial" panose="020B0604020202020204" pitchFamily="34" charset="0"/>
            </a:endParaRPr>
          </a:p>
        </p:txBody>
      </p:sp>
      <p:sp>
        <p:nvSpPr>
          <p:cNvPr id="44" name="Oval 19">
            <a:extLst>
              <a:ext uri="{FF2B5EF4-FFF2-40B4-BE49-F238E27FC236}">
                <a16:creationId xmlns:a16="http://schemas.microsoft.com/office/drawing/2014/main" id="{162A0EF4-112F-4624-832A-EDEA06B358A0}"/>
              </a:ext>
            </a:extLst>
          </p:cNvPr>
          <p:cNvSpPr>
            <a:spLocks noChangeAspect="1"/>
          </p:cNvSpPr>
          <p:nvPr userDrawn="1"/>
        </p:nvSpPr>
        <p:spPr>
          <a:xfrm>
            <a:off x="5310225" y="5743762"/>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lumMod val="50000"/>
                  </a:schemeClr>
                </a:solidFill>
                <a:latin typeface="Arial" panose="020B0604020202020204" pitchFamily="34" charset="0"/>
                <a:cs typeface="Arial" panose="020B0604020202020204" pitchFamily="34" charset="0"/>
              </a:rPr>
              <a:t>14</a:t>
            </a:r>
            <a:endParaRPr lang="x-none" sz="1600" b="1" dirty="0">
              <a:solidFill>
                <a:schemeClr val="tx1">
                  <a:lumMod val="50000"/>
                </a:schemeClr>
              </a:solidFill>
              <a:latin typeface="Arial" panose="020B0604020202020204" pitchFamily="34" charset="0"/>
              <a:cs typeface="Arial" panose="020B0604020202020204" pitchFamily="34" charset="0"/>
            </a:endParaRPr>
          </a:p>
        </p:txBody>
      </p:sp>
      <p:sp>
        <p:nvSpPr>
          <p:cNvPr id="45" name="Text Placeholder 2">
            <a:extLst>
              <a:ext uri="{FF2B5EF4-FFF2-40B4-BE49-F238E27FC236}">
                <a16:creationId xmlns:a16="http://schemas.microsoft.com/office/drawing/2014/main" id="{A9F87758-7DDA-4B42-B537-50B6CFDD65A2}"/>
              </a:ext>
            </a:extLst>
          </p:cNvPr>
          <p:cNvSpPr>
            <a:spLocks noGrp="1"/>
          </p:cNvSpPr>
          <p:nvPr>
            <p:ph type="body" sz="quarter" idx="39"/>
          </p:nvPr>
        </p:nvSpPr>
        <p:spPr>
          <a:xfrm>
            <a:off x="7090044" y="1000866"/>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6" name="Text Placeholder 2">
            <a:extLst>
              <a:ext uri="{FF2B5EF4-FFF2-40B4-BE49-F238E27FC236}">
                <a16:creationId xmlns:a16="http://schemas.microsoft.com/office/drawing/2014/main" id="{97FD4CF4-607B-462E-9A77-D7E6988B1815}"/>
              </a:ext>
            </a:extLst>
          </p:cNvPr>
          <p:cNvSpPr>
            <a:spLocks noGrp="1"/>
          </p:cNvSpPr>
          <p:nvPr>
            <p:ph type="body" sz="quarter" idx="40" hasCustomPrompt="1"/>
          </p:nvPr>
        </p:nvSpPr>
        <p:spPr>
          <a:xfrm>
            <a:off x="10433657" y="1000866"/>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47" name="Text Placeholder 2">
            <a:extLst>
              <a:ext uri="{FF2B5EF4-FFF2-40B4-BE49-F238E27FC236}">
                <a16:creationId xmlns:a16="http://schemas.microsoft.com/office/drawing/2014/main" id="{59E7D75E-1940-4F6E-A2B5-1B607B1FD8FC}"/>
              </a:ext>
            </a:extLst>
          </p:cNvPr>
          <p:cNvSpPr>
            <a:spLocks noGrp="1"/>
          </p:cNvSpPr>
          <p:nvPr>
            <p:ph type="body" sz="quarter" idx="41"/>
          </p:nvPr>
        </p:nvSpPr>
        <p:spPr>
          <a:xfrm>
            <a:off x="6993468" y="1371264"/>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48" name="Text Placeholder 2">
            <a:extLst>
              <a:ext uri="{FF2B5EF4-FFF2-40B4-BE49-F238E27FC236}">
                <a16:creationId xmlns:a16="http://schemas.microsoft.com/office/drawing/2014/main" id="{C0FC9F94-A57D-40E0-83A8-E84B2032579E}"/>
              </a:ext>
            </a:extLst>
          </p:cNvPr>
          <p:cNvSpPr>
            <a:spLocks noGrp="1"/>
          </p:cNvSpPr>
          <p:nvPr>
            <p:ph type="body" sz="quarter" idx="42" hasCustomPrompt="1"/>
          </p:nvPr>
        </p:nvSpPr>
        <p:spPr>
          <a:xfrm>
            <a:off x="10337000" y="1371264"/>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49" name="Text Placeholder 2">
            <a:extLst>
              <a:ext uri="{FF2B5EF4-FFF2-40B4-BE49-F238E27FC236}">
                <a16:creationId xmlns:a16="http://schemas.microsoft.com/office/drawing/2014/main" id="{73C33C91-D3AC-473E-8831-345F475481C2}"/>
              </a:ext>
            </a:extLst>
          </p:cNvPr>
          <p:cNvSpPr>
            <a:spLocks noGrp="1"/>
          </p:cNvSpPr>
          <p:nvPr>
            <p:ph type="body" sz="quarter" idx="43"/>
          </p:nvPr>
        </p:nvSpPr>
        <p:spPr>
          <a:xfrm>
            <a:off x="6896898" y="1741662"/>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50" name="Text Placeholder 2">
            <a:extLst>
              <a:ext uri="{FF2B5EF4-FFF2-40B4-BE49-F238E27FC236}">
                <a16:creationId xmlns:a16="http://schemas.microsoft.com/office/drawing/2014/main" id="{7076B810-74A4-4B3D-A835-4C3621B6DED7}"/>
              </a:ext>
            </a:extLst>
          </p:cNvPr>
          <p:cNvSpPr>
            <a:spLocks noGrp="1"/>
          </p:cNvSpPr>
          <p:nvPr>
            <p:ph type="body" sz="quarter" idx="44" hasCustomPrompt="1"/>
          </p:nvPr>
        </p:nvSpPr>
        <p:spPr>
          <a:xfrm>
            <a:off x="10240343" y="1741662"/>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51" name="Text Placeholder 2">
            <a:extLst>
              <a:ext uri="{FF2B5EF4-FFF2-40B4-BE49-F238E27FC236}">
                <a16:creationId xmlns:a16="http://schemas.microsoft.com/office/drawing/2014/main" id="{2C7D379D-38E0-4E6C-988C-4FB784704B20}"/>
              </a:ext>
            </a:extLst>
          </p:cNvPr>
          <p:cNvSpPr>
            <a:spLocks noGrp="1"/>
          </p:cNvSpPr>
          <p:nvPr>
            <p:ph type="body" sz="quarter" idx="45"/>
          </p:nvPr>
        </p:nvSpPr>
        <p:spPr>
          <a:xfrm>
            <a:off x="6317478" y="3964050"/>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52" name="Text Placeholder 2">
            <a:extLst>
              <a:ext uri="{FF2B5EF4-FFF2-40B4-BE49-F238E27FC236}">
                <a16:creationId xmlns:a16="http://schemas.microsoft.com/office/drawing/2014/main" id="{36C05AD1-0EF0-4832-B87A-EAD15DCB7E0D}"/>
              </a:ext>
            </a:extLst>
          </p:cNvPr>
          <p:cNvSpPr>
            <a:spLocks noGrp="1"/>
          </p:cNvSpPr>
          <p:nvPr>
            <p:ph type="body" sz="quarter" idx="46" hasCustomPrompt="1"/>
          </p:nvPr>
        </p:nvSpPr>
        <p:spPr>
          <a:xfrm>
            <a:off x="9660401" y="3964050"/>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53" name="Text Placeholder 2">
            <a:extLst>
              <a:ext uri="{FF2B5EF4-FFF2-40B4-BE49-F238E27FC236}">
                <a16:creationId xmlns:a16="http://schemas.microsoft.com/office/drawing/2014/main" id="{B7F0CA5D-8D82-498B-8770-9183CAA92A1D}"/>
              </a:ext>
            </a:extLst>
          </p:cNvPr>
          <p:cNvSpPr>
            <a:spLocks noGrp="1"/>
          </p:cNvSpPr>
          <p:nvPr>
            <p:ph type="body" sz="quarter" idx="47"/>
          </p:nvPr>
        </p:nvSpPr>
        <p:spPr>
          <a:xfrm>
            <a:off x="5931198" y="5445642"/>
            <a:ext cx="3332489" cy="215444"/>
          </a:xfrm>
          <a:prstGeom prst="rect">
            <a:avLst/>
          </a:prstGeom>
        </p:spPr>
        <p:txBody>
          <a:bodyPr lIns="0" tIns="0" rIns="0" bIns="0" anchor="ctr">
            <a:spAutoFit/>
          </a:bodyPr>
          <a:lstStyle>
            <a:lvl1pPr>
              <a:defRPr lang="en-GB" sz="1400" b="0" kern="1200" dirty="0" smtClean="0">
                <a:solidFill>
                  <a:schemeClr val="tx1">
                    <a:lumMod val="50000"/>
                  </a:schemeClr>
                </a:solidFill>
                <a:latin typeface="+mj-lt"/>
                <a:ea typeface="+mj-ea"/>
                <a:cs typeface="+mj-cs"/>
              </a:defRPr>
            </a:lvl1pPr>
            <a:lvl2pPr marL="134941" indent="0">
              <a:buNone/>
              <a:defRPr/>
            </a:lvl2pPr>
          </a:lstStyle>
          <a:p>
            <a:pPr lvl="0"/>
            <a:r>
              <a:rPr lang="de-DE"/>
              <a:t>Mastertextformat bearbeiten</a:t>
            </a:r>
          </a:p>
        </p:txBody>
      </p:sp>
      <p:sp>
        <p:nvSpPr>
          <p:cNvPr id="54" name="Text Placeholder 2">
            <a:extLst>
              <a:ext uri="{FF2B5EF4-FFF2-40B4-BE49-F238E27FC236}">
                <a16:creationId xmlns:a16="http://schemas.microsoft.com/office/drawing/2014/main" id="{7B3C29F3-90EE-4AF0-80A4-8EC3143A1B6D}"/>
              </a:ext>
            </a:extLst>
          </p:cNvPr>
          <p:cNvSpPr>
            <a:spLocks noGrp="1"/>
          </p:cNvSpPr>
          <p:nvPr>
            <p:ph type="body" sz="quarter" idx="48" hasCustomPrompt="1"/>
          </p:nvPr>
        </p:nvSpPr>
        <p:spPr>
          <a:xfrm>
            <a:off x="9273773" y="5445642"/>
            <a:ext cx="1139016" cy="215444"/>
          </a:xfrm>
          <a:prstGeom prst="rect">
            <a:avLst/>
          </a:prstGeom>
        </p:spPr>
        <p:txBody>
          <a:bodyPr lIns="0" tIns="0" rIns="0" bIns="0" anchor="ctr">
            <a:spAutoFit/>
          </a:bodyPr>
          <a:lstStyle>
            <a:lvl1pPr algn="r">
              <a:defRPr lang="en-GB" sz="1400" b="0" i="1" kern="1200" dirty="0" smtClean="0">
                <a:solidFill>
                  <a:schemeClr val="tx2">
                    <a:lumMod val="40000"/>
                    <a:lumOff val="60000"/>
                  </a:schemeClr>
                </a:solidFill>
                <a:latin typeface="+mj-lt"/>
                <a:ea typeface="+mj-ea"/>
                <a:cs typeface="+mj-cs"/>
              </a:defRPr>
            </a:lvl1pPr>
            <a:lvl2pPr marL="134941" indent="0">
              <a:buNone/>
              <a:defRPr/>
            </a:lvl2pPr>
          </a:lstStyle>
          <a:p>
            <a:pPr lvl="0"/>
            <a:r>
              <a:rPr lang="en-GB" dirty="0" err="1"/>
              <a:t>Seite</a:t>
            </a:r>
            <a:r>
              <a:rPr lang="en-GB" dirty="0"/>
              <a:t> XY</a:t>
            </a:r>
          </a:p>
        </p:txBody>
      </p:sp>
      <p:sp>
        <p:nvSpPr>
          <p:cNvPr id="77" name="Picture Placeholder 76">
            <a:extLst>
              <a:ext uri="{FF2B5EF4-FFF2-40B4-BE49-F238E27FC236}">
                <a16:creationId xmlns:a16="http://schemas.microsoft.com/office/drawing/2014/main" id="{0DB27F2C-E947-41DE-9E2F-A029F337FE97}"/>
              </a:ext>
            </a:extLst>
          </p:cNvPr>
          <p:cNvSpPr>
            <a:spLocks noGrp="1" noChangeAspect="1"/>
          </p:cNvSpPr>
          <p:nvPr>
            <p:ph type="pic" sz="quarter" idx="12"/>
          </p:nvPr>
        </p:nvSpPr>
        <p:spPr>
          <a:xfrm>
            <a:off x="-3880" y="2"/>
            <a:ext cx="7016939" cy="6857998"/>
          </a:xfrm>
          <a:custGeom>
            <a:avLst/>
            <a:gdLst>
              <a:gd name="connsiteX0" fmla="*/ 936349 w 7016939"/>
              <a:gd name="connsiteY0" fmla="*/ 0 h 6857998"/>
              <a:gd name="connsiteX1" fmla="*/ 7016939 w 7016939"/>
              <a:gd name="connsiteY1" fmla="*/ 0 h 6857998"/>
              <a:gd name="connsiteX2" fmla="*/ 6767744 w 7016939"/>
              <a:gd name="connsiteY2" fmla="*/ 929445 h 6857998"/>
              <a:gd name="connsiteX3" fmla="*/ 6739979 w 7016939"/>
              <a:gd name="connsiteY3" fmla="*/ 932244 h 6857998"/>
              <a:gd name="connsiteX4" fmla="*/ 6596255 w 7016939"/>
              <a:gd name="connsiteY4" fmla="*/ 1108588 h 6857998"/>
              <a:gd name="connsiteX5" fmla="*/ 6648976 w 7016939"/>
              <a:gd name="connsiteY5" fmla="*/ 1235867 h 6857998"/>
              <a:gd name="connsiteX6" fmla="*/ 6679984 w 7016939"/>
              <a:gd name="connsiteY6" fmla="*/ 1256773 h 6857998"/>
              <a:gd name="connsiteX7" fmla="*/ 6668418 w 7016939"/>
              <a:gd name="connsiteY7" fmla="*/ 1299914 h 6857998"/>
              <a:gd name="connsiteX8" fmla="*/ 6641353 w 7016939"/>
              <a:gd name="connsiteY8" fmla="*/ 1302642 h 6857998"/>
              <a:gd name="connsiteX9" fmla="*/ 6497629 w 7016939"/>
              <a:gd name="connsiteY9" fmla="*/ 1478985 h 6857998"/>
              <a:gd name="connsiteX10" fmla="*/ 6550350 w 7016939"/>
              <a:gd name="connsiteY10" fmla="*/ 1606265 h 6857998"/>
              <a:gd name="connsiteX11" fmla="*/ 6580781 w 7016939"/>
              <a:gd name="connsiteY11" fmla="*/ 1626782 h 6857998"/>
              <a:gd name="connsiteX12" fmla="*/ 6569091 w 7016939"/>
              <a:gd name="connsiteY12" fmla="*/ 1670383 h 6857998"/>
              <a:gd name="connsiteX13" fmla="*/ 6542726 w 7016939"/>
              <a:gd name="connsiteY13" fmla="*/ 1673040 h 6857998"/>
              <a:gd name="connsiteX14" fmla="*/ 6399002 w 7016939"/>
              <a:gd name="connsiteY14" fmla="*/ 1849384 h 6857998"/>
              <a:gd name="connsiteX15" fmla="*/ 6451723 w 7016939"/>
              <a:gd name="connsiteY15" fmla="*/ 1976663 h 6857998"/>
              <a:gd name="connsiteX16" fmla="*/ 6481577 w 7016939"/>
              <a:gd name="connsiteY16" fmla="*/ 1996791 h 6857998"/>
              <a:gd name="connsiteX17" fmla="*/ 6469764 w 7016939"/>
              <a:gd name="connsiteY17" fmla="*/ 2040851 h 6857998"/>
              <a:gd name="connsiteX18" fmla="*/ 6444099 w 7016939"/>
              <a:gd name="connsiteY18" fmla="*/ 2043438 h 6857998"/>
              <a:gd name="connsiteX19" fmla="*/ 6300375 w 7016939"/>
              <a:gd name="connsiteY19" fmla="*/ 2219781 h 6857998"/>
              <a:gd name="connsiteX20" fmla="*/ 6353096 w 7016939"/>
              <a:gd name="connsiteY20" fmla="*/ 2347061 h 6857998"/>
              <a:gd name="connsiteX21" fmla="*/ 6382374 w 7016939"/>
              <a:gd name="connsiteY21" fmla="*/ 2366800 h 6857998"/>
              <a:gd name="connsiteX22" fmla="*/ 6370438 w 7016939"/>
              <a:gd name="connsiteY22" fmla="*/ 2411319 h 6857998"/>
              <a:gd name="connsiteX23" fmla="*/ 6345472 w 7016939"/>
              <a:gd name="connsiteY23" fmla="*/ 2413836 h 6857998"/>
              <a:gd name="connsiteX24" fmla="*/ 6201748 w 7016939"/>
              <a:gd name="connsiteY24" fmla="*/ 2590179 h 6857998"/>
              <a:gd name="connsiteX25" fmla="*/ 6254469 w 7016939"/>
              <a:gd name="connsiteY25" fmla="*/ 2717458 h 6857998"/>
              <a:gd name="connsiteX26" fmla="*/ 6283170 w 7016939"/>
              <a:gd name="connsiteY26" fmla="*/ 2736809 h 6857998"/>
              <a:gd name="connsiteX27" fmla="*/ 6271111 w 7016939"/>
              <a:gd name="connsiteY27" fmla="*/ 2781788 h 6857998"/>
              <a:gd name="connsiteX28" fmla="*/ 6246845 w 7016939"/>
              <a:gd name="connsiteY28" fmla="*/ 2784234 h 6857998"/>
              <a:gd name="connsiteX29" fmla="*/ 6103121 w 7016939"/>
              <a:gd name="connsiteY29" fmla="*/ 2960577 h 6857998"/>
              <a:gd name="connsiteX30" fmla="*/ 6155842 w 7016939"/>
              <a:gd name="connsiteY30" fmla="*/ 3087856 h 6857998"/>
              <a:gd name="connsiteX31" fmla="*/ 6183967 w 7016939"/>
              <a:gd name="connsiteY31" fmla="*/ 3106818 h 6857998"/>
              <a:gd name="connsiteX32" fmla="*/ 6171784 w 7016939"/>
              <a:gd name="connsiteY32" fmla="*/ 3152256 h 6857998"/>
              <a:gd name="connsiteX33" fmla="*/ 6148218 w 7016939"/>
              <a:gd name="connsiteY33" fmla="*/ 3154632 h 6857998"/>
              <a:gd name="connsiteX34" fmla="*/ 6004494 w 7016939"/>
              <a:gd name="connsiteY34" fmla="*/ 3330974 h 6857998"/>
              <a:gd name="connsiteX35" fmla="*/ 6057215 w 7016939"/>
              <a:gd name="connsiteY35" fmla="*/ 3458253 h 6857998"/>
              <a:gd name="connsiteX36" fmla="*/ 6084763 w 7016939"/>
              <a:gd name="connsiteY36" fmla="*/ 3476827 h 6857998"/>
              <a:gd name="connsiteX37" fmla="*/ 6072458 w 7016939"/>
              <a:gd name="connsiteY37" fmla="*/ 3522724 h 6857998"/>
              <a:gd name="connsiteX38" fmla="*/ 6049591 w 7016939"/>
              <a:gd name="connsiteY38" fmla="*/ 3525029 h 6857998"/>
              <a:gd name="connsiteX39" fmla="*/ 5905867 w 7016939"/>
              <a:gd name="connsiteY39" fmla="*/ 3701372 h 6857998"/>
              <a:gd name="connsiteX40" fmla="*/ 5958588 w 7016939"/>
              <a:gd name="connsiteY40" fmla="*/ 3828651 h 6857998"/>
              <a:gd name="connsiteX41" fmla="*/ 5985560 w 7016939"/>
              <a:gd name="connsiteY41" fmla="*/ 3846836 h 6857998"/>
              <a:gd name="connsiteX42" fmla="*/ 5973131 w 7016939"/>
              <a:gd name="connsiteY42" fmla="*/ 3893193 h 6857998"/>
              <a:gd name="connsiteX43" fmla="*/ 5950964 w 7016939"/>
              <a:gd name="connsiteY43" fmla="*/ 3895427 h 6857998"/>
              <a:gd name="connsiteX44" fmla="*/ 5807240 w 7016939"/>
              <a:gd name="connsiteY44" fmla="*/ 4071770 h 6857998"/>
              <a:gd name="connsiteX45" fmla="*/ 5859961 w 7016939"/>
              <a:gd name="connsiteY45" fmla="*/ 4199049 h 6857998"/>
              <a:gd name="connsiteX46" fmla="*/ 5886356 w 7016939"/>
              <a:gd name="connsiteY46" fmla="*/ 4216845 h 6857998"/>
              <a:gd name="connsiteX47" fmla="*/ 5873804 w 7016939"/>
              <a:gd name="connsiteY47" fmla="*/ 4263661 h 6857998"/>
              <a:gd name="connsiteX48" fmla="*/ 5852337 w 7016939"/>
              <a:gd name="connsiteY48" fmla="*/ 4265825 h 6857998"/>
              <a:gd name="connsiteX49" fmla="*/ 5708613 w 7016939"/>
              <a:gd name="connsiteY49" fmla="*/ 4442168 h 6857998"/>
              <a:gd name="connsiteX50" fmla="*/ 5761334 w 7016939"/>
              <a:gd name="connsiteY50" fmla="*/ 4569447 h 6857998"/>
              <a:gd name="connsiteX51" fmla="*/ 5787153 w 7016939"/>
              <a:gd name="connsiteY51" fmla="*/ 4586855 h 6857998"/>
              <a:gd name="connsiteX52" fmla="*/ 5774478 w 7016939"/>
              <a:gd name="connsiteY52" fmla="*/ 4634130 h 6857998"/>
              <a:gd name="connsiteX53" fmla="*/ 5753710 w 7016939"/>
              <a:gd name="connsiteY53" fmla="*/ 4636223 h 6857998"/>
              <a:gd name="connsiteX54" fmla="*/ 5609986 w 7016939"/>
              <a:gd name="connsiteY54" fmla="*/ 4812566 h 6857998"/>
              <a:gd name="connsiteX55" fmla="*/ 5662707 w 7016939"/>
              <a:gd name="connsiteY55" fmla="*/ 4939845 h 6857998"/>
              <a:gd name="connsiteX56" fmla="*/ 5687949 w 7016939"/>
              <a:gd name="connsiteY56" fmla="*/ 4956864 h 6857998"/>
              <a:gd name="connsiteX57" fmla="*/ 5675151 w 7016939"/>
              <a:gd name="connsiteY57" fmla="*/ 5004598 h 6857998"/>
              <a:gd name="connsiteX58" fmla="*/ 5655083 w 7016939"/>
              <a:gd name="connsiteY58" fmla="*/ 5006621 h 6857998"/>
              <a:gd name="connsiteX59" fmla="*/ 5511359 w 7016939"/>
              <a:gd name="connsiteY59" fmla="*/ 5182964 h 6857998"/>
              <a:gd name="connsiteX60" fmla="*/ 5564080 w 7016939"/>
              <a:gd name="connsiteY60" fmla="*/ 5310243 h 6857998"/>
              <a:gd name="connsiteX61" fmla="*/ 5588745 w 7016939"/>
              <a:gd name="connsiteY61" fmla="*/ 5326873 h 6857998"/>
              <a:gd name="connsiteX62" fmla="*/ 5575824 w 7016939"/>
              <a:gd name="connsiteY62" fmla="*/ 5375067 h 6857998"/>
              <a:gd name="connsiteX63" fmla="*/ 5556456 w 7016939"/>
              <a:gd name="connsiteY63" fmla="*/ 5377019 h 6857998"/>
              <a:gd name="connsiteX64" fmla="*/ 5412732 w 7016939"/>
              <a:gd name="connsiteY64" fmla="*/ 5553362 h 6857998"/>
              <a:gd name="connsiteX65" fmla="*/ 5465453 w 7016939"/>
              <a:gd name="connsiteY65" fmla="*/ 5680641 h 6857998"/>
              <a:gd name="connsiteX66" fmla="*/ 5489542 w 7016939"/>
              <a:gd name="connsiteY66" fmla="*/ 5696882 h 6857998"/>
              <a:gd name="connsiteX67" fmla="*/ 5476497 w 7016939"/>
              <a:gd name="connsiteY67" fmla="*/ 5745535 h 6857998"/>
              <a:gd name="connsiteX68" fmla="*/ 5457829 w 7016939"/>
              <a:gd name="connsiteY68" fmla="*/ 5747417 h 6857998"/>
              <a:gd name="connsiteX69" fmla="*/ 5314105 w 7016939"/>
              <a:gd name="connsiteY69" fmla="*/ 5923760 h 6857998"/>
              <a:gd name="connsiteX70" fmla="*/ 5366826 w 7016939"/>
              <a:gd name="connsiteY70" fmla="*/ 6051039 h 6857998"/>
              <a:gd name="connsiteX71" fmla="*/ 5390338 w 7016939"/>
              <a:gd name="connsiteY71" fmla="*/ 6066891 h 6857998"/>
              <a:gd name="connsiteX72" fmla="*/ 5377170 w 7016939"/>
              <a:gd name="connsiteY72" fmla="*/ 6116007 h 6857998"/>
              <a:gd name="connsiteX73" fmla="*/ 5359202 w 7016939"/>
              <a:gd name="connsiteY73" fmla="*/ 6117818 h 6857998"/>
              <a:gd name="connsiteX74" fmla="*/ 5215478 w 7016939"/>
              <a:gd name="connsiteY74" fmla="*/ 6294161 h 6857998"/>
              <a:gd name="connsiteX75" fmla="*/ 5268199 w 7016939"/>
              <a:gd name="connsiteY75" fmla="*/ 6421440 h 6857998"/>
              <a:gd name="connsiteX76" fmla="*/ 5291134 w 7016939"/>
              <a:gd name="connsiteY76" fmla="*/ 6436903 h 6857998"/>
              <a:gd name="connsiteX77" fmla="*/ 5178233 w 7016939"/>
              <a:gd name="connsiteY77" fmla="*/ 6857998 h 6857998"/>
              <a:gd name="connsiteX78" fmla="*/ 0 w 7016939"/>
              <a:gd name="connsiteY78" fmla="*/ 6857998 h 6857998"/>
              <a:gd name="connsiteX79" fmla="*/ 0 w 7016939"/>
              <a:gd name="connsiteY79" fmla="*/ 345225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7016939" h="6857998">
                <a:moveTo>
                  <a:pt x="936349" y="0"/>
                </a:moveTo>
                <a:lnTo>
                  <a:pt x="7016939" y="0"/>
                </a:lnTo>
                <a:lnTo>
                  <a:pt x="6767744" y="929445"/>
                </a:lnTo>
                <a:lnTo>
                  <a:pt x="6739979" y="932244"/>
                </a:lnTo>
                <a:cubicBezTo>
                  <a:pt x="6657956" y="949029"/>
                  <a:pt x="6596255" y="1021603"/>
                  <a:pt x="6596255" y="1108588"/>
                </a:cubicBezTo>
                <a:cubicBezTo>
                  <a:pt x="6596255" y="1158293"/>
                  <a:pt x="6616403" y="1203293"/>
                  <a:pt x="6648976" y="1235867"/>
                </a:cubicBezTo>
                <a:lnTo>
                  <a:pt x="6679984" y="1256773"/>
                </a:lnTo>
                <a:lnTo>
                  <a:pt x="6668418" y="1299914"/>
                </a:lnTo>
                <a:lnTo>
                  <a:pt x="6641353" y="1302642"/>
                </a:lnTo>
                <a:cubicBezTo>
                  <a:pt x="6559330" y="1319427"/>
                  <a:pt x="6497629" y="1392001"/>
                  <a:pt x="6497629" y="1478985"/>
                </a:cubicBezTo>
                <a:cubicBezTo>
                  <a:pt x="6497629" y="1528691"/>
                  <a:pt x="6517777" y="1573691"/>
                  <a:pt x="6550350" y="1606265"/>
                </a:cubicBezTo>
                <a:lnTo>
                  <a:pt x="6580781" y="1626782"/>
                </a:lnTo>
                <a:lnTo>
                  <a:pt x="6569091" y="1670383"/>
                </a:lnTo>
                <a:lnTo>
                  <a:pt x="6542726" y="1673040"/>
                </a:lnTo>
                <a:cubicBezTo>
                  <a:pt x="6460703" y="1689825"/>
                  <a:pt x="6399002" y="1762399"/>
                  <a:pt x="6399002" y="1849384"/>
                </a:cubicBezTo>
                <a:cubicBezTo>
                  <a:pt x="6399002" y="1899089"/>
                  <a:pt x="6419150" y="1944089"/>
                  <a:pt x="6451723" y="1976663"/>
                </a:cubicBezTo>
                <a:lnTo>
                  <a:pt x="6481577" y="1996791"/>
                </a:lnTo>
                <a:lnTo>
                  <a:pt x="6469764" y="2040851"/>
                </a:lnTo>
                <a:lnTo>
                  <a:pt x="6444099" y="2043438"/>
                </a:lnTo>
                <a:cubicBezTo>
                  <a:pt x="6362076" y="2060223"/>
                  <a:pt x="6300375" y="2132797"/>
                  <a:pt x="6300375" y="2219781"/>
                </a:cubicBezTo>
                <a:cubicBezTo>
                  <a:pt x="6300375" y="2269486"/>
                  <a:pt x="6320522" y="2314487"/>
                  <a:pt x="6353096" y="2347061"/>
                </a:cubicBezTo>
                <a:lnTo>
                  <a:pt x="6382374" y="2366800"/>
                </a:lnTo>
                <a:lnTo>
                  <a:pt x="6370438" y="2411319"/>
                </a:lnTo>
                <a:lnTo>
                  <a:pt x="6345472" y="2413836"/>
                </a:lnTo>
                <a:cubicBezTo>
                  <a:pt x="6263449" y="2430620"/>
                  <a:pt x="6201748" y="2503195"/>
                  <a:pt x="6201748" y="2590179"/>
                </a:cubicBezTo>
                <a:cubicBezTo>
                  <a:pt x="6201748" y="2639885"/>
                  <a:pt x="6221896" y="2684884"/>
                  <a:pt x="6254469" y="2717458"/>
                </a:cubicBezTo>
                <a:lnTo>
                  <a:pt x="6283170" y="2736809"/>
                </a:lnTo>
                <a:lnTo>
                  <a:pt x="6271111" y="2781788"/>
                </a:lnTo>
                <a:lnTo>
                  <a:pt x="6246845" y="2784234"/>
                </a:lnTo>
                <a:cubicBezTo>
                  <a:pt x="6164822" y="2801018"/>
                  <a:pt x="6103121" y="2873593"/>
                  <a:pt x="6103121" y="2960577"/>
                </a:cubicBezTo>
                <a:cubicBezTo>
                  <a:pt x="6103121" y="3010283"/>
                  <a:pt x="6123268" y="3055282"/>
                  <a:pt x="6155842" y="3087856"/>
                </a:cubicBezTo>
                <a:lnTo>
                  <a:pt x="6183967" y="3106818"/>
                </a:lnTo>
                <a:lnTo>
                  <a:pt x="6171784" y="3152256"/>
                </a:lnTo>
                <a:lnTo>
                  <a:pt x="6148218" y="3154632"/>
                </a:lnTo>
                <a:cubicBezTo>
                  <a:pt x="6066195" y="3171416"/>
                  <a:pt x="6004494" y="3243990"/>
                  <a:pt x="6004494" y="3330974"/>
                </a:cubicBezTo>
                <a:cubicBezTo>
                  <a:pt x="6004494" y="3380680"/>
                  <a:pt x="6024642" y="3425680"/>
                  <a:pt x="6057215" y="3458253"/>
                </a:cubicBezTo>
                <a:lnTo>
                  <a:pt x="6084763" y="3476827"/>
                </a:lnTo>
                <a:lnTo>
                  <a:pt x="6072458" y="3522724"/>
                </a:lnTo>
                <a:lnTo>
                  <a:pt x="6049591" y="3525029"/>
                </a:lnTo>
                <a:cubicBezTo>
                  <a:pt x="5967568" y="3541813"/>
                  <a:pt x="5905867" y="3614388"/>
                  <a:pt x="5905867" y="3701372"/>
                </a:cubicBezTo>
                <a:cubicBezTo>
                  <a:pt x="5905867" y="3751078"/>
                  <a:pt x="5926015" y="3796078"/>
                  <a:pt x="5958588" y="3828651"/>
                </a:cubicBezTo>
                <a:lnTo>
                  <a:pt x="5985560" y="3846836"/>
                </a:lnTo>
                <a:lnTo>
                  <a:pt x="5973131" y="3893193"/>
                </a:lnTo>
                <a:lnTo>
                  <a:pt x="5950964" y="3895427"/>
                </a:lnTo>
                <a:cubicBezTo>
                  <a:pt x="5868941" y="3912212"/>
                  <a:pt x="5807240" y="3984785"/>
                  <a:pt x="5807240" y="4071770"/>
                </a:cubicBezTo>
                <a:cubicBezTo>
                  <a:pt x="5807240" y="4121476"/>
                  <a:pt x="5827387" y="4166476"/>
                  <a:pt x="5859961" y="4199049"/>
                </a:cubicBezTo>
                <a:lnTo>
                  <a:pt x="5886356" y="4216845"/>
                </a:lnTo>
                <a:lnTo>
                  <a:pt x="5873804" y="4263661"/>
                </a:lnTo>
                <a:lnTo>
                  <a:pt x="5852337" y="4265825"/>
                </a:lnTo>
                <a:cubicBezTo>
                  <a:pt x="5770314" y="4282610"/>
                  <a:pt x="5708613" y="4355184"/>
                  <a:pt x="5708613" y="4442168"/>
                </a:cubicBezTo>
                <a:cubicBezTo>
                  <a:pt x="5708613" y="4491874"/>
                  <a:pt x="5728761" y="4536874"/>
                  <a:pt x="5761334" y="4569447"/>
                </a:cubicBezTo>
                <a:lnTo>
                  <a:pt x="5787153" y="4586855"/>
                </a:lnTo>
                <a:lnTo>
                  <a:pt x="5774478" y="4634130"/>
                </a:lnTo>
                <a:lnTo>
                  <a:pt x="5753710" y="4636223"/>
                </a:lnTo>
                <a:cubicBezTo>
                  <a:pt x="5671687" y="4653008"/>
                  <a:pt x="5609986" y="4725582"/>
                  <a:pt x="5609986" y="4812566"/>
                </a:cubicBezTo>
                <a:cubicBezTo>
                  <a:pt x="5609986" y="4862272"/>
                  <a:pt x="5630133" y="4907272"/>
                  <a:pt x="5662707" y="4939845"/>
                </a:cubicBezTo>
                <a:lnTo>
                  <a:pt x="5687949" y="4956864"/>
                </a:lnTo>
                <a:lnTo>
                  <a:pt x="5675151" y="5004598"/>
                </a:lnTo>
                <a:lnTo>
                  <a:pt x="5655083" y="5006621"/>
                </a:lnTo>
                <a:cubicBezTo>
                  <a:pt x="5573060" y="5023406"/>
                  <a:pt x="5511359" y="5095980"/>
                  <a:pt x="5511359" y="5182964"/>
                </a:cubicBezTo>
                <a:cubicBezTo>
                  <a:pt x="5511359" y="5232670"/>
                  <a:pt x="5531506" y="5277670"/>
                  <a:pt x="5564080" y="5310243"/>
                </a:cubicBezTo>
                <a:lnTo>
                  <a:pt x="5588745" y="5326873"/>
                </a:lnTo>
                <a:lnTo>
                  <a:pt x="5575824" y="5375067"/>
                </a:lnTo>
                <a:lnTo>
                  <a:pt x="5556456" y="5377019"/>
                </a:lnTo>
                <a:cubicBezTo>
                  <a:pt x="5474433" y="5393804"/>
                  <a:pt x="5412732" y="5466378"/>
                  <a:pt x="5412732" y="5553362"/>
                </a:cubicBezTo>
                <a:cubicBezTo>
                  <a:pt x="5412732" y="5603068"/>
                  <a:pt x="5432880" y="5648068"/>
                  <a:pt x="5465453" y="5680641"/>
                </a:cubicBezTo>
                <a:lnTo>
                  <a:pt x="5489542" y="5696882"/>
                </a:lnTo>
                <a:lnTo>
                  <a:pt x="5476497" y="5745535"/>
                </a:lnTo>
                <a:lnTo>
                  <a:pt x="5457829" y="5747417"/>
                </a:lnTo>
                <a:cubicBezTo>
                  <a:pt x="5375806" y="5764202"/>
                  <a:pt x="5314105" y="5836776"/>
                  <a:pt x="5314105" y="5923760"/>
                </a:cubicBezTo>
                <a:cubicBezTo>
                  <a:pt x="5314105" y="5973466"/>
                  <a:pt x="5334253" y="6018466"/>
                  <a:pt x="5366826" y="6051039"/>
                </a:cubicBezTo>
                <a:lnTo>
                  <a:pt x="5390338" y="6066891"/>
                </a:lnTo>
                <a:lnTo>
                  <a:pt x="5377170" y="6116007"/>
                </a:lnTo>
                <a:lnTo>
                  <a:pt x="5359202" y="6117818"/>
                </a:lnTo>
                <a:cubicBezTo>
                  <a:pt x="5277179" y="6134603"/>
                  <a:pt x="5215478" y="6207177"/>
                  <a:pt x="5215478" y="6294161"/>
                </a:cubicBezTo>
                <a:cubicBezTo>
                  <a:pt x="5215478" y="6343867"/>
                  <a:pt x="5235625" y="6388867"/>
                  <a:pt x="5268199" y="6421440"/>
                </a:cubicBezTo>
                <a:lnTo>
                  <a:pt x="5291134" y="6436903"/>
                </a:lnTo>
                <a:lnTo>
                  <a:pt x="5178233" y="6857998"/>
                </a:lnTo>
                <a:lnTo>
                  <a:pt x="0" y="6857998"/>
                </a:lnTo>
                <a:lnTo>
                  <a:pt x="0" y="3452255"/>
                </a:lnTo>
                <a:close/>
              </a:path>
            </a:pathLst>
          </a:custGeom>
        </p:spPr>
        <p:txBody>
          <a:bodyPr wrap="square">
            <a:noAutofit/>
          </a:bodyPr>
          <a:lstStyle/>
          <a:p>
            <a:r>
              <a:rPr lang="de-DE"/>
              <a:t>Bild durch Klicken auf Symbol hinzufügen</a:t>
            </a:r>
            <a:endParaRPr lang="x-none"/>
          </a:p>
        </p:txBody>
      </p:sp>
      <p:sp>
        <p:nvSpPr>
          <p:cNvPr id="4" name="Title 1">
            <a:extLst>
              <a:ext uri="{FF2B5EF4-FFF2-40B4-BE49-F238E27FC236}">
                <a16:creationId xmlns:a16="http://schemas.microsoft.com/office/drawing/2014/main" id="{FE9E9192-EF5A-D185-EB4A-E579675156FB}"/>
              </a:ext>
            </a:extLst>
          </p:cNvPr>
          <p:cNvSpPr>
            <a:spLocks noGrp="1"/>
          </p:cNvSpPr>
          <p:nvPr>
            <p:ph type="title" hasCustomPrompt="1"/>
          </p:nvPr>
        </p:nvSpPr>
        <p:spPr>
          <a:xfrm>
            <a:off x="7361584" y="642950"/>
            <a:ext cx="4525616"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Bericht</a:t>
            </a:r>
            <a:endParaRPr lang="de-DE" dirty="0"/>
          </a:p>
        </p:txBody>
      </p:sp>
      <p:sp>
        <p:nvSpPr>
          <p:cNvPr id="2" name="Text Placeholder 3">
            <a:extLst>
              <a:ext uri="{FF2B5EF4-FFF2-40B4-BE49-F238E27FC236}">
                <a16:creationId xmlns:a16="http://schemas.microsoft.com/office/drawing/2014/main" id="{49A518DF-B9B1-1D55-D82D-FB8257D1C310}"/>
              </a:ext>
            </a:extLst>
          </p:cNvPr>
          <p:cNvSpPr>
            <a:spLocks noGrp="1"/>
          </p:cNvSpPr>
          <p:nvPr>
            <p:ph type="body" sz="quarter" idx="13" hasCustomPrompt="1"/>
          </p:nvPr>
        </p:nvSpPr>
        <p:spPr>
          <a:xfrm>
            <a:off x="7362048"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34154756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6" name="Footer Placeholder 2">
            <a:extLst>
              <a:ext uri="{FF2B5EF4-FFF2-40B4-BE49-F238E27FC236}">
                <a16:creationId xmlns:a16="http://schemas.microsoft.com/office/drawing/2014/main" id="{F314FAD0-168C-4842-B8F2-B067499169EF}"/>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7" name="Slide Number Placeholder 3">
            <a:extLst>
              <a:ext uri="{FF2B5EF4-FFF2-40B4-BE49-F238E27FC236}">
                <a16:creationId xmlns:a16="http://schemas.microsoft.com/office/drawing/2014/main" id="{E17E9FFC-AC81-6E40-8C6F-ACE0ACE8640B}"/>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Tree>
    <p:extLst>
      <p:ext uri="{BB962C8B-B14F-4D97-AF65-F5344CB8AC3E}">
        <p14:creationId xmlns:p14="http://schemas.microsoft.com/office/powerpoint/2010/main" val="5422982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Inhalt | 1 Bild">
    <p:spTree>
      <p:nvGrpSpPr>
        <p:cNvPr id="1" name=""/>
        <p:cNvGrpSpPr/>
        <p:nvPr/>
      </p:nvGrpSpPr>
      <p:grpSpPr>
        <a:xfrm>
          <a:off x="0" y="0"/>
          <a:ext cx="0" cy="0"/>
          <a:chOff x="0" y="0"/>
          <a:chExt cx="0" cy="0"/>
        </a:xfrm>
      </p:grpSpPr>
      <p:sp>
        <p:nvSpPr>
          <p:cNvPr id="12" name="Picture Placeholder 13">
            <a:extLst>
              <a:ext uri="{FF2B5EF4-FFF2-40B4-BE49-F238E27FC236}">
                <a16:creationId xmlns:a16="http://schemas.microsoft.com/office/drawing/2014/main" id="{B950B055-DDFB-9F46-A0CF-A63B5BF538AA}"/>
              </a:ext>
            </a:extLst>
          </p:cNvPr>
          <p:cNvSpPr>
            <a:spLocks noGrp="1"/>
          </p:cNvSpPr>
          <p:nvPr>
            <p:ph type="pic" sz="quarter" idx="19"/>
          </p:nvPr>
        </p:nvSpPr>
        <p:spPr>
          <a:xfrm>
            <a:off x="8124000" y="0"/>
            <a:ext cx="4068000" cy="6858000"/>
          </a:xfrm>
          <a:prstGeom prst="rect">
            <a:avLst/>
          </a:prstGeom>
          <a:solidFill>
            <a:schemeClr val="accent1">
              <a:lumMod val="20000"/>
              <a:lumOff val="80000"/>
            </a:schemeClr>
          </a:solidFill>
        </p:spPr>
        <p:txBody>
          <a:bodyPr/>
          <a:lstStyle>
            <a:lvl1pPr>
              <a:buNone/>
              <a:defRPr/>
            </a:lvl1pPr>
          </a:lstStyle>
          <a:p>
            <a:endParaRPr lang="x-none" dirty="0"/>
          </a:p>
        </p:txBody>
      </p:sp>
      <p:sp>
        <p:nvSpPr>
          <p:cNvPr id="14" name="Inhaltsplatzhalter 10">
            <a:extLst>
              <a:ext uri="{FF2B5EF4-FFF2-40B4-BE49-F238E27FC236}">
                <a16:creationId xmlns:a16="http://schemas.microsoft.com/office/drawing/2014/main" id="{1C00B872-8FFD-724E-9244-65CEF56B7770}"/>
              </a:ext>
            </a:extLst>
          </p:cNvPr>
          <p:cNvSpPr>
            <a:spLocks noGrp="1"/>
          </p:cNvSpPr>
          <p:nvPr>
            <p:ph sz="quarter" idx="14"/>
          </p:nvPr>
        </p:nvSpPr>
        <p:spPr>
          <a:xfrm>
            <a:off x="311100" y="1466852"/>
            <a:ext cx="7585509" cy="4657722"/>
          </a:xfrm>
          <a:prstGeom prst="rect">
            <a:avLst/>
          </a:prstGeom>
        </p:spPr>
        <p:txBody>
          <a:bodyPr/>
          <a:lstStyle>
            <a:lvl1pPr marL="285750" indent="-285750">
              <a:lnSpc>
                <a:spcPct val="150000"/>
              </a:lnSpc>
              <a:buClr>
                <a:schemeClr val="accent2"/>
              </a:buClr>
              <a:buSzPct val="120000"/>
              <a:buFontTx/>
              <a:buNone/>
              <a:tabLst/>
              <a:defRPr lang="de-DE" sz="1400" kern="1200" noProof="0" dirty="0">
                <a:solidFill>
                  <a:schemeClr val="tx1"/>
                </a:solidFill>
                <a:latin typeface="+mn-lt"/>
                <a:ea typeface="+mn-ea"/>
                <a:cs typeface="+mn-cs"/>
              </a:defRPr>
            </a:lvl1pPr>
            <a:lvl2pPr marL="349250" indent="-169863">
              <a:lnSpc>
                <a:spcPct val="150000"/>
              </a:lnSpc>
              <a:buClr>
                <a:schemeClr val="accent2"/>
              </a:buClr>
              <a:buFont typeface="Wingdings" panose="05000000000000000000" pitchFamily="2" charset="2"/>
              <a:buChar char="§"/>
              <a:defRPr lang="de-DE" sz="1400" kern="1200" dirty="0">
                <a:solidFill>
                  <a:schemeClr val="tx1"/>
                </a:solidFill>
                <a:latin typeface="+mn-lt"/>
                <a:ea typeface="+mn-ea"/>
                <a:cs typeface="+mn-cs"/>
              </a:defRPr>
            </a:lvl2pPr>
            <a:lvl3pPr marL="573088" indent="-204788">
              <a:lnSpc>
                <a:spcPct val="150000"/>
              </a:lnSpc>
              <a:buClr>
                <a:schemeClr val="accent2"/>
              </a:buClr>
              <a:buFont typeface="Wingdings" panose="05000000000000000000" pitchFamily="2" charset="2"/>
              <a:buChar char="§"/>
              <a:defRPr lang="de-DE" sz="1400" kern="1200" dirty="0">
                <a:solidFill>
                  <a:schemeClr val="tx1"/>
                </a:solidFill>
                <a:latin typeface="+mn-lt"/>
                <a:ea typeface="+mn-ea"/>
                <a:cs typeface="+mn-cs"/>
              </a:defRPr>
            </a:lvl3pPr>
            <a:lvl4pPr>
              <a:lnSpc>
                <a:spcPct val="150000"/>
              </a:lnSpc>
              <a:buFont typeface="Wingdings" panose="05000000000000000000" pitchFamily="2" charset="2"/>
              <a:buChar char="§"/>
              <a:defRPr>
                <a:solidFill>
                  <a:schemeClr val="tx1"/>
                </a:solidFill>
              </a:defRPr>
            </a:lvl4pPr>
            <a:lvl5pPr>
              <a:lnSpc>
                <a:spcPct val="150000"/>
              </a:lnSpc>
              <a:buFont typeface="Wingdings" panose="05000000000000000000" pitchFamily="2"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endParaRPr kumimoji="0" lang="de-DE"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Title 1">
            <a:extLst>
              <a:ext uri="{FF2B5EF4-FFF2-40B4-BE49-F238E27FC236}">
                <a16:creationId xmlns:a16="http://schemas.microsoft.com/office/drawing/2014/main" id="{CE4715B0-CD62-DA42-A89F-FDC795FBCF67}"/>
              </a:ext>
            </a:extLst>
          </p:cNvPr>
          <p:cNvSpPr>
            <a:spLocks noGrp="1"/>
          </p:cNvSpPr>
          <p:nvPr>
            <p:ph type="title" hasCustomPrompt="1"/>
          </p:nvPr>
        </p:nvSpPr>
        <p:spPr>
          <a:xfrm>
            <a:off x="304800" y="612000"/>
            <a:ext cx="7585509"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
        <p:nvSpPr>
          <p:cNvPr id="23" name="Textplatzhalter 9">
            <a:extLst>
              <a:ext uri="{FF2B5EF4-FFF2-40B4-BE49-F238E27FC236}">
                <a16:creationId xmlns:a16="http://schemas.microsoft.com/office/drawing/2014/main" id="{05E875EC-E9D0-BA4C-81A4-7D56066C2057}"/>
              </a:ext>
            </a:extLst>
          </p:cNvPr>
          <p:cNvSpPr>
            <a:spLocks noGrp="1"/>
          </p:cNvSpPr>
          <p:nvPr>
            <p:ph type="body" sz="quarter" idx="17" hasCustomPrompt="1"/>
          </p:nvPr>
        </p:nvSpPr>
        <p:spPr>
          <a:xfrm>
            <a:off x="304801" y="972000"/>
            <a:ext cx="7585508" cy="354330"/>
          </a:xfrm>
          <a:prstGeom prst="rect">
            <a:avLst/>
          </a:prstGeom>
        </p:spPr>
        <p:txBody>
          <a:bodyPr lIns="0" tIns="0" anchor="t">
            <a:noAutofit/>
          </a:bodyPr>
          <a:lstStyle>
            <a:lvl1pPr marL="0" indent="0" algn="l" defTabSz="914343" rtl="0" eaLnBrk="1" latinLnBrk="0" hangingPunct="1">
              <a:lnSpc>
                <a:spcPct val="100000"/>
              </a:lnSpc>
              <a:spcBef>
                <a:spcPct val="0"/>
              </a:spcBef>
              <a:buNone/>
              <a:defRPr lang="en-GB" sz="1800" b="1" i="0" kern="1200" dirty="0">
                <a:solidFill>
                  <a:schemeClr val="tx2">
                    <a:lumMod val="40000"/>
                    <a:lumOff val="60000"/>
                  </a:schemeClr>
                </a:solidFill>
                <a:latin typeface="Arial" panose="020B0604020202020204" pitchFamily="34" charset="0"/>
                <a:ea typeface="+mj-ea"/>
                <a:cs typeface="Arial" panose="020B0604020202020204" pitchFamily="34" charset="0"/>
              </a:defRPr>
            </a:lvl1pPr>
          </a:lstStyle>
          <a:p>
            <a:pPr lvl="0"/>
            <a:r>
              <a:rPr lang="de-CH" dirty="0"/>
              <a:t>Untertitel </a:t>
            </a:r>
            <a:endParaRPr lang="en-GB" dirty="0"/>
          </a:p>
        </p:txBody>
      </p:sp>
      <p:sp>
        <p:nvSpPr>
          <p:cNvPr id="4" name="Footer Placeholder 3">
            <a:extLst>
              <a:ext uri="{FF2B5EF4-FFF2-40B4-BE49-F238E27FC236}">
                <a16:creationId xmlns:a16="http://schemas.microsoft.com/office/drawing/2014/main" id="{70FBA696-B717-3E49-AB91-B6DE725C00D0}"/>
              </a:ext>
            </a:extLst>
          </p:cNvPr>
          <p:cNvSpPr>
            <a:spLocks noGrp="1"/>
          </p:cNvSpPr>
          <p:nvPr>
            <p:ph type="ftr" sz="quarter" idx="25"/>
          </p:nvPr>
        </p:nvSpPr>
        <p:spPr/>
        <p:txBody>
          <a:bodyPr/>
          <a:lstStyle/>
          <a:p>
            <a:r>
              <a:rPr lang="de-CH"/>
              <a:t>© LINK | CBD Image Studie 2023 | 12485 | Juni 2023</a:t>
            </a:r>
            <a:endParaRPr lang="de-CH" dirty="0"/>
          </a:p>
        </p:txBody>
      </p:sp>
      <p:sp>
        <p:nvSpPr>
          <p:cNvPr id="5" name="Slide Number Placeholder 4">
            <a:extLst>
              <a:ext uri="{FF2B5EF4-FFF2-40B4-BE49-F238E27FC236}">
                <a16:creationId xmlns:a16="http://schemas.microsoft.com/office/drawing/2014/main" id="{705B9BBA-658D-004E-BB1B-67D19CDD12DB}"/>
              </a:ext>
            </a:extLst>
          </p:cNvPr>
          <p:cNvSpPr>
            <a:spLocks noGrp="1"/>
          </p:cNvSpPr>
          <p:nvPr>
            <p:ph type="sldNum" sz="quarter" idx="26"/>
          </p:nvPr>
        </p:nvSpPr>
        <p:spPr/>
        <p:txBody>
          <a:bodyPr/>
          <a:lstStyle>
            <a:lvl1pPr>
              <a:defRPr lang="de-CH" sz="900" b="0" i="0" kern="1200" smtClean="0">
                <a:solidFill>
                  <a:schemeClr val="bg1"/>
                </a:solidFill>
                <a:effectLst>
                  <a:outerShdw blurRad="63500" sx="102000" sy="102000" algn="ctr" rotWithShape="0">
                    <a:prstClr val="black">
                      <a:alpha val="40000"/>
                    </a:prstClr>
                  </a:outerShdw>
                </a:effectLst>
                <a:latin typeface="Arial" panose="020B0604020202020204" pitchFamily="34" charset="0"/>
                <a:ea typeface="+mn-ea"/>
                <a:cs typeface="Arial" panose="020B0604020202020204" pitchFamily="34" charset="0"/>
              </a:defRPr>
            </a:lvl1pPr>
          </a:lstStyle>
          <a:p>
            <a:fld id="{3E554A25-EF9F-433F-A2C4-DF94129C44D1}" type="slidenum">
              <a:rPr lang="en-DE" smtClean="0"/>
              <a:pPr/>
              <a:t>‹Nr.›</a:t>
            </a:fld>
            <a:endParaRPr lang="de-CH" sz="900" b="0" i="0" kern="1200" dirty="0">
              <a:solidFill>
                <a:schemeClr val="bg1"/>
              </a:solidFill>
              <a:effectLst>
                <a:outerShdw blurRad="63500" sx="102000" sy="102000" algn="ctr" rotWithShape="0">
                  <a:prstClr val="black">
                    <a:alpha val="40000"/>
                  </a:prstClr>
                </a:outerShdw>
              </a:effectLst>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727895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leer | 1 Bild">
    <p:spTree>
      <p:nvGrpSpPr>
        <p:cNvPr id="1" name=""/>
        <p:cNvGrpSpPr/>
        <p:nvPr/>
      </p:nvGrpSpPr>
      <p:grpSpPr>
        <a:xfrm>
          <a:off x="0" y="0"/>
          <a:ext cx="0" cy="0"/>
          <a:chOff x="0" y="0"/>
          <a:chExt cx="0" cy="0"/>
        </a:xfrm>
      </p:grpSpPr>
      <p:sp>
        <p:nvSpPr>
          <p:cNvPr id="12" name="Picture Placeholder 13">
            <a:extLst>
              <a:ext uri="{FF2B5EF4-FFF2-40B4-BE49-F238E27FC236}">
                <a16:creationId xmlns:a16="http://schemas.microsoft.com/office/drawing/2014/main" id="{B950B055-DDFB-9F46-A0CF-A63B5BF538AA}"/>
              </a:ext>
            </a:extLst>
          </p:cNvPr>
          <p:cNvSpPr>
            <a:spLocks noGrp="1"/>
          </p:cNvSpPr>
          <p:nvPr>
            <p:ph type="pic" sz="quarter" idx="19"/>
          </p:nvPr>
        </p:nvSpPr>
        <p:spPr>
          <a:xfrm>
            <a:off x="8124000" y="0"/>
            <a:ext cx="4068000" cy="6858000"/>
          </a:xfrm>
          <a:prstGeom prst="rect">
            <a:avLst/>
          </a:prstGeom>
          <a:solidFill>
            <a:schemeClr val="accent1">
              <a:lumMod val="20000"/>
              <a:lumOff val="80000"/>
            </a:schemeClr>
          </a:solidFill>
        </p:spPr>
        <p:txBody>
          <a:bodyPr/>
          <a:lstStyle>
            <a:lvl1pPr>
              <a:buNone/>
              <a:defRPr/>
            </a:lvl1pPr>
          </a:lstStyle>
          <a:p>
            <a:endParaRPr lang="x-none" dirty="0"/>
          </a:p>
        </p:txBody>
      </p:sp>
      <p:sp>
        <p:nvSpPr>
          <p:cNvPr id="22" name="Title 1">
            <a:extLst>
              <a:ext uri="{FF2B5EF4-FFF2-40B4-BE49-F238E27FC236}">
                <a16:creationId xmlns:a16="http://schemas.microsoft.com/office/drawing/2014/main" id="{CE4715B0-CD62-DA42-A89F-FDC795FBCF67}"/>
              </a:ext>
            </a:extLst>
          </p:cNvPr>
          <p:cNvSpPr>
            <a:spLocks noGrp="1"/>
          </p:cNvSpPr>
          <p:nvPr>
            <p:ph type="title" hasCustomPrompt="1"/>
          </p:nvPr>
        </p:nvSpPr>
        <p:spPr>
          <a:xfrm>
            <a:off x="304800" y="612000"/>
            <a:ext cx="7585509"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
        <p:nvSpPr>
          <p:cNvPr id="23" name="Textplatzhalter 9">
            <a:extLst>
              <a:ext uri="{FF2B5EF4-FFF2-40B4-BE49-F238E27FC236}">
                <a16:creationId xmlns:a16="http://schemas.microsoft.com/office/drawing/2014/main" id="{05E875EC-E9D0-BA4C-81A4-7D56066C2057}"/>
              </a:ext>
            </a:extLst>
          </p:cNvPr>
          <p:cNvSpPr>
            <a:spLocks noGrp="1"/>
          </p:cNvSpPr>
          <p:nvPr>
            <p:ph type="body" sz="quarter" idx="17" hasCustomPrompt="1"/>
          </p:nvPr>
        </p:nvSpPr>
        <p:spPr>
          <a:xfrm>
            <a:off x="304801" y="972000"/>
            <a:ext cx="7585508" cy="354330"/>
          </a:xfrm>
          <a:prstGeom prst="rect">
            <a:avLst/>
          </a:prstGeom>
        </p:spPr>
        <p:txBody>
          <a:bodyPr lIns="0" tIns="0" anchor="t">
            <a:noAutofit/>
          </a:bodyPr>
          <a:lstStyle>
            <a:lvl1pPr marL="0" indent="0" algn="l" defTabSz="914343" rtl="0" eaLnBrk="1" latinLnBrk="0" hangingPunct="1">
              <a:lnSpc>
                <a:spcPct val="100000"/>
              </a:lnSpc>
              <a:spcBef>
                <a:spcPct val="0"/>
              </a:spcBef>
              <a:buNone/>
              <a:defRPr lang="en-GB" sz="1800" b="1" i="0" kern="1200" dirty="0">
                <a:solidFill>
                  <a:schemeClr val="tx2">
                    <a:lumMod val="40000"/>
                    <a:lumOff val="60000"/>
                  </a:schemeClr>
                </a:solidFill>
                <a:latin typeface="Arial" panose="020B0604020202020204" pitchFamily="34" charset="0"/>
                <a:ea typeface="+mj-ea"/>
                <a:cs typeface="Arial" panose="020B0604020202020204" pitchFamily="34" charset="0"/>
              </a:defRPr>
            </a:lvl1pPr>
          </a:lstStyle>
          <a:p>
            <a:pPr lvl="0"/>
            <a:r>
              <a:rPr lang="de-CH" dirty="0"/>
              <a:t>Untertitel </a:t>
            </a:r>
            <a:endParaRPr lang="en-GB" dirty="0"/>
          </a:p>
        </p:txBody>
      </p:sp>
      <p:sp>
        <p:nvSpPr>
          <p:cNvPr id="4" name="Footer Placeholder 3">
            <a:extLst>
              <a:ext uri="{FF2B5EF4-FFF2-40B4-BE49-F238E27FC236}">
                <a16:creationId xmlns:a16="http://schemas.microsoft.com/office/drawing/2014/main" id="{70FBA696-B717-3E49-AB91-B6DE725C00D0}"/>
              </a:ext>
            </a:extLst>
          </p:cNvPr>
          <p:cNvSpPr>
            <a:spLocks noGrp="1"/>
          </p:cNvSpPr>
          <p:nvPr>
            <p:ph type="ftr" sz="quarter" idx="25"/>
          </p:nvPr>
        </p:nvSpPr>
        <p:spPr/>
        <p:txBody>
          <a:bodyPr/>
          <a:lstStyle/>
          <a:p>
            <a:r>
              <a:rPr lang="de-CH"/>
              <a:t>© LINK | CBD Image Studie 2023 | 12485 | Juni 2023</a:t>
            </a:r>
            <a:endParaRPr lang="de-CH" dirty="0"/>
          </a:p>
        </p:txBody>
      </p:sp>
      <p:sp>
        <p:nvSpPr>
          <p:cNvPr id="5" name="Slide Number Placeholder 4">
            <a:extLst>
              <a:ext uri="{FF2B5EF4-FFF2-40B4-BE49-F238E27FC236}">
                <a16:creationId xmlns:a16="http://schemas.microsoft.com/office/drawing/2014/main" id="{705B9BBA-658D-004E-BB1B-67D19CDD12DB}"/>
              </a:ext>
            </a:extLst>
          </p:cNvPr>
          <p:cNvSpPr>
            <a:spLocks noGrp="1"/>
          </p:cNvSpPr>
          <p:nvPr>
            <p:ph type="sldNum" sz="quarter" idx="26"/>
          </p:nvPr>
        </p:nvSpPr>
        <p:spPr/>
        <p:txBody>
          <a:bodyPr/>
          <a:lstStyle>
            <a:lvl1pPr>
              <a:defRPr lang="de-CH" sz="900" b="0" i="0" kern="1200" smtClean="0">
                <a:solidFill>
                  <a:schemeClr val="bg1"/>
                </a:solidFill>
                <a:effectLst>
                  <a:outerShdw blurRad="63500" sx="102000" sy="102000" algn="ctr" rotWithShape="0">
                    <a:prstClr val="black">
                      <a:alpha val="40000"/>
                    </a:prstClr>
                  </a:outerShdw>
                </a:effectLst>
                <a:latin typeface="Arial" panose="020B0604020202020204" pitchFamily="34" charset="0"/>
                <a:ea typeface="+mn-ea"/>
                <a:cs typeface="Arial" panose="020B0604020202020204" pitchFamily="34" charset="0"/>
              </a:defRPr>
            </a:lvl1pPr>
          </a:lstStyle>
          <a:p>
            <a:fld id="{3E554A25-EF9F-433F-A2C4-DF94129C44D1}" type="slidenum">
              <a:rPr lang="en-DE" smtClean="0"/>
              <a:pPr/>
              <a:t>‹Nr.›</a:t>
            </a:fld>
            <a:endParaRPr lang="de-CH" sz="900" b="0" i="0" kern="1200" dirty="0">
              <a:solidFill>
                <a:schemeClr val="bg1"/>
              </a:solidFill>
              <a:effectLst>
                <a:outerShdw blurRad="63500" sx="102000" sy="102000" algn="ctr" rotWithShape="0">
                  <a:prstClr val="black">
                    <a:alpha val="40000"/>
                  </a:prstClr>
                </a:outerShdw>
              </a:effectLst>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528572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Bilder | 1 Inhal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C71101D-8739-574B-9D7E-9502395423FC}"/>
              </a:ext>
            </a:extLst>
          </p:cNvPr>
          <p:cNvSpPr>
            <a:spLocks noGrp="1"/>
          </p:cNvSpPr>
          <p:nvPr>
            <p:ph type="pic" sz="quarter" idx="18"/>
          </p:nvPr>
        </p:nvSpPr>
        <p:spPr>
          <a:xfrm>
            <a:off x="0" y="0"/>
            <a:ext cx="4068000" cy="6858000"/>
          </a:xfrm>
          <a:prstGeom prst="rect">
            <a:avLst/>
          </a:prstGeom>
          <a:solidFill>
            <a:schemeClr val="accent1">
              <a:lumMod val="20000"/>
              <a:lumOff val="80000"/>
            </a:schemeClr>
          </a:solidFill>
        </p:spPr>
        <p:txBody>
          <a:bodyPr/>
          <a:lstStyle>
            <a:lvl1pPr>
              <a:buNone/>
              <a:defRPr/>
            </a:lvl1pPr>
          </a:lstStyle>
          <a:p>
            <a:endParaRPr lang="x-none"/>
          </a:p>
        </p:txBody>
      </p:sp>
      <p:sp>
        <p:nvSpPr>
          <p:cNvPr id="15" name="Picture Placeholder 13">
            <a:extLst>
              <a:ext uri="{FF2B5EF4-FFF2-40B4-BE49-F238E27FC236}">
                <a16:creationId xmlns:a16="http://schemas.microsoft.com/office/drawing/2014/main" id="{BF229900-3B1C-8841-AFCA-F8DF665612B9}"/>
              </a:ext>
            </a:extLst>
          </p:cNvPr>
          <p:cNvSpPr>
            <a:spLocks noGrp="1"/>
          </p:cNvSpPr>
          <p:nvPr>
            <p:ph type="pic" sz="quarter" idx="19"/>
          </p:nvPr>
        </p:nvSpPr>
        <p:spPr>
          <a:xfrm>
            <a:off x="8124000" y="0"/>
            <a:ext cx="4068000" cy="6858000"/>
          </a:xfrm>
          <a:prstGeom prst="rect">
            <a:avLst/>
          </a:prstGeom>
          <a:solidFill>
            <a:schemeClr val="accent1">
              <a:lumMod val="20000"/>
              <a:lumOff val="80000"/>
            </a:schemeClr>
          </a:solidFill>
        </p:spPr>
        <p:txBody>
          <a:bodyPr/>
          <a:lstStyle>
            <a:lvl1pPr>
              <a:buNone/>
              <a:defRPr/>
            </a:lvl1pPr>
          </a:lstStyle>
          <a:p>
            <a:endParaRPr lang="x-none"/>
          </a:p>
        </p:txBody>
      </p:sp>
      <p:sp>
        <p:nvSpPr>
          <p:cNvPr id="11" name="Inhaltsplatzhalter 10"/>
          <p:cNvSpPr>
            <a:spLocks noGrp="1"/>
          </p:cNvSpPr>
          <p:nvPr>
            <p:ph sz="quarter" idx="14"/>
          </p:nvPr>
        </p:nvSpPr>
        <p:spPr>
          <a:xfrm>
            <a:off x="4320000" y="1474498"/>
            <a:ext cx="3552000" cy="4650077"/>
          </a:xfrm>
          <a:prstGeom prst="rect">
            <a:avLst/>
          </a:prstGeom>
        </p:spPr>
        <p:txBody>
          <a:bodyPr/>
          <a:lstStyle>
            <a:lvl1pPr marL="17010" indent="-17010">
              <a:lnSpc>
                <a:spcPct val="150000"/>
              </a:lnSpc>
              <a:buFontTx/>
              <a:buNone/>
              <a:tabLst/>
              <a:defRPr sz="1571" baseline="0">
                <a:solidFill>
                  <a:schemeClr val="tx1"/>
                </a:solidFill>
                <a:latin typeface="Arial" panose="020B0604020202020204" pitchFamily="34" charset="0"/>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ooter Placeholder 2">
            <a:extLst>
              <a:ext uri="{FF2B5EF4-FFF2-40B4-BE49-F238E27FC236}">
                <a16:creationId xmlns:a16="http://schemas.microsoft.com/office/drawing/2014/main" id="{E602B303-DB23-4C43-B1AC-254DE5696B05}"/>
              </a:ext>
            </a:extLst>
          </p:cNvPr>
          <p:cNvSpPr>
            <a:spLocks noGrp="1"/>
          </p:cNvSpPr>
          <p:nvPr>
            <p:ph type="ftr" sz="quarter" idx="10"/>
          </p:nvPr>
        </p:nvSpPr>
        <p:spPr>
          <a:xfrm>
            <a:off x="4062857" y="6488137"/>
            <a:ext cx="4062858" cy="180000"/>
          </a:xfrm>
          <a:prstGeom prst="rect">
            <a:avLst/>
          </a:prstGeom>
        </p:spPr>
        <p:txBody>
          <a:bodyPr lIns="0" anchor="ctr"/>
          <a:lstStyle>
            <a:lvl1pPr algn="ct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endParaRPr lang="de-CH" dirty="0"/>
          </a:p>
        </p:txBody>
      </p:sp>
      <p:sp>
        <p:nvSpPr>
          <p:cNvPr id="25" name="Title 1">
            <a:extLst>
              <a:ext uri="{FF2B5EF4-FFF2-40B4-BE49-F238E27FC236}">
                <a16:creationId xmlns:a16="http://schemas.microsoft.com/office/drawing/2014/main" id="{7F1364A2-21D4-C44C-AC9C-270A71B34C68}"/>
              </a:ext>
            </a:extLst>
          </p:cNvPr>
          <p:cNvSpPr>
            <a:spLocks noGrp="1"/>
          </p:cNvSpPr>
          <p:nvPr>
            <p:ph type="title" hasCustomPrompt="1"/>
          </p:nvPr>
        </p:nvSpPr>
        <p:spPr>
          <a:xfrm>
            <a:off x="4320000" y="620688"/>
            <a:ext cx="3552000"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
        <p:nvSpPr>
          <p:cNvPr id="28" name="Slide Number Placeholder 3">
            <a:extLst>
              <a:ext uri="{FF2B5EF4-FFF2-40B4-BE49-F238E27FC236}">
                <a16:creationId xmlns:a16="http://schemas.microsoft.com/office/drawing/2014/main" id="{0C6BE287-8F38-A442-8571-FFA47D8CEFE5}"/>
              </a:ext>
            </a:extLst>
          </p:cNvPr>
          <p:cNvSpPr>
            <a:spLocks noGrp="1"/>
          </p:cNvSpPr>
          <p:nvPr>
            <p:ph type="sldNum" sz="quarter" idx="11"/>
          </p:nvPr>
        </p:nvSpPr>
        <p:spPr>
          <a:xfrm>
            <a:off x="10992544" y="6489360"/>
            <a:ext cx="894656" cy="180000"/>
          </a:xfrm>
          <a:prstGeom prst="rect">
            <a:avLst/>
          </a:prstGeom>
          <a:effectLst/>
        </p:spPr>
        <p:txBody>
          <a:bodyPr lIns="0" rIns="0" anchor="ctr"/>
          <a:lstStyle>
            <a:lvl1pPr algn="r">
              <a:defRPr sz="900" b="0" i="0">
                <a:solidFill>
                  <a:schemeClr val="bg1"/>
                </a:solidFill>
                <a:effectLst>
                  <a:outerShdw blurRad="63500" sx="102000" sy="102000" algn="ctr" rotWithShape="0">
                    <a:prstClr val="black">
                      <a:alpha val="40000"/>
                    </a:prstClr>
                  </a:outerShdw>
                </a:effectLst>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dirty="0"/>
          </a:p>
        </p:txBody>
      </p:sp>
      <p:sp>
        <p:nvSpPr>
          <p:cNvPr id="3" name="Text Placeholder 3">
            <a:extLst>
              <a:ext uri="{FF2B5EF4-FFF2-40B4-BE49-F238E27FC236}">
                <a16:creationId xmlns:a16="http://schemas.microsoft.com/office/drawing/2014/main" id="{47B01F67-7FA3-9F7C-E001-E26EAB44423D}"/>
              </a:ext>
            </a:extLst>
          </p:cNvPr>
          <p:cNvSpPr>
            <a:spLocks noGrp="1"/>
          </p:cNvSpPr>
          <p:nvPr>
            <p:ph type="body" sz="quarter" idx="13" hasCustomPrompt="1"/>
          </p:nvPr>
        </p:nvSpPr>
        <p:spPr>
          <a:xfrm>
            <a:off x="4320464"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37798719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Bilder | 1 Inhalt | mit Untertitel">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C71101D-8739-574B-9D7E-9502395423FC}"/>
              </a:ext>
            </a:extLst>
          </p:cNvPr>
          <p:cNvSpPr>
            <a:spLocks noGrp="1"/>
          </p:cNvSpPr>
          <p:nvPr>
            <p:ph type="pic" sz="quarter" idx="18"/>
          </p:nvPr>
        </p:nvSpPr>
        <p:spPr>
          <a:xfrm>
            <a:off x="0" y="0"/>
            <a:ext cx="4068000" cy="6858000"/>
          </a:xfrm>
          <a:prstGeom prst="rect">
            <a:avLst/>
          </a:prstGeom>
          <a:solidFill>
            <a:schemeClr val="accent1">
              <a:lumMod val="20000"/>
              <a:lumOff val="80000"/>
            </a:schemeClr>
          </a:solidFill>
        </p:spPr>
        <p:txBody>
          <a:bodyPr/>
          <a:lstStyle>
            <a:lvl1pPr>
              <a:buNone/>
              <a:defRPr/>
            </a:lvl1pPr>
          </a:lstStyle>
          <a:p>
            <a:endParaRPr lang="x-none"/>
          </a:p>
        </p:txBody>
      </p:sp>
      <p:sp>
        <p:nvSpPr>
          <p:cNvPr id="15" name="Picture Placeholder 13">
            <a:extLst>
              <a:ext uri="{FF2B5EF4-FFF2-40B4-BE49-F238E27FC236}">
                <a16:creationId xmlns:a16="http://schemas.microsoft.com/office/drawing/2014/main" id="{BF229900-3B1C-8841-AFCA-F8DF665612B9}"/>
              </a:ext>
            </a:extLst>
          </p:cNvPr>
          <p:cNvSpPr>
            <a:spLocks noGrp="1"/>
          </p:cNvSpPr>
          <p:nvPr>
            <p:ph type="pic" sz="quarter" idx="19"/>
          </p:nvPr>
        </p:nvSpPr>
        <p:spPr>
          <a:xfrm>
            <a:off x="8124000" y="0"/>
            <a:ext cx="4068000" cy="6858000"/>
          </a:xfrm>
          <a:prstGeom prst="rect">
            <a:avLst/>
          </a:prstGeom>
          <a:solidFill>
            <a:schemeClr val="accent1">
              <a:lumMod val="20000"/>
              <a:lumOff val="80000"/>
            </a:schemeClr>
          </a:solidFill>
        </p:spPr>
        <p:txBody>
          <a:bodyPr/>
          <a:lstStyle>
            <a:lvl1pPr>
              <a:buNone/>
              <a:defRPr/>
            </a:lvl1pPr>
          </a:lstStyle>
          <a:p>
            <a:endParaRPr lang="x-none"/>
          </a:p>
        </p:txBody>
      </p:sp>
      <p:sp>
        <p:nvSpPr>
          <p:cNvPr id="11" name="Inhaltsplatzhalter 10"/>
          <p:cNvSpPr>
            <a:spLocks noGrp="1"/>
          </p:cNvSpPr>
          <p:nvPr>
            <p:ph sz="quarter" idx="14"/>
          </p:nvPr>
        </p:nvSpPr>
        <p:spPr>
          <a:xfrm>
            <a:off x="4320000" y="1474498"/>
            <a:ext cx="3552000" cy="4662011"/>
          </a:xfrm>
          <a:prstGeom prst="rect">
            <a:avLst/>
          </a:prstGeom>
        </p:spPr>
        <p:txBody>
          <a:bodyPr/>
          <a:lstStyle>
            <a:lvl1pPr marL="17010" indent="-17010">
              <a:lnSpc>
                <a:spcPct val="150000"/>
              </a:lnSpc>
              <a:buFontTx/>
              <a:buNone/>
              <a:tabLst/>
              <a:defRPr sz="1571" baseline="0">
                <a:solidFill>
                  <a:schemeClr val="tx1"/>
                </a:solidFill>
                <a:latin typeface="Arial" panose="020B0604020202020204" pitchFamily="34" charset="0"/>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Footer Placeholder 2">
            <a:extLst>
              <a:ext uri="{FF2B5EF4-FFF2-40B4-BE49-F238E27FC236}">
                <a16:creationId xmlns:a16="http://schemas.microsoft.com/office/drawing/2014/main" id="{99A19FB7-31C5-8046-AE52-F471D9E77250}"/>
              </a:ext>
            </a:extLst>
          </p:cNvPr>
          <p:cNvSpPr>
            <a:spLocks noGrp="1"/>
          </p:cNvSpPr>
          <p:nvPr>
            <p:ph type="ftr" sz="quarter" idx="10"/>
          </p:nvPr>
        </p:nvSpPr>
        <p:spPr>
          <a:xfrm>
            <a:off x="4062857" y="6488137"/>
            <a:ext cx="4062858" cy="180000"/>
          </a:xfrm>
          <a:prstGeom prst="rect">
            <a:avLst/>
          </a:prstGeom>
        </p:spPr>
        <p:txBody>
          <a:bodyPr lIns="0" anchor="ctr"/>
          <a:lstStyle>
            <a:lvl1pPr algn="ct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endParaRPr lang="de-CH" dirty="0"/>
          </a:p>
        </p:txBody>
      </p:sp>
      <p:sp>
        <p:nvSpPr>
          <p:cNvPr id="21" name="Title 1">
            <a:extLst>
              <a:ext uri="{FF2B5EF4-FFF2-40B4-BE49-F238E27FC236}">
                <a16:creationId xmlns:a16="http://schemas.microsoft.com/office/drawing/2014/main" id="{57578659-C899-FE4F-9A01-A570FD121611}"/>
              </a:ext>
            </a:extLst>
          </p:cNvPr>
          <p:cNvSpPr>
            <a:spLocks noGrp="1"/>
          </p:cNvSpPr>
          <p:nvPr>
            <p:ph type="title" hasCustomPrompt="1"/>
          </p:nvPr>
        </p:nvSpPr>
        <p:spPr>
          <a:xfrm>
            <a:off x="4320000" y="620688"/>
            <a:ext cx="35520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
        <p:nvSpPr>
          <p:cNvPr id="22" name="Textplatzhalter 9">
            <a:extLst>
              <a:ext uri="{FF2B5EF4-FFF2-40B4-BE49-F238E27FC236}">
                <a16:creationId xmlns:a16="http://schemas.microsoft.com/office/drawing/2014/main" id="{C734C511-CE20-CC45-B83D-D8301525FF4F}"/>
              </a:ext>
            </a:extLst>
          </p:cNvPr>
          <p:cNvSpPr>
            <a:spLocks noGrp="1"/>
          </p:cNvSpPr>
          <p:nvPr>
            <p:ph type="body" sz="quarter" idx="17" hasCustomPrompt="1"/>
          </p:nvPr>
        </p:nvSpPr>
        <p:spPr>
          <a:xfrm>
            <a:off x="4320000" y="958179"/>
            <a:ext cx="3552000" cy="354330"/>
          </a:xfrm>
          <a:prstGeom prst="rect">
            <a:avLst/>
          </a:prstGeom>
        </p:spPr>
        <p:txBody>
          <a:bodyPr lIns="0" tIns="0" anchor="t">
            <a:noAutofit/>
          </a:bodyPr>
          <a:lstStyle>
            <a:lvl1pPr marL="0" indent="0" algn="l" defTabSz="914343" rtl="0" eaLnBrk="1" latinLnBrk="0" hangingPunct="1">
              <a:lnSpc>
                <a:spcPct val="100000"/>
              </a:lnSpc>
              <a:spcBef>
                <a:spcPct val="0"/>
              </a:spcBef>
              <a:buNone/>
              <a:defRPr lang="en-GB" sz="1800" b="1" i="0" kern="1200" dirty="0">
                <a:solidFill>
                  <a:schemeClr val="tx2">
                    <a:lumMod val="40000"/>
                    <a:lumOff val="60000"/>
                  </a:schemeClr>
                </a:solidFill>
                <a:latin typeface="Arial" panose="020B0604020202020204" pitchFamily="34" charset="0"/>
                <a:ea typeface="+mj-ea"/>
                <a:cs typeface="Arial" panose="020B0604020202020204" pitchFamily="34" charset="0"/>
              </a:defRPr>
            </a:lvl1pPr>
          </a:lstStyle>
          <a:p>
            <a:pPr lvl="0"/>
            <a:r>
              <a:rPr lang="de-CH" dirty="0"/>
              <a:t>Untertitel </a:t>
            </a:r>
            <a:endParaRPr lang="en-GB" dirty="0"/>
          </a:p>
        </p:txBody>
      </p:sp>
      <p:sp>
        <p:nvSpPr>
          <p:cNvPr id="25" name="Slide Number Placeholder 3">
            <a:extLst>
              <a:ext uri="{FF2B5EF4-FFF2-40B4-BE49-F238E27FC236}">
                <a16:creationId xmlns:a16="http://schemas.microsoft.com/office/drawing/2014/main" id="{F99A4175-6BEF-DA4B-8A59-89A55347BA75}"/>
              </a:ext>
            </a:extLst>
          </p:cNvPr>
          <p:cNvSpPr>
            <a:spLocks noGrp="1"/>
          </p:cNvSpPr>
          <p:nvPr>
            <p:ph type="sldNum" sz="quarter" idx="11"/>
          </p:nvPr>
        </p:nvSpPr>
        <p:spPr>
          <a:xfrm>
            <a:off x="10992544" y="6489360"/>
            <a:ext cx="894656" cy="180000"/>
          </a:xfrm>
          <a:prstGeom prst="rect">
            <a:avLst/>
          </a:prstGeom>
          <a:effectLst/>
        </p:spPr>
        <p:txBody>
          <a:bodyPr lIns="0" rIns="0" anchor="ctr"/>
          <a:lstStyle>
            <a:lvl1pPr algn="r">
              <a:defRPr sz="900" b="0" i="0">
                <a:solidFill>
                  <a:schemeClr val="bg1"/>
                </a:solidFill>
                <a:effectLst>
                  <a:outerShdw blurRad="63500" sx="102000" sy="102000" algn="ctr" rotWithShape="0">
                    <a:prstClr val="black">
                      <a:alpha val="40000"/>
                    </a:prstClr>
                  </a:outerShdw>
                </a:effectLst>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dirty="0"/>
          </a:p>
        </p:txBody>
      </p:sp>
      <p:sp>
        <p:nvSpPr>
          <p:cNvPr id="2" name="Text Placeholder 3">
            <a:extLst>
              <a:ext uri="{FF2B5EF4-FFF2-40B4-BE49-F238E27FC236}">
                <a16:creationId xmlns:a16="http://schemas.microsoft.com/office/drawing/2014/main" id="{09EBCF90-5CE6-7E14-3D05-9EBBFD4BD560}"/>
              </a:ext>
            </a:extLst>
          </p:cNvPr>
          <p:cNvSpPr>
            <a:spLocks noGrp="1"/>
          </p:cNvSpPr>
          <p:nvPr>
            <p:ph type="body" sz="quarter" idx="13" hasCustomPrompt="1"/>
          </p:nvPr>
        </p:nvSpPr>
        <p:spPr>
          <a:xfrm>
            <a:off x="4320464"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24310688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_2_schwarz">
    <p:bg>
      <p:bgRef idx="1001">
        <a:schemeClr val="bg1"/>
      </p:bgRef>
    </p:bg>
    <p:spTree>
      <p:nvGrpSpPr>
        <p:cNvPr id="1" name=""/>
        <p:cNvGrpSpPr/>
        <p:nvPr/>
      </p:nvGrpSpPr>
      <p:grpSpPr>
        <a:xfrm>
          <a:off x="0" y="0"/>
          <a:ext cx="0" cy="0"/>
          <a:chOff x="0" y="0"/>
          <a:chExt cx="0" cy="0"/>
        </a:xfrm>
      </p:grpSpPr>
      <p:sp>
        <p:nvSpPr>
          <p:cNvPr id="4" name="Bildplatzhalter 1">
            <a:extLst>
              <a:ext uri="{FF2B5EF4-FFF2-40B4-BE49-F238E27FC236}">
                <a16:creationId xmlns:a16="http://schemas.microsoft.com/office/drawing/2014/main" id="{19094406-BDFF-C91A-46C0-518E40C834B3}"/>
              </a:ext>
            </a:extLst>
          </p:cNvPr>
          <p:cNvSpPr>
            <a:spLocks noGrp="1"/>
          </p:cNvSpPr>
          <p:nvPr>
            <p:ph type="pic" sz="quarter" idx="12"/>
          </p:nvPr>
        </p:nvSpPr>
        <p:spPr>
          <a:xfrm>
            <a:off x="0" y="700"/>
            <a:ext cx="12197630" cy="6857300"/>
          </a:xfrm>
          <a:custGeom>
            <a:avLst/>
            <a:gdLst>
              <a:gd name="connsiteX0" fmla="*/ 8886067 w 12197630"/>
              <a:gd name="connsiteY0" fmla="*/ 0 h 6857300"/>
              <a:gd name="connsiteX1" fmla="*/ 12197630 w 12197630"/>
              <a:gd name="connsiteY1" fmla="*/ 0 h 6857300"/>
              <a:gd name="connsiteX2" fmla="*/ 12197630 w 12197630"/>
              <a:gd name="connsiteY2" fmla="*/ 6857300 h 6857300"/>
              <a:gd name="connsiteX3" fmla="*/ 6905967 w 12197630"/>
              <a:gd name="connsiteY3" fmla="*/ 6857300 h 6857300"/>
              <a:gd name="connsiteX4" fmla="*/ 8216656 w 12197630"/>
              <a:gd name="connsiteY4" fmla="*/ 2318442 h 6857300"/>
              <a:gd name="connsiteX5" fmla="*/ 0 w 12197630"/>
              <a:gd name="connsiteY5" fmla="*/ 0 h 6857300"/>
              <a:gd name="connsiteX6" fmla="*/ 5186324 w 12197630"/>
              <a:gd name="connsiteY6" fmla="*/ 0 h 6857300"/>
              <a:gd name="connsiteX7" fmla="*/ 5039940 w 12197630"/>
              <a:gd name="connsiteY7" fmla="*/ 508789 h 6857300"/>
              <a:gd name="connsiteX8" fmla="*/ 3205455 w 12197630"/>
              <a:gd name="connsiteY8" fmla="*/ 6857300 h 6857300"/>
              <a:gd name="connsiteX9" fmla="*/ 0 w 12197630"/>
              <a:gd name="connsiteY9" fmla="*/ 6857300 h 685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7630" h="6857300">
                <a:moveTo>
                  <a:pt x="8886067" y="0"/>
                </a:moveTo>
                <a:lnTo>
                  <a:pt x="12197630" y="0"/>
                </a:lnTo>
                <a:lnTo>
                  <a:pt x="12197630" y="6857300"/>
                </a:lnTo>
                <a:lnTo>
                  <a:pt x="6905967" y="6857300"/>
                </a:lnTo>
                <a:lnTo>
                  <a:pt x="8216656" y="2318442"/>
                </a:lnTo>
                <a:close/>
                <a:moveTo>
                  <a:pt x="0" y="0"/>
                </a:moveTo>
                <a:lnTo>
                  <a:pt x="5186324" y="0"/>
                </a:lnTo>
                <a:lnTo>
                  <a:pt x="5039940" y="508789"/>
                </a:lnTo>
                <a:lnTo>
                  <a:pt x="3205455" y="6857300"/>
                </a:lnTo>
                <a:lnTo>
                  <a:pt x="0" y="6857300"/>
                </a:lnTo>
                <a:close/>
              </a:path>
            </a:pathLst>
          </a:custGeom>
          <a:solidFill>
            <a:schemeClr val="accent1">
              <a:lumMod val="20000"/>
              <a:lumOff val="80000"/>
            </a:schemeClr>
          </a:solidFill>
        </p:spPr>
        <p:txBody>
          <a:bodyPr wrap="square">
            <a:noAutofit/>
          </a:bodyPr>
          <a:lstStyle/>
          <a:p>
            <a:r>
              <a:rPr lang="de-DE"/>
              <a:t>Bild durch Klicken auf Symbol hinzufügen</a:t>
            </a:r>
            <a:endParaRPr lang="en-GB" dirty="0"/>
          </a:p>
        </p:txBody>
      </p:sp>
      <p:sp>
        <p:nvSpPr>
          <p:cNvPr id="5" name="Text Placeholder 3">
            <a:extLst>
              <a:ext uri="{FF2B5EF4-FFF2-40B4-BE49-F238E27FC236}">
                <a16:creationId xmlns:a16="http://schemas.microsoft.com/office/drawing/2014/main" id="{26FA0379-A5B9-E037-B46D-E3EACC68ECB2}"/>
              </a:ext>
            </a:extLst>
          </p:cNvPr>
          <p:cNvSpPr>
            <a:spLocks noGrp="1"/>
          </p:cNvSpPr>
          <p:nvPr>
            <p:ph type="body" sz="quarter" idx="14" hasCustomPrompt="1"/>
          </p:nvPr>
        </p:nvSpPr>
        <p:spPr>
          <a:xfrm>
            <a:off x="2495600" y="2060848"/>
            <a:ext cx="7488832" cy="3048045"/>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2741172011"/>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Titel | 2 Inhalte | 2 Bilder">
    <p:spTree>
      <p:nvGrpSpPr>
        <p:cNvPr id="1" name=""/>
        <p:cNvGrpSpPr/>
        <p:nvPr/>
      </p:nvGrpSpPr>
      <p:grpSpPr>
        <a:xfrm>
          <a:off x="0" y="0"/>
          <a:ext cx="0" cy="0"/>
          <a:chOff x="0" y="0"/>
          <a:chExt cx="0" cy="0"/>
        </a:xfrm>
      </p:grpSpPr>
      <p:sp>
        <p:nvSpPr>
          <p:cNvPr id="15" name="Picture Placeholder 13">
            <a:extLst>
              <a:ext uri="{FF2B5EF4-FFF2-40B4-BE49-F238E27FC236}">
                <a16:creationId xmlns:a16="http://schemas.microsoft.com/office/drawing/2014/main" id="{BF229900-3B1C-8841-AFCA-F8DF665612B9}"/>
              </a:ext>
            </a:extLst>
          </p:cNvPr>
          <p:cNvSpPr>
            <a:spLocks noGrp="1"/>
          </p:cNvSpPr>
          <p:nvPr>
            <p:ph type="pic" sz="quarter" idx="19"/>
          </p:nvPr>
        </p:nvSpPr>
        <p:spPr>
          <a:xfrm>
            <a:off x="6096000" y="3401122"/>
            <a:ext cx="6096000" cy="3456878"/>
          </a:xfrm>
          <a:prstGeom prst="rect">
            <a:avLst/>
          </a:prstGeom>
          <a:solidFill>
            <a:schemeClr val="accent1">
              <a:lumMod val="20000"/>
              <a:lumOff val="80000"/>
            </a:schemeClr>
          </a:solidFill>
        </p:spPr>
        <p:txBody>
          <a:bodyPr/>
          <a:lstStyle>
            <a:lvl1pPr>
              <a:buNone/>
              <a:defRPr/>
            </a:lvl1pPr>
          </a:lstStyle>
          <a:p>
            <a:endParaRPr lang="x-none"/>
          </a:p>
        </p:txBody>
      </p:sp>
      <p:sp>
        <p:nvSpPr>
          <p:cNvPr id="16" name="Inhaltsplatzhalter 10">
            <a:extLst>
              <a:ext uri="{FF2B5EF4-FFF2-40B4-BE49-F238E27FC236}">
                <a16:creationId xmlns:a16="http://schemas.microsoft.com/office/drawing/2014/main" id="{A9702CE1-9775-C846-B68D-1D49E24A0FE6}"/>
              </a:ext>
            </a:extLst>
          </p:cNvPr>
          <p:cNvSpPr>
            <a:spLocks noGrp="1"/>
          </p:cNvSpPr>
          <p:nvPr>
            <p:ph sz="quarter" idx="21"/>
          </p:nvPr>
        </p:nvSpPr>
        <p:spPr>
          <a:xfrm>
            <a:off x="6328097" y="1126196"/>
            <a:ext cx="5559103" cy="2137335"/>
          </a:xfrm>
          <a:prstGeom prst="rect">
            <a:avLst/>
          </a:prstGeom>
        </p:spPr>
        <p:txBody>
          <a:bodyPr/>
          <a:lstStyle>
            <a:lvl1pPr marL="15875" indent="-15875">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a:p>
            <a:pPr lvl="4"/>
            <a:endParaRPr lang="en-GB" dirty="0"/>
          </a:p>
        </p:txBody>
      </p:sp>
      <p:sp>
        <p:nvSpPr>
          <p:cNvPr id="13" name="Titel 1">
            <a:extLst>
              <a:ext uri="{FF2B5EF4-FFF2-40B4-BE49-F238E27FC236}">
                <a16:creationId xmlns:a16="http://schemas.microsoft.com/office/drawing/2014/main" id="{3F87CB93-3F04-3A41-808C-5FE5007E03CA}"/>
              </a:ext>
            </a:extLst>
          </p:cNvPr>
          <p:cNvSpPr>
            <a:spLocks noGrp="1"/>
          </p:cNvSpPr>
          <p:nvPr>
            <p:ph type="title" hasCustomPrompt="1"/>
          </p:nvPr>
        </p:nvSpPr>
        <p:spPr>
          <a:xfrm>
            <a:off x="6328096" y="268604"/>
            <a:ext cx="5559103" cy="663015"/>
          </a:xfrm>
          <a:prstGeom prst="rect">
            <a:avLst/>
          </a:prstGeom>
        </p:spPr>
        <p:txBody>
          <a:bodyPr/>
          <a:lstStyle>
            <a:lvl1pPr marL="0" algn="l" defTabSz="914343" rtl="0" eaLnBrk="1" latinLnBrk="0" hangingPunct="1">
              <a:spcBef>
                <a:spcPct val="0"/>
              </a:spcBef>
              <a:buNone/>
              <a:defRPr lang="en-GB" sz="2200" b="1" i="0" kern="1200" dirty="0">
                <a:solidFill>
                  <a:schemeClr val="tx1"/>
                </a:solidFill>
                <a:latin typeface="Arial" panose="020B0604020202020204" pitchFamily="34" charset="0"/>
                <a:ea typeface="+mj-ea"/>
                <a:cs typeface="Arial" panose="020B0604020202020204" pitchFamily="34" charset="0"/>
              </a:defRPr>
            </a:lvl1pPr>
          </a:lstStyle>
          <a:p>
            <a:r>
              <a:rPr lang="de-CH" noProof="0" dirty="0"/>
              <a:t>Titel 1</a:t>
            </a:r>
            <a:endParaRPr lang="en-GB" dirty="0"/>
          </a:p>
        </p:txBody>
      </p:sp>
      <p:sp>
        <p:nvSpPr>
          <p:cNvPr id="3" name="Bildplatzhalter 2">
            <a:extLst>
              <a:ext uri="{FF2B5EF4-FFF2-40B4-BE49-F238E27FC236}">
                <a16:creationId xmlns:a16="http://schemas.microsoft.com/office/drawing/2014/main" id="{513F3E22-59C6-B3D5-E829-3884452F6DE6}"/>
              </a:ext>
            </a:extLst>
          </p:cNvPr>
          <p:cNvSpPr>
            <a:spLocks noGrp="1"/>
          </p:cNvSpPr>
          <p:nvPr>
            <p:ph type="pic" sz="quarter" idx="22"/>
          </p:nvPr>
        </p:nvSpPr>
        <p:spPr>
          <a:xfrm>
            <a:off x="0" y="0"/>
            <a:ext cx="6096000" cy="3401122"/>
          </a:xfrm>
          <a:custGeom>
            <a:avLst/>
            <a:gdLst>
              <a:gd name="connsiteX0" fmla="*/ 0 w 6096000"/>
              <a:gd name="connsiteY0" fmla="*/ 0 h 3401122"/>
              <a:gd name="connsiteX1" fmla="*/ 6096000 w 6096000"/>
              <a:gd name="connsiteY1" fmla="*/ 0 h 3401122"/>
              <a:gd name="connsiteX2" fmla="*/ 6096000 w 6096000"/>
              <a:gd name="connsiteY2" fmla="*/ 3401122 h 3401122"/>
              <a:gd name="connsiteX3" fmla="*/ 0 w 6096000"/>
              <a:gd name="connsiteY3" fmla="*/ 3401122 h 3401122"/>
            </a:gdLst>
            <a:ahLst/>
            <a:cxnLst>
              <a:cxn ang="0">
                <a:pos x="connsiteX0" y="connsiteY0"/>
              </a:cxn>
              <a:cxn ang="0">
                <a:pos x="connsiteX1" y="connsiteY1"/>
              </a:cxn>
              <a:cxn ang="0">
                <a:pos x="connsiteX2" y="connsiteY2"/>
              </a:cxn>
              <a:cxn ang="0">
                <a:pos x="connsiteX3" y="connsiteY3"/>
              </a:cxn>
            </a:cxnLst>
            <a:rect l="l" t="t" r="r" b="b"/>
            <a:pathLst>
              <a:path w="6096000" h="3401122">
                <a:moveTo>
                  <a:pt x="0" y="0"/>
                </a:moveTo>
                <a:lnTo>
                  <a:pt x="6096000" y="0"/>
                </a:lnTo>
                <a:lnTo>
                  <a:pt x="6096000" y="3401122"/>
                </a:lnTo>
                <a:lnTo>
                  <a:pt x="0" y="3401122"/>
                </a:lnTo>
                <a:close/>
              </a:path>
            </a:pathLst>
          </a:custGeom>
          <a:solidFill>
            <a:schemeClr val="accent1">
              <a:lumMod val="20000"/>
              <a:lumOff val="80000"/>
            </a:schemeClr>
          </a:solidFill>
        </p:spPr>
        <p:txBody>
          <a:bodyPr wrap="square">
            <a:noAutofit/>
          </a:bodyPr>
          <a:lstStyle>
            <a:lvl1pPr>
              <a:buNone/>
              <a:defRPr/>
            </a:lvl1pPr>
          </a:lstStyle>
          <a:p>
            <a:endParaRPr lang="x-none"/>
          </a:p>
        </p:txBody>
      </p:sp>
      <p:sp>
        <p:nvSpPr>
          <p:cNvPr id="20" name="Inhaltsplatzhalter 10">
            <a:extLst>
              <a:ext uri="{FF2B5EF4-FFF2-40B4-BE49-F238E27FC236}">
                <a16:creationId xmlns:a16="http://schemas.microsoft.com/office/drawing/2014/main" id="{68BAC15F-DF58-5640-8B84-D59FC7D65CD8}"/>
              </a:ext>
            </a:extLst>
          </p:cNvPr>
          <p:cNvSpPr>
            <a:spLocks noGrp="1"/>
          </p:cNvSpPr>
          <p:nvPr>
            <p:ph sz="quarter" idx="23"/>
          </p:nvPr>
        </p:nvSpPr>
        <p:spPr>
          <a:xfrm>
            <a:off x="314324" y="4480443"/>
            <a:ext cx="5658127" cy="1927489"/>
          </a:xfrm>
          <a:prstGeom prst="rect">
            <a:avLst/>
          </a:prstGeom>
        </p:spPr>
        <p:txBody>
          <a:bodyPr/>
          <a:lstStyle>
            <a:lvl1pPr marL="15875" indent="-15875">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5">
            <a:extLst>
              <a:ext uri="{FF2B5EF4-FFF2-40B4-BE49-F238E27FC236}">
                <a16:creationId xmlns:a16="http://schemas.microsoft.com/office/drawing/2014/main" id="{2B598F00-463B-0545-B392-7871EFC40AEC}"/>
              </a:ext>
            </a:extLst>
          </p:cNvPr>
          <p:cNvSpPr>
            <a:spLocks noGrp="1"/>
          </p:cNvSpPr>
          <p:nvPr>
            <p:ph type="body" sz="quarter" idx="24" hasCustomPrompt="1"/>
          </p:nvPr>
        </p:nvSpPr>
        <p:spPr>
          <a:xfrm>
            <a:off x="314325" y="3669726"/>
            <a:ext cx="5658127" cy="638574"/>
          </a:xfrm>
          <a:prstGeom prst="rect">
            <a:avLst/>
          </a:prstGeom>
        </p:spPr>
        <p:txBody>
          <a:bodyPr anchor="b">
            <a:normAutofit/>
          </a:bodyPr>
          <a:lstStyle>
            <a:lvl1pPr marL="0" indent="0" algn="l" defTabSz="914343" rtl="0" eaLnBrk="1" latinLnBrk="0" hangingPunct="1">
              <a:spcBef>
                <a:spcPct val="0"/>
              </a:spcBef>
              <a:buNone/>
              <a:defRPr lang="x-none" sz="2200" b="1" i="0" kern="1200" dirty="0">
                <a:solidFill>
                  <a:schemeClr val="tx1"/>
                </a:solidFill>
                <a:latin typeface="Arial" panose="020B0604020202020204" pitchFamily="34" charset="0"/>
                <a:ea typeface="+mj-ea"/>
                <a:cs typeface="Arial" panose="020B0604020202020204" pitchFamily="34" charset="0"/>
              </a:defRPr>
            </a:lvl1pPr>
          </a:lstStyle>
          <a:p>
            <a:pPr lvl="0"/>
            <a:r>
              <a:rPr lang="de-CH" noProof="0" dirty="0"/>
              <a:t>Titel 2</a:t>
            </a:r>
            <a:endParaRPr lang="x-none" dirty="0"/>
          </a:p>
        </p:txBody>
      </p:sp>
      <p:sp>
        <p:nvSpPr>
          <p:cNvPr id="28" name="Footer Placeholder 2">
            <a:extLst>
              <a:ext uri="{FF2B5EF4-FFF2-40B4-BE49-F238E27FC236}">
                <a16:creationId xmlns:a16="http://schemas.microsoft.com/office/drawing/2014/main" id="{8E3E5783-DCC9-0749-93B4-B39C549F0D04}"/>
              </a:ext>
            </a:extLst>
          </p:cNvPr>
          <p:cNvSpPr>
            <a:spLocks noGrp="1"/>
          </p:cNvSpPr>
          <p:nvPr>
            <p:ph type="ftr" sz="quarter" idx="10"/>
          </p:nvPr>
        </p:nvSpPr>
        <p:spPr>
          <a:xfrm>
            <a:off x="304800" y="6488136"/>
            <a:ext cx="5667652" cy="181223"/>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40" name="Slide Number Placeholder 3">
            <a:extLst>
              <a:ext uri="{FF2B5EF4-FFF2-40B4-BE49-F238E27FC236}">
                <a16:creationId xmlns:a16="http://schemas.microsoft.com/office/drawing/2014/main" id="{5148A4A9-7C9A-7D49-8201-8B88B0AF480F}"/>
              </a:ext>
            </a:extLst>
          </p:cNvPr>
          <p:cNvSpPr>
            <a:spLocks noGrp="1"/>
          </p:cNvSpPr>
          <p:nvPr>
            <p:ph type="sldNum" sz="quarter" idx="11"/>
          </p:nvPr>
        </p:nvSpPr>
        <p:spPr>
          <a:xfrm>
            <a:off x="10992544" y="6489360"/>
            <a:ext cx="894656" cy="180000"/>
          </a:xfrm>
          <a:prstGeom prst="rect">
            <a:avLst/>
          </a:prstGeom>
          <a:effectLst/>
        </p:spPr>
        <p:txBody>
          <a:bodyPr lIns="0" rIns="0" anchor="ctr"/>
          <a:lstStyle>
            <a:lvl1pPr algn="r">
              <a:defRPr sz="900" b="0" i="0">
                <a:solidFill>
                  <a:schemeClr val="bg1"/>
                </a:solidFill>
                <a:effectLst>
                  <a:outerShdw blurRad="63500" sx="102000" sy="102000" algn="ctr" rotWithShape="0">
                    <a:prstClr val="black">
                      <a:alpha val="40000"/>
                    </a:prstClr>
                  </a:outerShdw>
                </a:effectLst>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dirty="0"/>
          </a:p>
        </p:txBody>
      </p:sp>
      <p:sp>
        <p:nvSpPr>
          <p:cNvPr id="4" name="Text Placeholder 3">
            <a:extLst>
              <a:ext uri="{FF2B5EF4-FFF2-40B4-BE49-F238E27FC236}">
                <a16:creationId xmlns:a16="http://schemas.microsoft.com/office/drawing/2014/main" id="{7F2F7852-330F-9F0E-7964-3AD258DF2A79}"/>
              </a:ext>
            </a:extLst>
          </p:cNvPr>
          <p:cNvSpPr>
            <a:spLocks noGrp="1"/>
          </p:cNvSpPr>
          <p:nvPr>
            <p:ph type="body" sz="quarter" idx="13" hasCustomPrompt="1"/>
          </p:nvPr>
        </p:nvSpPr>
        <p:spPr>
          <a:xfrm>
            <a:off x="304799"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4263077557"/>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Inhalte V2">
    <p:spTree>
      <p:nvGrpSpPr>
        <p:cNvPr id="1" name=""/>
        <p:cNvGrpSpPr/>
        <p:nvPr/>
      </p:nvGrpSpPr>
      <p:grpSpPr>
        <a:xfrm>
          <a:off x="0" y="0"/>
          <a:ext cx="0" cy="0"/>
          <a:chOff x="0" y="0"/>
          <a:chExt cx="0" cy="0"/>
        </a:xfrm>
      </p:grpSpPr>
      <p:sp>
        <p:nvSpPr>
          <p:cNvPr id="7" name="Inhaltsplatzhalter 10">
            <a:extLst>
              <a:ext uri="{FF2B5EF4-FFF2-40B4-BE49-F238E27FC236}">
                <a16:creationId xmlns:a16="http://schemas.microsoft.com/office/drawing/2014/main" id="{F368137C-B12A-4454-81D9-A0EA0EF36ACD}"/>
              </a:ext>
            </a:extLst>
          </p:cNvPr>
          <p:cNvSpPr>
            <a:spLocks noGrp="1"/>
          </p:cNvSpPr>
          <p:nvPr>
            <p:ph sz="quarter" idx="22"/>
          </p:nvPr>
        </p:nvSpPr>
        <p:spPr>
          <a:xfrm>
            <a:off x="311100" y="1474993"/>
            <a:ext cx="2698843" cy="2474539"/>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Inhaltsplatzhalter 10">
            <a:extLst>
              <a:ext uri="{FF2B5EF4-FFF2-40B4-BE49-F238E27FC236}">
                <a16:creationId xmlns:a16="http://schemas.microsoft.com/office/drawing/2014/main" id="{D36BA2C3-7352-994D-80D3-227865702D29}"/>
              </a:ext>
            </a:extLst>
          </p:cNvPr>
          <p:cNvSpPr>
            <a:spLocks noGrp="1"/>
          </p:cNvSpPr>
          <p:nvPr>
            <p:ph sz="quarter" idx="23"/>
          </p:nvPr>
        </p:nvSpPr>
        <p:spPr>
          <a:xfrm>
            <a:off x="3270272" y="1474993"/>
            <a:ext cx="2698843" cy="2474539"/>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Inhaltsplatzhalter 10">
            <a:extLst>
              <a:ext uri="{FF2B5EF4-FFF2-40B4-BE49-F238E27FC236}">
                <a16:creationId xmlns:a16="http://schemas.microsoft.com/office/drawing/2014/main" id="{8403F402-5174-F042-826D-180E73EA7D4F}"/>
              </a:ext>
            </a:extLst>
          </p:cNvPr>
          <p:cNvSpPr>
            <a:spLocks noGrp="1"/>
          </p:cNvSpPr>
          <p:nvPr>
            <p:ph sz="quarter" idx="24"/>
          </p:nvPr>
        </p:nvSpPr>
        <p:spPr>
          <a:xfrm>
            <a:off x="6229444" y="1474993"/>
            <a:ext cx="2698843" cy="2474539"/>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a:p>
            <a:pPr lvl="4"/>
            <a:endParaRPr lang="en-GB" dirty="0"/>
          </a:p>
        </p:txBody>
      </p:sp>
      <p:sp>
        <p:nvSpPr>
          <p:cNvPr id="13" name="Inhaltsplatzhalter 10">
            <a:extLst>
              <a:ext uri="{FF2B5EF4-FFF2-40B4-BE49-F238E27FC236}">
                <a16:creationId xmlns:a16="http://schemas.microsoft.com/office/drawing/2014/main" id="{D773D33E-A060-5941-B730-3A86ECDCEFB8}"/>
              </a:ext>
            </a:extLst>
          </p:cNvPr>
          <p:cNvSpPr>
            <a:spLocks noGrp="1"/>
          </p:cNvSpPr>
          <p:nvPr>
            <p:ph sz="quarter" idx="25"/>
          </p:nvPr>
        </p:nvSpPr>
        <p:spPr>
          <a:xfrm>
            <a:off x="9188615" y="1474993"/>
            <a:ext cx="2698843" cy="2474539"/>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ooter Placeholder 2">
            <a:extLst>
              <a:ext uri="{FF2B5EF4-FFF2-40B4-BE49-F238E27FC236}">
                <a16:creationId xmlns:a16="http://schemas.microsoft.com/office/drawing/2014/main" id="{B722C547-E5E8-284C-B1BA-CB8BA886F317}"/>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23" name="Slide Number Placeholder 3">
            <a:extLst>
              <a:ext uri="{FF2B5EF4-FFF2-40B4-BE49-F238E27FC236}">
                <a16:creationId xmlns:a16="http://schemas.microsoft.com/office/drawing/2014/main" id="{226A2224-5C96-F348-870B-122443603998}"/>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25" name="Title 1">
            <a:extLst>
              <a:ext uri="{FF2B5EF4-FFF2-40B4-BE49-F238E27FC236}">
                <a16:creationId xmlns:a16="http://schemas.microsoft.com/office/drawing/2014/main" id="{C412F529-5020-2349-AAF7-075BFA3DE50D}"/>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
        <p:nvSpPr>
          <p:cNvPr id="3" name="Text Placeholder 2">
            <a:extLst>
              <a:ext uri="{FF2B5EF4-FFF2-40B4-BE49-F238E27FC236}">
                <a16:creationId xmlns:a16="http://schemas.microsoft.com/office/drawing/2014/main" id="{EECAB6B7-1A4B-446C-B5C5-C9B66DDD3FFF}"/>
              </a:ext>
            </a:extLst>
          </p:cNvPr>
          <p:cNvSpPr>
            <a:spLocks noGrp="1"/>
          </p:cNvSpPr>
          <p:nvPr>
            <p:ph type="body" sz="quarter" idx="26" hasCustomPrompt="1"/>
          </p:nvPr>
        </p:nvSpPr>
        <p:spPr>
          <a:xfrm>
            <a:off x="304800" y="972000"/>
            <a:ext cx="11582400" cy="277813"/>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en-US" dirty="0" err="1"/>
              <a:t>Untertitel</a:t>
            </a:r>
            <a:endParaRPr lang="de-DE" dirty="0"/>
          </a:p>
        </p:txBody>
      </p:sp>
    </p:spTree>
    <p:extLst>
      <p:ext uri="{BB962C8B-B14F-4D97-AF65-F5344CB8AC3E}">
        <p14:creationId xmlns:p14="http://schemas.microsoft.com/office/powerpoint/2010/main" val="33093462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Zwischentitel 1">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3127BAA-6C38-594D-A55C-37896FD32CBA}"/>
              </a:ext>
            </a:extLst>
          </p:cNvPr>
          <p:cNvSpPr/>
          <p:nvPr userDrawn="1"/>
        </p:nvSpPr>
        <p:spPr>
          <a:xfrm>
            <a:off x="304800" y="3645024"/>
            <a:ext cx="3194738" cy="27068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p>
            <a:pPr algn="ctr"/>
            <a:endParaRPr lang="x-none" sz="1080">
              <a:solidFill>
                <a:schemeClr val="tx1"/>
              </a:solidFill>
            </a:endParaRPr>
          </a:p>
        </p:txBody>
      </p:sp>
      <p:sp>
        <p:nvSpPr>
          <p:cNvPr id="3" name="Bildplatzhalter 2">
            <a:extLst>
              <a:ext uri="{FF2B5EF4-FFF2-40B4-BE49-F238E27FC236}">
                <a16:creationId xmlns:a16="http://schemas.microsoft.com/office/drawing/2014/main" id="{43888E4D-ABE4-7B2F-527B-B29326981A20}"/>
              </a:ext>
            </a:extLst>
          </p:cNvPr>
          <p:cNvSpPr>
            <a:spLocks noGrp="1"/>
          </p:cNvSpPr>
          <p:nvPr>
            <p:ph type="pic" sz="quarter" idx="12" hasCustomPrompt="1"/>
          </p:nvPr>
        </p:nvSpPr>
        <p:spPr>
          <a:xfrm>
            <a:off x="0" y="0"/>
            <a:ext cx="12192000" cy="4560554"/>
          </a:xfrm>
          <a:custGeom>
            <a:avLst/>
            <a:gdLst>
              <a:gd name="connsiteX0" fmla="*/ 0 w 12192000"/>
              <a:gd name="connsiteY0" fmla="*/ 0 h 4560554"/>
              <a:gd name="connsiteX1" fmla="*/ 12192000 w 12192000"/>
              <a:gd name="connsiteY1" fmla="*/ 0 h 4560554"/>
              <a:gd name="connsiteX2" fmla="*/ 12192000 w 12192000"/>
              <a:gd name="connsiteY2" fmla="*/ 1858557 h 4560554"/>
              <a:gd name="connsiteX3" fmla="*/ 12192000 w 12192000"/>
              <a:gd name="connsiteY3" fmla="*/ 4560554 h 4560554"/>
              <a:gd name="connsiteX4" fmla="*/ 3859066 w 12192000"/>
              <a:gd name="connsiteY4" fmla="*/ 4560554 h 4560554"/>
              <a:gd name="connsiteX5" fmla="*/ 3499538 w 12192000"/>
              <a:gd name="connsiteY5" fmla="*/ 4560554 h 4560554"/>
              <a:gd name="connsiteX6" fmla="*/ 3499538 w 12192000"/>
              <a:gd name="connsiteY6" fmla="*/ 3645024 h 4560554"/>
              <a:gd name="connsiteX7" fmla="*/ 304800 w 12192000"/>
              <a:gd name="connsiteY7" fmla="*/ 3645024 h 4560554"/>
              <a:gd name="connsiteX8" fmla="*/ 304800 w 12192000"/>
              <a:gd name="connsiteY8" fmla="*/ 4560554 h 4560554"/>
              <a:gd name="connsiteX9" fmla="*/ 0 w 12192000"/>
              <a:gd name="connsiteY9" fmla="*/ 4560554 h 4560554"/>
              <a:gd name="connsiteX10" fmla="*/ 0 w 12192000"/>
              <a:gd name="connsiteY10" fmla="*/ 1858557 h 4560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4560554">
                <a:moveTo>
                  <a:pt x="0" y="0"/>
                </a:moveTo>
                <a:lnTo>
                  <a:pt x="12192000" y="0"/>
                </a:lnTo>
                <a:lnTo>
                  <a:pt x="12192000" y="1858557"/>
                </a:lnTo>
                <a:lnTo>
                  <a:pt x="12192000" y="4560554"/>
                </a:lnTo>
                <a:lnTo>
                  <a:pt x="3859066" y="4560554"/>
                </a:lnTo>
                <a:lnTo>
                  <a:pt x="3499538" y="4560554"/>
                </a:lnTo>
                <a:lnTo>
                  <a:pt x="3499538" y="3645024"/>
                </a:lnTo>
                <a:lnTo>
                  <a:pt x="304800" y="3645024"/>
                </a:lnTo>
                <a:lnTo>
                  <a:pt x="304800" y="4560554"/>
                </a:lnTo>
                <a:lnTo>
                  <a:pt x="0" y="4560554"/>
                </a:lnTo>
                <a:lnTo>
                  <a:pt x="0" y="1858557"/>
                </a:lnTo>
                <a:close/>
              </a:path>
            </a:pathLst>
          </a:custGeom>
          <a:solidFill>
            <a:schemeClr val="accent1">
              <a:lumMod val="20000"/>
              <a:lumOff val="80000"/>
            </a:schemeClr>
          </a:solidFill>
        </p:spPr>
        <p:txBody>
          <a:bodyPr wrap="square">
            <a:noAutofit/>
          </a:bodyPr>
          <a:lstStyle>
            <a:lvl1pPr>
              <a:buNone/>
              <a:defRPr/>
            </a:lvl1pPr>
          </a:lstStyle>
          <a:p>
            <a:r>
              <a:rPr lang="de-DE"/>
              <a:t>Bild durch Klicken auf Symbol hinzufügen</a:t>
            </a:r>
            <a:endParaRPr lang="en-GB"/>
          </a:p>
        </p:txBody>
      </p:sp>
      <p:sp>
        <p:nvSpPr>
          <p:cNvPr id="7" name="Textplatzhalter 6"/>
          <p:cNvSpPr>
            <a:spLocks noGrp="1"/>
          </p:cNvSpPr>
          <p:nvPr>
            <p:ph type="body" sz="quarter" idx="13" hasCustomPrompt="1"/>
          </p:nvPr>
        </p:nvSpPr>
        <p:spPr>
          <a:xfrm>
            <a:off x="522162" y="4034076"/>
            <a:ext cx="2611524" cy="1365364"/>
          </a:xfrm>
          <a:prstGeom prst="rect">
            <a:avLst/>
          </a:prstGeom>
          <a:noFill/>
        </p:spPr>
        <p:txBody>
          <a:bodyPr wrap="square" lIns="0" anchor="ctr" anchorCtr="0">
            <a:normAutofit/>
          </a:bodyPr>
          <a:lstStyle>
            <a:lvl1pPr marL="0" indent="0" algn="l">
              <a:buNone/>
              <a:defRPr sz="2143" b="1" baseline="0">
                <a:solidFill>
                  <a:schemeClr val="bg1"/>
                </a:solidFill>
                <a:latin typeface="Arial" panose="020B0604020202020204" pitchFamily="34" charset="0"/>
              </a:defRPr>
            </a:lvl1pPr>
          </a:lstStyle>
          <a:p>
            <a:pPr lvl="0"/>
            <a:r>
              <a:rPr lang="de-DE" dirty="0"/>
              <a:t>ZWISCHENTITEL</a:t>
            </a:r>
          </a:p>
        </p:txBody>
      </p:sp>
      <p:cxnSp>
        <p:nvCxnSpPr>
          <p:cNvPr id="16" name="Straight Connector 15">
            <a:extLst>
              <a:ext uri="{FF2B5EF4-FFF2-40B4-BE49-F238E27FC236}">
                <a16:creationId xmlns:a16="http://schemas.microsoft.com/office/drawing/2014/main" id="{6299FCA8-C8FD-7F4A-A9C5-2BF8ED7639A1}"/>
              </a:ext>
            </a:extLst>
          </p:cNvPr>
          <p:cNvCxnSpPr/>
          <p:nvPr userDrawn="1"/>
        </p:nvCxnSpPr>
        <p:spPr>
          <a:xfrm>
            <a:off x="625030" y="5708046"/>
            <a:ext cx="1928571"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7">
            <a:extLst>
              <a:ext uri="{FF2B5EF4-FFF2-40B4-BE49-F238E27FC236}">
                <a16:creationId xmlns:a16="http://schemas.microsoft.com/office/drawing/2014/main" id="{B4BE5081-8EAD-8D4B-855B-1D0767B43FF3}"/>
              </a:ext>
            </a:extLst>
          </p:cNvPr>
          <p:cNvSpPr>
            <a:spLocks noGrp="1"/>
          </p:cNvSpPr>
          <p:nvPr>
            <p:ph type="body" sz="quarter" idx="15"/>
          </p:nvPr>
        </p:nvSpPr>
        <p:spPr>
          <a:xfrm>
            <a:off x="3750897" y="5142269"/>
            <a:ext cx="7734078" cy="1131554"/>
          </a:xfrm>
          <a:prstGeom prst="rect">
            <a:avLst/>
          </a:prstGeom>
        </p:spPr>
        <p:txBody>
          <a:bodyPr>
            <a:noAutofit/>
          </a:bodyPr>
          <a:lstStyle>
            <a:lvl1pPr marL="5670" indent="-5670">
              <a:buNone/>
              <a:tabLst/>
              <a:defRPr sz="1100">
                <a:solidFill>
                  <a:schemeClr val="tx1"/>
                </a:solidFill>
              </a:defRPr>
            </a:lvl1pPr>
            <a:lvl2pPr marL="349250" indent="-169863">
              <a:buSzPct val="100000"/>
              <a:buFont typeface="Symbol" panose="05050102010706020507" pitchFamily="18" charset="2"/>
              <a:buChar char="-"/>
              <a:defRPr sz="1100">
                <a:solidFill>
                  <a:schemeClr val="tx1"/>
                </a:solidFill>
              </a:defRPr>
            </a:lvl2pPr>
            <a:lvl3pPr marL="573088" indent="-204788">
              <a:buSzPct val="100000"/>
              <a:buFont typeface="Symbol" panose="05050102010706020507" pitchFamily="18" charset="2"/>
              <a:buChar char="-"/>
              <a:defRPr sz="1100">
                <a:solidFill>
                  <a:schemeClr val="tx1"/>
                </a:solidFill>
              </a:defRPr>
            </a:lvl3pPr>
            <a:lvl4pPr marL="798513" indent="-233363">
              <a:buSzPct val="100000"/>
              <a:buFont typeface="Symbol" panose="05050102010706020507" pitchFamily="18" charset="2"/>
              <a:buChar char="-"/>
              <a:defRPr sz="1100">
                <a:solidFill>
                  <a:schemeClr val="tx1"/>
                </a:solidFill>
              </a:defRPr>
            </a:lvl4pPr>
            <a:lvl5pPr marL="1066800" indent="-233363">
              <a:buSzPct val="100000"/>
              <a:buFont typeface="Symbol" panose="05050102010706020507" pitchFamily="18" charset="2"/>
              <a:buChar char="-"/>
              <a:defRPr sz="1100">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p:txBody>
      </p:sp>
      <p:sp>
        <p:nvSpPr>
          <p:cNvPr id="11" name="Textplatzhalter 9"/>
          <p:cNvSpPr>
            <a:spLocks noGrp="1"/>
          </p:cNvSpPr>
          <p:nvPr>
            <p:ph type="body" sz="quarter" idx="17" hasCustomPrompt="1"/>
          </p:nvPr>
        </p:nvSpPr>
        <p:spPr>
          <a:xfrm>
            <a:off x="3750897" y="4642215"/>
            <a:ext cx="7745703" cy="382944"/>
          </a:xfrm>
          <a:prstGeom prst="rect">
            <a:avLst/>
          </a:prstGeom>
        </p:spPr>
        <p:txBody>
          <a:bodyPr anchor="ctr">
            <a:normAutofit/>
          </a:bodyPr>
          <a:lstStyle>
            <a:lvl1pPr marL="0" indent="0">
              <a:buNone/>
              <a:defRPr lang="en-GB" sz="1800" b="1" i="0" kern="1200" dirty="0">
                <a:solidFill>
                  <a:schemeClr val="tx2">
                    <a:lumMod val="40000"/>
                    <a:lumOff val="60000"/>
                  </a:schemeClr>
                </a:solidFill>
                <a:latin typeface="Arial" panose="020B0604020202020204" pitchFamily="34" charset="0"/>
                <a:ea typeface="+mj-ea"/>
                <a:cs typeface="Arial" panose="020B0604020202020204" pitchFamily="34" charset="0"/>
              </a:defRPr>
            </a:lvl1pPr>
          </a:lstStyle>
          <a:p>
            <a:pPr marL="0" lvl="0" indent="0" algn="l" defTabSz="914343" rtl="0" eaLnBrk="1" latinLnBrk="0" hangingPunct="1">
              <a:spcBef>
                <a:spcPct val="0"/>
              </a:spcBef>
              <a:buClr>
                <a:schemeClr val="accent1"/>
              </a:buClr>
              <a:buSzPct val="120000"/>
              <a:buFont typeface="Wingdings" panose="05000000000000000000" pitchFamily="2" charset="2"/>
              <a:buNone/>
            </a:pPr>
            <a:r>
              <a:rPr lang="de-CH" dirty="0" err="1"/>
              <a:t>Subtitle</a:t>
            </a:r>
            <a:endParaRPr lang="en-GB" dirty="0"/>
          </a:p>
        </p:txBody>
      </p:sp>
      <p:sp>
        <p:nvSpPr>
          <p:cNvPr id="12" name="Footer Placeholder 2">
            <a:extLst>
              <a:ext uri="{FF2B5EF4-FFF2-40B4-BE49-F238E27FC236}">
                <a16:creationId xmlns:a16="http://schemas.microsoft.com/office/drawing/2014/main" id="{1FC9C3EA-1A58-EE4E-9E2A-008A678C3D5B}"/>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20" name="Slide Number Placeholder 3">
            <a:extLst>
              <a:ext uri="{FF2B5EF4-FFF2-40B4-BE49-F238E27FC236}">
                <a16:creationId xmlns:a16="http://schemas.microsoft.com/office/drawing/2014/main" id="{2DD5023D-3726-A646-AA2A-77C3050E92E6}"/>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4" name="Text Placeholder 3">
            <a:extLst>
              <a:ext uri="{FF2B5EF4-FFF2-40B4-BE49-F238E27FC236}">
                <a16:creationId xmlns:a16="http://schemas.microsoft.com/office/drawing/2014/main" id="{D0AB8474-E8E9-F22A-783B-5E802EEFF0F4}"/>
              </a:ext>
            </a:extLst>
          </p:cNvPr>
          <p:cNvSpPr>
            <a:spLocks noGrp="1"/>
          </p:cNvSpPr>
          <p:nvPr>
            <p:ph type="body" sz="quarter" idx="18" hasCustomPrompt="1"/>
          </p:nvPr>
        </p:nvSpPr>
        <p:spPr>
          <a:xfrm>
            <a:off x="304799"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32725693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Zwischentitel mit Untertitel">
    <p:spTree>
      <p:nvGrpSpPr>
        <p:cNvPr id="1" name=""/>
        <p:cNvGrpSpPr/>
        <p:nvPr/>
      </p:nvGrpSpPr>
      <p:grpSpPr>
        <a:xfrm>
          <a:off x="0" y="0"/>
          <a:ext cx="0" cy="0"/>
          <a:chOff x="0" y="0"/>
          <a:chExt cx="0" cy="0"/>
        </a:xfrm>
      </p:grpSpPr>
      <p:sp>
        <p:nvSpPr>
          <p:cNvPr id="11" name="Textplatzhalter 9"/>
          <p:cNvSpPr>
            <a:spLocks noGrp="1"/>
          </p:cNvSpPr>
          <p:nvPr>
            <p:ph type="body" sz="quarter" idx="17" hasCustomPrompt="1"/>
          </p:nvPr>
        </p:nvSpPr>
        <p:spPr>
          <a:xfrm>
            <a:off x="3750897" y="4968000"/>
            <a:ext cx="8136303" cy="332904"/>
          </a:xfrm>
          <a:prstGeom prst="rect">
            <a:avLst/>
          </a:prstGeom>
        </p:spPr>
        <p:txBody>
          <a:bodyPr anchor="t">
            <a:normAutofit/>
          </a:bodyPr>
          <a:lstStyle>
            <a:lvl1pPr marL="0" indent="0">
              <a:lnSpc>
                <a:spcPct val="100000"/>
              </a:lnSpc>
              <a:buNone/>
              <a:defRPr lang="en-GB" sz="1800" b="1" i="0" kern="1200" dirty="0">
                <a:solidFill>
                  <a:schemeClr val="tx2">
                    <a:lumMod val="40000"/>
                    <a:lumOff val="60000"/>
                  </a:schemeClr>
                </a:solidFill>
                <a:latin typeface="Arial" panose="020B0604020202020204" pitchFamily="34" charset="0"/>
                <a:ea typeface="+mj-ea"/>
                <a:cs typeface="Arial" panose="020B0604020202020204" pitchFamily="34" charset="0"/>
              </a:defRPr>
            </a:lvl1pPr>
          </a:lstStyle>
          <a:p>
            <a:pPr marL="0" lvl="0" indent="0" algn="l" defTabSz="914343" rtl="0" eaLnBrk="1" latinLnBrk="0" hangingPunct="1">
              <a:spcBef>
                <a:spcPct val="0"/>
              </a:spcBef>
              <a:buClr>
                <a:schemeClr val="accent1"/>
              </a:buClr>
              <a:buSzPct val="120000"/>
              <a:buFont typeface="Wingdings" panose="05000000000000000000" pitchFamily="2" charset="2"/>
              <a:buNone/>
            </a:pPr>
            <a:r>
              <a:rPr lang="de-CH" dirty="0" err="1"/>
              <a:t>Subtitle</a:t>
            </a:r>
            <a:endParaRPr lang="en-GB" dirty="0"/>
          </a:p>
        </p:txBody>
      </p:sp>
      <p:sp>
        <p:nvSpPr>
          <p:cNvPr id="6" name="Title 5">
            <a:extLst>
              <a:ext uri="{FF2B5EF4-FFF2-40B4-BE49-F238E27FC236}">
                <a16:creationId xmlns:a16="http://schemas.microsoft.com/office/drawing/2014/main" id="{1F72A288-B795-5B47-A569-09628CB85E39}"/>
              </a:ext>
            </a:extLst>
          </p:cNvPr>
          <p:cNvSpPr>
            <a:spLocks noGrp="1"/>
          </p:cNvSpPr>
          <p:nvPr>
            <p:ph type="title" hasCustomPrompt="1"/>
          </p:nvPr>
        </p:nvSpPr>
        <p:spPr>
          <a:xfrm>
            <a:off x="3750897" y="4663423"/>
            <a:ext cx="8136303" cy="332904"/>
          </a:xfrm>
        </p:spPr>
        <p:txBody>
          <a:bodyPr/>
          <a:lstStyle>
            <a:lvl1pPr marL="0" algn="l" defTabSz="914343" rtl="0" eaLnBrk="1" latinLnBrk="0" hangingPunct="1">
              <a:spcBef>
                <a:spcPct val="0"/>
              </a:spcBef>
              <a:buNone/>
              <a:defRPr lang="en-BG" sz="2200" b="1" i="0" kern="1200" dirty="0">
                <a:solidFill>
                  <a:schemeClr val="tx1"/>
                </a:solidFill>
                <a:latin typeface="Arial" panose="020B0604020202020204" pitchFamily="34" charset="0"/>
                <a:ea typeface="+mj-ea"/>
                <a:cs typeface="Arial" panose="020B0604020202020204" pitchFamily="34" charset="0"/>
              </a:defRPr>
            </a:lvl1pPr>
          </a:lstStyle>
          <a:p>
            <a:r>
              <a:rPr lang="de-CH" noProof="0" dirty="0"/>
              <a:t>Titel</a:t>
            </a:r>
            <a:endParaRPr lang="en-BG" dirty="0"/>
          </a:p>
        </p:txBody>
      </p:sp>
      <p:sp>
        <p:nvSpPr>
          <p:cNvPr id="12" name="Rectangle 11">
            <a:extLst>
              <a:ext uri="{FF2B5EF4-FFF2-40B4-BE49-F238E27FC236}">
                <a16:creationId xmlns:a16="http://schemas.microsoft.com/office/drawing/2014/main" id="{75C9A1AB-EA48-CA44-8C16-49F96AE08740}"/>
              </a:ext>
            </a:extLst>
          </p:cNvPr>
          <p:cNvSpPr/>
          <p:nvPr userDrawn="1"/>
        </p:nvSpPr>
        <p:spPr>
          <a:xfrm>
            <a:off x="304800" y="3645024"/>
            <a:ext cx="3194738" cy="27068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p>
            <a:pPr algn="ctr"/>
            <a:endParaRPr lang="x-none" sz="1080">
              <a:solidFill>
                <a:schemeClr val="tx1"/>
              </a:solidFill>
            </a:endParaRPr>
          </a:p>
        </p:txBody>
      </p:sp>
      <p:sp>
        <p:nvSpPr>
          <p:cNvPr id="3" name="Bildplatzhalter 2">
            <a:extLst>
              <a:ext uri="{FF2B5EF4-FFF2-40B4-BE49-F238E27FC236}">
                <a16:creationId xmlns:a16="http://schemas.microsoft.com/office/drawing/2014/main" id="{20BF4AB1-E0AA-4ECB-A9EA-B0975BA15875}"/>
              </a:ext>
            </a:extLst>
          </p:cNvPr>
          <p:cNvSpPr>
            <a:spLocks noGrp="1"/>
          </p:cNvSpPr>
          <p:nvPr>
            <p:ph type="pic" sz="quarter" idx="12" hasCustomPrompt="1"/>
          </p:nvPr>
        </p:nvSpPr>
        <p:spPr>
          <a:xfrm>
            <a:off x="0" y="0"/>
            <a:ext cx="12192000" cy="4560554"/>
          </a:xfrm>
          <a:custGeom>
            <a:avLst/>
            <a:gdLst>
              <a:gd name="connsiteX0" fmla="*/ 0 w 12192000"/>
              <a:gd name="connsiteY0" fmla="*/ 0 h 4560554"/>
              <a:gd name="connsiteX1" fmla="*/ 12192000 w 12192000"/>
              <a:gd name="connsiteY1" fmla="*/ 0 h 4560554"/>
              <a:gd name="connsiteX2" fmla="*/ 12192000 w 12192000"/>
              <a:gd name="connsiteY2" fmla="*/ 1858557 h 4560554"/>
              <a:gd name="connsiteX3" fmla="*/ 12192000 w 12192000"/>
              <a:gd name="connsiteY3" fmla="*/ 4560554 h 4560554"/>
              <a:gd name="connsiteX4" fmla="*/ 3859066 w 12192000"/>
              <a:gd name="connsiteY4" fmla="*/ 4560554 h 4560554"/>
              <a:gd name="connsiteX5" fmla="*/ 3499538 w 12192000"/>
              <a:gd name="connsiteY5" fmla="*/ 4560554 h 4560554"/>
              <a:gd name="connsiteX6" fmla="*/ 3499538 w 12192000"/>
              <a:gd name="connsiteY6" fmla="*/ 3645024 h 4560554"/>
              <a:gd name="connsiteX7" fmla="*/ 304800 w 12192000"/>
              <a:gd name="connsiteY7" fmla="*/ 3645024 h 4560554"/>
              <a:gd name="connsiteX8" fmla="*/ 304800 w 12192000"/>
              <a:gd name="connsiteY8" fmla="*/ 4560554 h 4560554"/>
              <a:gd name="connsiteX9" fmla="*/ 0 w 12192000"/>
              <a:gd name="connsiteY9" fmla="*/ 4560554 h 4560554"/>
              <a:gd name="connsiteX10" fmla="*/ 0 w 12192000"/>
              <a:gd name="connsiteY10" fmla="*/ 1858557 h 4560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4560554">
                <a:moveTo>
                  <a:pt x="0" y="0"/>
                </a:moveTo>
                <a:lnTo>
                  <a:pt x="12192000" y="0"/>
                </a:lnTo>
                <a:lnTo>
                  <a:pt x="12192000" y="1858557"/>
                </a:lnTo>
                <a:lnTo>
                  <a:pt x="12192000" y="4560554"/>
                </a:lnTo>
                <a:lnTo>
                  <a:pt x="3859066" y="4560554"/>
                </a:lnTo>
                <a:lnTo>
                  <a:pt x="3499538" y="4560554"/>
                </a:lnTo>
                <a:lnTo>
                  <a:pt x="3499538" y="3645024"/>
                </a:lnTo>
                <a:lnTo>
                  <a:pt x="304800" y="3645024"/>
                </a:lnTo>
                <a:lnTo>
                  <a:pt x="304800" y="4560554"/>
                </a:lnTo>
                <a:lnTo>
                  <a:pt x="0" y="4560554"/>
                </a:lnTo>
                <a:lnTo>
                  <a:pt x="0" y="1858557"/>
                </a:lnTo>
                <a:close/>
              </a:path>
            </a:pathLst>
          </a:custGeom>
          <a:solidFill>
            <a:schemeClr val="accent1">
              <a:lumMod val="20000"/>
              <a:lumOff val="80000"/>
            </a:schemeClr>
          </a:solidFill>
        </p:spPr>
        <p:txBody>
          <a:bodyPr wrap="square">
            <a:noAutofit/>
          </a:bodyPr>
          <a:lstStyle>
            <a:lvl1pPr>
              <a:buNone/>
              <a:defRPr/>
            </a:lvl1pPr>
          </a:lstStyle>
          <a:p>
            <a:r>
              <a:rPr lang="de-DE"/>
              <a:t>Bild durch Klicken auf Symbol hinzufügen</a:t>
            </a:r>
            <a:endParaRPr lang="en-GB"/>
          </a:p>
        </p:txBody>
      </p:sp>
      <p:sp>
        <p:nvSpPr>
          <p:cNvPr id="21" name="Textplatzhalter 6">
            <a:extLst>
              <a:ext uri="{FF2B5EF4-FFF2-40B4-BE49-F238E27FC236}">
                <a16:creationId xmlns:a16="http://schemas.microsoft.com/office/drawing/2014/main" id="{71C85D38-9674-F841-B456-C9C949C33138}"/>
              </a:ext>
            </a:extLst>
          </p:cNvPr>
          <p:cNvSpPr>
            <a:spLocks noGrp="1"/>
          </p:cNvSpPr>
          <p:nvPr>
            <p:ph type="body" sz="quarter" idx="13" hasCustomPrompt="1"/>
          </p:nvPr>
        </p:nvSpPr>
        <p:spPr>
          <a:xfrm>
            <a:off x="522162" y="4034076"/>
            <a:ext cx="2611524" cy="1365364"/>
          </a:xfrm>
          <a:prstGeom prst="rect">
            <a:avLst/>
          </a:prstGeom>
          <a:noFill/>
        </p:spPr>
        <p:txBody>
          <a:bodyPr wrap="square" lIns="0" anchor="ctr" anchorCtr="0">
            <a:normAutofit/>
          </a:bodyPr>
          <a:lstStyle>
            <a:lvl1pPr marL="0" indent="0" algn="l">
              <a:buNone/>
              <a:defRPr sz="2143" b="1" baseline="0">
                <a:solidFill>
                  <a:schemeClr val="bg1"/>
                </a:solidFill>
                <a:latin typeface="Arial" panose="020B0604020202020204" pitchFamily="34" charset="0"/>
              </a:defRPr>
            </a:lvl1pPr>
          </a:lstStyle>
          <a:p>
            <a:pPr lvl="0"/>
            <a:r>
              <a:rPr lang="de-DE" dirty="0"/>
              <a:t>ZWISCHENTITEL</a:t>
            </a:r>
          </a:p>
        </p:txBody>
      </p:sp>
      <p:cxnSp>
        <p:nvCxnSpPr>
          <p:cNvPr id="22" name="Straight Connector 21">
            <a:extLst>
              <a:ext uri="{FF2B5EF4-FFF2-40B4-BE49-F238E27FC236}">
                <a16:creationId xmlns:a16="http://schemas.microsoft.com/office/drawing/2014/main" id="{8E4D98C5-818A-524B-830F-CC1EB3C9E8C0}"/>
              </a:ext>
            </a:extLst>
          </p:cNvPr>
          <p:cNvCxnSpPr/>
          <p:nvPr userDrawn="1"/>
        </p:nvCxnSpPr>
        <p:spPr>
          <a:xfrm>
            <a:off x="625030" y="5708046"/>
            <a:ext cx="1928571"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Footer Placeholder 2">
            <a:extLst>
              <a:ext uri="{FF2B5EF4-FFF2-40B4-BE49-F238E27FC236}">
                <a16:creationId xmlns:a16="http://schemas.microsoft.com/office/drawing/2014/main" id="{A3CA37C0-4F61-204F-93CA-601181DBC339}"/>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24" name="Slide Number Placeholder 3">
            <a:extLst>
              <a:ext uri="{FF2B5EF4-FFF2-40B4-BE49-F238E27FC236}">
                <a16:creationId xmlns:a16="http://schemas.microsoft.com/office/drawing/2014/main" id="{9D170D34-ABF9-104C-ABEB-7A8ADCB9C086}"/>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28" name="Text Placeholder 17">
            <a:extLst>
              <a:ext uri="{FF2B5EF4-FFF2-40B4-BE49-F238E27FC236}">
                <a16:creationId xmlns:a16="http://schemas.microsoft.com/office/drawing/2014/main" id="{DD98FB1B-ED27-9E43-A542-C39FA8EFFA9D}"/>
              </a:ext>
            </a:extLst>
          </p:cNvPr>
          <p:cNvSpPr>
            <a:spLocks noGrp="1"/>
          </p:cNvSpPr>
          <p:nvPr>
            <p:ph type="body" sz="quarter" idx="15"/>
          </p:nvPr>
        </p:nvSpPr>
        <p:spPr>
          <a:xfrm>
            <a:off x="3750897" y="5321782"/>
            <a:ext cx="7734078" cy="1131554"/>
          </a:xfrm>
          <a:prstGeom prst="rect">
            <a:avLst/>
          </a:prstGeom>
        </p:spPr>
        <p:txBody>
          <a:bodyPr>
            <a:noAutofit/>
          </a:bodyPr>
          <a:lstStyle>
            <a:lvl1pPr marL="5670" indent="-5670">
              <a:buNone/>
              <a:tabLst/>
              <a:defRPr sz="1100">
                <a:solidFill>
                  <a:schemeClr val="tx1"/>
                </a:solidFill>
              </a:defRPr>
            </a:lvl1pPr>
            <a:lvl2pPr marL="349250" indent="-169863">
              <a:buSzPct val="100000"/>
              <a:buFont typeface="Symbol" panose="05050102010706020507" pitchFamily="18" charset="2"/>
              <a:buChar char="-"/>
              <a:defRPr sz="1100">
                <a:solidFill>
                  <a:schemeClr val="tx1"/>
                </a:solidFill>
              </a:defRPr>
            </a:lvl2pPr>
            <a:lvl3pPr marL="573088" indent="-204788">
              <a:buSzPct val="100000"/>
              <a:buFont typeface="Symbol" panose="05050102010706020507" pitchFamily="18" charset="2"/>
              <a:buChar char="-"/>
              <a:defRPr sz="1100">
                <a:solidFill>
                  <a:schemeClr val="tx1"/>
                </a:solidFill>
              </a:defRPr>
            </a:lvl3pPr>
            <a:lvl4pPr marL="798513" indent="-233363">
              <a:buSzPct val="100000"/>
              <a:buFont typeface="Symbol" panose="05050102010706020507" pitchFamily="18" charset="2"/>
              <a:buChar char="-"/>
              <a:defRPr sz="1100">
                <a:solidFill>
                  <a:schemeClr val="tx1"/>
                </a:solidFill>
              </a:defRPr>
            </a:lvl4pPr>
            <a:lvl5pPr marL="1066800" indent="-233363">
              <a:buSzPct val="100000"/>
              <a:buFont typeface="Symbol" panose="05050102010706020507" pitchFamily="18" charset="2"/>
              <a:buChar char="-"/>
              <a:defRPr sz="1100">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p:txBody>
      </p:sp>
      <p:sp>
        <p:nvSpPr>
          <p:cNvPr id="4" name="Text Placeholder 3">
            <a:extLst>
              <a:ext uri="{FF2B5EF4-FFF2-40B4-BE49-F238E27FC236}">
                <a16:creationId xmlns:a16="http://schemas.microsoft.com/office/drawing/2014/main" id="{861FF3FA-48C7-52F2-43A2-1CD13A639B8F}"/>
              </a:ext>
            </a:extLst>
          </p:cNvPr>
          <p:cNvSpPr>
            <a:spLocks noGrp="1"/>
          </p:cNvSpPr>
          <p:nvPr>
            <p:ph type="body" sz="quarter" idx="18" hasCustomPrompt="1"/>
          </p:nvPr>
        </p:nvSpPr>
        <p:spPr>
          <a:xfrm>
            <a:off x="304799"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992506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Inhalte | 1 Bild quer rechts">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9A7FC21-88F3-864C-B946-A31EDD362BAC}"/>
              </a:ext>
            </a:extLst>
          </p:cNvPr>
          <p:cNvSpPr>
            <a:spLocks noGrp="1" noChangeAspect="1"/>
          </p:cNvSpPr>
          <p:nvPr>
            <p:ph type="pic" sz="quarter" idx="19"/>
          </p:nvPr>
        </p:nvSpPr>
        <p:spPr>
          <a:xfrm>
            <a:off x="7168134" y="0"/>
            <a:ext cx="5023866" cy="6857997"/>
          </a:xfrm>
          <a:custGeom>
            <a:avLst/>
            <a:gdLst>
              <a:gd name="connsiteX0" fmla="*/ 2757678 w 7033413"/>
              <a:gd name="connsiteY0" fmla="*/ 0 h 9601200"/>
              <a:gd name="connsiteX1" fmla="*/ 7033413 w 7033413"/>
              <a:gd name="connsiteY1" fmla="*/ 0 h 9601200"/>
              <a:gd name="connsiteX2" fmla="*/ 4237329 w 7033413"/>
              <a:gd name="connsiteY2" fmla="*/ 9601200 h 9601200"/>
              <a:gd name="connsiteX3" fmla="*/ 0 w 7033413"/>
              <a:gd name="connsiteY3" fmla="*/ 9601200 h 9601200"/>
            </a:gdLst>
            <a:ahLst/>
            <a:cxnLst>
              <a:cxn ang="0">
                <a:pos x="connsiteX0" y="connsiteY0"/>
              </a:cxn>
              <a:cxn ang="0">
                <a:pos x="connsiteX1" y="connsiteY1"/>
              </a:cxn>
              <a:cxn ang="0">
                <a:pos x="connsiteX2" y="connsiteY2"/>
              </a:cxn>
              <a:cxn ang="0">
                <a:pos x="connsiteX3" y="connsiteY3"/>
              </a:cxn>
            </a:cxnLst>
            <a:rect l="l" t="t" r="r" b="b"/>
            <a:pathLst>
              <a:path w="7033413" h="9601200">
                <a:moveTo>
                  <a:pt x="2757678" y="0"/>
                </a:moveTo>
                <a:lnTo>
                  <a:pt x="7033413" y="0"/>
                </a:lnTo>
                <a:lnTo>
                  <a:pt x="4237329" y="9601200"/>
                </a:lnTo>
                <a:lnTo>
                  <a:pt x="0" y="9601200"/>
                </a:lnTo>
                <a:close/>
              </a:path>
            </a:pathLst>
          </a:custGeom>
          <a:solidFill>
            <a:schemeClr val="accent1">
              <a:lumMod val="20000"/>
              <a:lumOff val="80000"/>
            </a:schemeClr>
          </a:solidFill>
        </p:spPr>
        <p:txBody>
          <a:bodyPr wrap="square">
            <a:noAutofit/>
          </a:bodyPr>
          <a:lstStyle>
            <a:lvl1pPr>
              <a:buNone/>
              <a:defRPr/>
            </a:lvl1pPr>
          </a:lstStyle>
          <a:p>
            <a:endParaRPr lang="x-none"/>
          </a:p>
        </p:txBody>
      </p:sp>
      <p:sp>
        <p:nvSpPr>
          <p:cNvPr id="11" name="Inhaltsplatzhalter 10"/>
          <p:cNvSpPr>
            <a:spLocks noGrp="1"/>
          </p:cNvSpPr>
          <p:nvPr>
            <p:ph sz="quarter" idx="14"/>
          </p:nvPr>
        </p:nvSpPr>
        <p:spPr>
          <a:xfrm>
            <a:off x="311101" y="3428999"/>
            <a:ext cx="3470356" cy="2695576"/>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Inhaltsplatzhalter 10">
            <a:extLst>
              <a:ext uri="{FF2B5EF4-FFF2-40B4-BE49-F238E27FC236}">
                <a16:creationId xmlns:a16="http://schemas.microsoft.com/office/drawing/2014/main" id="{27A76819-F53F-2248-ACAD-56BB93A520CE}"/>
              </a:ext>
            </a:extLst>
          </p:cNvPr>
          <p:cNvSpPr>
            <a:spLocks noGrp="1"/>
          </p:cNvSpPr>
          <p:nvPr>
            <p:ph sz="quarter" idx="22"/>
          </p:nvPr>
        </p:nvSpPr>
        <p:spPr>
          <a:xfrm>
            <a:off x="311100" y="1479577"/>
            <a:ext cx="7276494" cy="1711298"/>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Footer Placeholder 2">
            <a:extLst>
              <a:ext uri="{FF2B5EF4-FFF2-40B4-BE49-F238E27FC236}">
                <a16:creationId xmlns:a16="http://schemas.microsoft.com/office/drawing/2014/main" id="{2157E0E3-0B93-C748-851D-0EFADDA3EDB1}"/>
              </a:ext>
            </a:extLst>
          </p:cNvPr>
          <p:cNvSpPr>
            <a:spLocks noGrp="1"/>
          </p:cNvSpPr>
          <p:nvPr>
            <p:ph type="ftr" sz="quarter" idx="10"/>
          </p:nvPr>
        </p:nvSpPr>
        <p:spPr>
          <a:xfrm>
            <a:off x="304800" y="6488136"/>
            <a:ext cx="6727304" cy="181223"/>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18" name="Slide Number Placeholder 3">
            <a:extLst>
              <a:ext uri="{FF2B5EF4-FFF2-40B4-BE49-F238E27FC236}">
                <a16:creationId xmlns:a16="http://schemas.microsoft.com/office/drawing/2014/main" id="{2A5260BC-A53E-3B4C-B698-C3F8E949775A}"/>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23" name="Title 1">
            <a:extLst>
              <a:ext uri="{FF2B5EF4-FFF2-40B4-BE49-F238E27FC236}">
                <a16:creationId xmlns:a16="http://schemas.microsoft.com/office/drawing/2014/main" id="{E5FACF3F-7EE9-A143-BDB3-7BAF88A19331}"/>
              </a:ext>
            </a:extLst>
          </p:cNvPr>
          <p:cNvSpPr>
            <a:spLocks noGrp="1"/>
          </p:cNvSpPr>
          <p:nvPr>
            <p:ph type="title" hasCustomPrompt="1"/>
          </p:nvPr>
        </p:nvSpPr>
        <p:spPr>
          <a:xfrm>
            <a:off x="304800" y="612000"/>
            <a:ext cx="7276494"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
        <p:nvSpPr>
          <p:cNvPr id="25" name="Inhaltsplatzhalter 10">
            <a:extLst>
              <a:ext uri="{FF2B5EF4-FFF2-40B4-BE49-F238E27FC236}">
                <a16:creationId xmlns:a16="http://schemas.microsoft.com/office/drawing/2014/main" id="{5921C406-0676-A64E-8903-0DEBA513C736}"/>
              </a:ext>
            </a:extLst>
          </p:cNvPr>
          <p:cNvSpPr>
            <a:spLocks noGrp="1"/>
          </p:cNvSpPr>
          <p:nvPr>
            <p:ph sz="quarter" idx="21"/>
          </p:nvPr>
        </p:nvSpPr>
        <p:spPr>
          <a:xfrm>
            <a:off x="4117238" y="3429001"/>
            <a:ext cx="3470356" cy="2695574"/>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16313716"/>
      </p:ext>
    </p:extLst>
  </p:cSld>
  <p:clrMapOvr>
    <a:masterClrMapping/>
  </p:clrMapOvr>
  <p:extLst>
    <p:ext uri="{DCECCB84-F9BA-43D5-87BE-67443E8EF086}">
      <p15:sldGuideLst xmlns:p15="http://schemas.microsoft.com/office/powerpoint/2012/main">
        <p15:guide id="1" orient="horz" pos="436"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Inhalte | 1 Bild quer rechts | mit Untertitel">
    <p:spTree>
      <p:nvGrpSpPr>
        <p:cNvPr id="1" name=""/>
        <p:cNvGrpSpPr/>
        <p:nvPr/>
      </p:nvGrpSpPr>
      <p:grpSpPr>
        <a:xfrm>
          <a:off x="0" y="0"/>
          <a:ext cx="0" cy="0"/>
          <a:chOff x="0" y="0"/>
          <a:chExt cx="0" cy="0"/>
        </a:xfrm>
      </p:grpSpPr>
      <p:sp>
        <p:nvSpPr>
          <p:cNvPr id="15" name="Inhaltsplatzhalter 10">
            <a:extLst>
              <a:ext uri="{FF2B5EF4-FFF2-40B4-BE49-F238E27FC236}">
                <a16:creationId xmlns:a16="http://schemas.microsoft.com/office/drawing/2014/main" id="{6E6C92FA-1116-4429-9AF6-91A6313DEB9D}"/>
              </a:ext>
            </a:extLst>
          </p:cNvPr>
          <p:cNvSpPr>
            <a:spLocks noGrp="1"/>
          </p:cNvSpPr>
          <p:nvPr>
            <p:ph sz="quarter" idx="14"/>
          </p:nvPr>
        </p:nvSpPr>
        <p:spPr>
          <a:xfrm>
            <a:off x="311101" y="3428999"/>
            <a:ext cx="3470356" cy="2695576"/>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Inhaltsplatzhalter 10">
            <a:extLst>
              <a:ext uri="{FF2B5EF4-FFF2-40B4-BE49-F238E27FC236}">
                <a16:creationId xmlns:a16="http://schemas.microsoft.com/office/drawing/2014/main" id="{8B6B526D-C08C-497F-B733-A223E6D6CEDF}"/>
              </a:ext>
            </a:extLst>
          </p:cNvPr>
          <p:cNvSpPr>
            <a:spLocks noGrp="1"/>
          </p:cNvSpPr>
          <p:nvPr>
            <p:ph sz="quarter" idx="21"/>
          </p:nvPr>
        </p:nvSpPr>
        <p:spPr>
          <a:xfrm>
            <a:off x="4117238" y="3429001"/>
            <a:ext cx="3470356" cy="2695574"/>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Inhaltsplatzhalter 10">
            <a:extLst>
              <a:ext uri="{FF2B5EF4-FFF2-40B4-BE49-F238E27FC236}">
                <a16:creationId xmlns:a16="http://schemas.microsoft.com/office/drawing/2014/main" id="{ECE1F29A-B0B1-47C3-A27F-E36E5217F33C}"/>
              </a:ext>
            </a:extLst>
          </p:cNvPr>
          <p:cNvSpPr>
            <a:spLocks noGrp="1"/>
          </p:cNvSpPr>
          <p:nvPr>
            <p:ph sz="quarter" idx="22"/>
          </p:nvPr>
        </p:nvSpPr>
        <p:spPr>
          <a:xfrm>
            <a:off x="311100" y="1479577"/>
            <a:ext cx="7276494" cy="1711298"/>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Footer Placeholder 2">
            <a:extLst>
              <a:ext uri="{FF2B5EF4-FFF2-40B4-BE49-F238E27FC236}">
                <a16:creationId xmlns:a16="http://schemas.microsoft.com/office/drawing/2014/main" id="{8B6F4A11-D01F-2643-A2F5-1F69F8593BD6}"/>
              </a:ext>
            </a:extLst>
          </p:cNvPr>
          <p:cNvSpPr>
            <a:spLocks noGrp="1"/>
          </p:cNvSpPr>
          <p:nvPr>
            <p:ph type="ftr" sz="quarter" idx="10"/>
          </p:nvPr>
        </p:nvSpPr>
        <p:spPr>
          <a:xfrm>
            <a:off x="304800" y="6488136"/>
            <a:ext cx="6727304" cy="181223"/>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17" name="Slide Number Placeholder 3">
            <a:extLst>
              <a:ext uri="{FF2B5EF4-FFF2-40B4-BE49-F238E27FC236}">
                <a16:creationId xmlns:a16="http://schemas.microsoft.com/office/drawing/2014/main" id="{6EE0D5FC-8D19-8249-8DD6-E484021DE012}"/>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25" name="Title 1">
            <a:extLst>
              <a:ext uri="{FF2B5EF4-FFF2-40B4-BE49-F238E27FC236}">
                <a16:creationId xmlns:a16="http://schemas.microsoft.com/office/drawing/2014/main" id="{50C6BE3F-A44D-AB4C-90CC-E9B3219CA5C8}"/>
              </a:ext>
            </a:extLst>
          </p:cNvPr>
          <p:cNvSpPr>
            <a:spLocks noGrp="1"/>
          </p:cNvSpPr>
          <p:nvPr>
            <p:ph type="title" hasCustomPrompt="1"/>
          </p:nvPr>
        </p:nvSpPr>
        <p:spPr>
          <a:xfrm>
            <a:off x="304800" y="612000"/>
            <a:ext cx="7276494"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
        <p:nvSpPr>
          <p:cNvPr id="27" name="Picture Placeholder 18">
            <a:extLst>
              <a:ext uri="{FF2B5EF4-FFF2-40B4-BE49-F238E27FC236}">
                <a16:creationId xmlns:a16="http://schemas.microsoft.com/office/drawing/2014/main" id="{83A08EAB-749C-F54D-8FAF-F3C2BD64A9FA}"/>
              </a:ext>
            </a:extLst>
          </p:cNvPr>
          <p:cNvSpPr>
            <a:spLocks noGrp="1" noChangeAspect="1"/>
          </p:cNvSpPr>
          <p:nvPr>
            <p:ph type="pic" sz="quarter" idx="19"/>
          </p:nvPr>
        </p:nvSpPr>
        <p:spPr>
          <a:xfrm>
            <a:off x="7168134" y="0"/>
            <a:ext cx="5023866" cy="6857997"/>
          </a:xfrm>
          <a:custGeom>
            <a:avLst/>
            <a:gdLst>
              <a:gd name="connsiteX0" fmla="*/ 2757678 w 7033413"/>
              <a:gd name="connsiteY0" fmla="*/ 0 h 9601200"/>
              <a:gd name="connsiteX1" fmla="*/ 7033413 w 7033413"/>
              <a:gd name="connsiteY1" fmla="*/ 0 h 9601200"/>
              <a:gd name="connsiteX2" fmla="*/ 4237329 w 7033413"/>
              <a:gd name="connsiteY2" fmla="*/ 9601200 h 9601200"/>
              <a:gd name="connsiteX3" fmla="*/ 0 w 7033413"/>
              <a:gd name="connsiteY3" fmla="*/ 9601200 h 9601200"/>
            </a:gdLst>
            <a:ahLst/>
            <a:cxnLst>
              <a:cxn ang="0">
                <a:pos x="connsiteX0" y="connsiteY0"/>
              </a:cxn>
              <a:cxn ang="0">
                <a:pos x="connsiteX1" y="connsiteY1"/>
              </a:cxn>
              <a:cxn ang="0">
                <a:pos x="connsiteX2" y="connsiteY2"/>
              </a:cxn>
              <a:cxn ang="0">
                <a:pos x="connsiteX3" y="connsiteY3"/>
              </a:cxn>
            </a:cxnLst>
            <a:rect l="l" t="t" r="r" b="b"/>
            <a:pathLst>
              <a:path w="7033413" h="9601200">
                <a:moveTo>
                  <a:pt x="2757678" y="0"/>
                </a:moveTo>
                <a:lnTo>
                  <a:pt x="7033413" y="0"/>
                </a:lnTo>
                <a:lnTo>
                  <a:pt x="4237329" y="9601200"/>
                </a:lnTo>
                <a:lnTo>
                  <a:pt x="0" y="9601200"/>
                </a:lnTo>
                <a:close/>
              </a:path>
            </a:pathLst>
          </a:custGeom>
          <a:solidFill>
            <a:schemeClr val="accent1">
              <a:lumMod val="20000"/>
              <a:lumOff val="80000"/>
            </a:schemeClr>
          </a:solidFill>
        </p:spPr>
        <p:txBody>
          <a:bodyPr wrap="square">
            <a:noAutofit/>
          </a:bodyPr>
          <a:lstStyle>
            <a:lvl1pPr>
              <a:buNone/>
              <a:defRPr/>
            </a:lvl1pPr>
          </a:lstStyle>
          <a:p>
            <a:endParaRPr lang="x-none"/>
          </a:p>
        </p:txBody>
      </p:sp>
      <p:sp>
        <p:nvSpPr>
          <p:cNvPr id="3" name="Text Placeholder 2">
            <a:extLst>
              <a:ext uri="{FF2B5EF4-FFF2-40B4-BE49-F238E27FC236}">
                <a16:creationId xmlns:a16="http://schemas.microsoft.com/office/drawing/2014/main" id="{AA7D9D3F-9833-4BE4-BC99-258193D628CD}"/>
              </a:ext>
            </a:extLst>
          </p:cNvPr>
          <p:cNvSpPr>
            <a:spLocks noGrp="1"/>
          </p:cNvSpPr>
          <p:nvPr>
            <p:ph type="body" sz="quarter" idx="23" hasCustomPrompt="1"/>
          </p:nvPr>
        </p:nvSpPr>
        <p:spPr>
          <a:xfrm>
            <a:off x="304800" y="972000"/>
            <a:ext cx="7277100" cy="277813"/>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en-US" dirty="0" err="1"/>
              <a:t>Untertitel</a:t>
            </a:r>
            <a:endParaRPr lang="de-DE" dirty="0"/>
          </a:p>
        </p:txBody>
      </p:sp>
    </p:spTree>
    <p:extLst>
      <p:ext uri="{BB962C8B-B14F-4D97-AF65-F5344CB8AC3E}">
        <p14:creationId xmlns:p14="http://schemas.microsoft.com/office/powerpoint/2010/main" val="35374554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Inhalte | 1 Bild quer links">
    <p:spTree>
      <p:nvGrpSpPr>
        <p:cNvPr id="1" name=""/>
        <p:cNvGrpSpPr/>
        <p:nvPr/>
      </p:nvGrpSpPr>
      <p:grpSpPr>
        <a:xfrm>
          <a:off x="0" y="0"/>
          <a:ext cx="0" cy="0"/>
          <a:chOff x="0" y="0"/>
          <a:chExt cx="0" cy="0"/>
        </a:xfrm>
      </p:grpSpPr>
      <p:sp>
        <p:nvSpPr>
          <p:cNvPr id="11" name="Inhaltsplatzhalter 10"/>
          <p:cNvSpPr>
            <a:spLocks noGrp="1"/>
          </p:cNvSpPr>
          <p:nvPr>
            <p:ph sz="quarter" idx="14"/>
          </p:nvPr>
        </p:nvSpPr>
        <p:spPr>
          <a:xfrm>
            <a:off x="4427184" y="3428999"/>
            <a:ext cx="3493864" cy="2695576"/>
          </a:xfrm>
          <a:prstGeom prst="rect">
            <a:avLst/>
          </a:prstGeom>
        </p:spPr>
        <p:txBody>
          <a:bodyPr/>
          <a:lstStyle>
            <a:lvl1pPr marL="17010" indent="-17010">
              <a:lnSpc>
                <a:spcPct val="150000"/>
              </a:lnSpc>
              <a:buFontTx/>
              <a:buNone/>
              <a:tabLst/>
              <a:defRPr sz="1571"/>
            </a:lvl1pPr>
            <a:lvl2pPr marL="349250" indent="-169863">
              <a:lnSpc>
                <a:spcPct val="150000"/>
              </a:lnSpc>
              <a:buFont typeface="Symbol" panose="05050102010706020507" pitchFamily="18" charset="2"/>
              <a:buChar char="-"/>
              <a:defRPr/>
            </a:lvl2pPr>
            <a:lvl3pPr marL="573088" indent="-204788">
              <a:lnSpc>
                <a:spcPct val="150000"/>
              </a:lnSpc>
              <a:buFont typeface="Symbol" panose="05050102010706020507" pitchFamily="18" charset="2"/>
              <a:buChar char="-"/>
              <a:defRPr/>
            </a:lvl3pPr>
            <a:lvl4pPr marL="798513" indent="-233363">
              <a:lnSpc>
                <a:spcPct val="150000"/>
              </a:lnSpc>
              <a:buFont typeface="Symbol" panose="05050102010706020507" pitchFamily="18" charset="2"/>
              <a:buChar char="-"/>
              <a:defRPr/>
            </a:lvl4pPr>
            <a:lvl5pPr marL="1066800" indent="-233363">
              <a:lnSpc>
                <a:spcPct val="150000"/>
              </a:lnSpc>
              <a:buFont typeface="Symbol" panose="05050102010706020507" pitchFamily="18" charset="2"/>
              <a:buChar char="-"/>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Inhaltsplatzhalter 10">
            <a:extLst>
              <a:ext uri="{FF2B5EF4-FFF2-40B4-BE49-F238E27FC236}">
                <a16:creationId xmlns:a16="http://schemas.microsoft.com/office/drawing/2014/main" id="{A9702CE1-9775-C846-B68D-1D49E24A0FE6}"/>
              </a:ext>
            </a:extLst>
          </p:cNvPr>
          <p:cNvSpPr>
            <a:spLocks noGrp="1"/>
          </p:cNvSpPr>
          <p:nvPr>
            <p:ph sz="quarter" idx="21"/>
          </p:nvPr>
        </p:nvSpPr>
        <p:spPr>
          <a:xfrm>
            <a:off x="8256830" y="3429001"/>
            <a:ext cx="3630370" cy="2695574"/>
          </a:xfrm>
          <a:prstGeom prst="rect">
            <a:avLst/>
          </a:prstGeom>
        </p:spPr>
        <p:txBody>
          <a:bodyPr/>
          <a:lstStyle>
            <a:lvl1pPr marL="17010" indent="-17010">
              <a:lnSpc>
                <a:spcPct val="150000"/>
              </a:lnSpc>
              <a:buFontTx/>
              <a:buNone/>
              <a:tabLst/>
              <a:defRPr sz="1571"/>
            </a:lvl1pPr>
            <a:lvl2pPr marL="349250" indent="-169863">
              <a:lnSpc>
                <a:spcPct val="150000"/>
              </a:lnSpc>
              <a:buFont typeface="Symbol" panose="05050102010706020507" pitchFamily="18" charset="2"/>
              <a:buChar char="-"/>
              <a:defRPr/>
            </a:lvl2pPr>
            <a:lvl3pPr marL="573088" indent="-204788">
              <a:lnSpc>
                <a:spcPct val="150000"/>
              </a:lnSpc>
              <a:buFont typeface="Symbol" panose="05050102010706020507" pitchFamily="18" charset="2"/>
              <a:buChar char="-"/>
              <a:defRPr/>
            </a:lvl3pPr>
            <a:lvl4pPr marL="798513" indent="-233363">
              <a:lnSpc>
                <a:spcPct val="150000"/>
              </a:lnSpc>
              <a:buFont typeface="Symbol" panose="05050102010706020507" pitchFamily="18" charset="2"/>
              <a:buChar char="-"/>
              <a:defRPr/>
            </a:lvl4pPr>
            <a:lvl5pPr marL="1066800" indent="-233363">
              <a:lnSpc>
                <a:spcPct val="150000"/>
              </a:lnSpc>
              <a:buFont typeface="Symbol" panose="05050102010706020507" pitchFamily="18" charset="2"/>
              <a:buChar char="-"/>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Inhaltsplatzhalter 10">
            <a:extLst>
              <a:ext uri="{FF2B5EF4-FFF2-40B4-BE49-F238E27FC236}">
                <a16:creationId xmlns:a16="http://schemas.microsoft.com/office/drawing/2014/main" id="{27A76819-F53F-2248-ACAD-56BB93A520CE}"/>
              </a:ext>
            </a:extLst>
          </p:cNvPr>
          <p:cNvSpPr>
            <a:spLocks noGrp="1"/>
          </p:cNvSpPr>
          <p:nvPr>
            <p:ph sz="quarter" idx="22"/>
          </p:nvPr>
        </p:nvSpPr>
        <p:spPr>
          <a:xfrm>
            <a:off x="4427184" y="1479577"/>
            <a:ext cx="7460016" cy="1711298"/>
          </a:xfrm>
          <a:prstGeom prst="rect">
            <a:avLst/>
          </a:prstGeom>
        </p:spPr>
        <p:txBody>
          <a:bodyPr/>
          <a:lstStyle>
            <a:lvl1pPr marL="17010" indent="-17010">
              <a:lnSpc>
                <a:spcPct val="150000"/>
              </a:lnSpc>
              <a:buFontTx/>
              <a:buNone/>
              <a:tabLst/>
              <a:defRPr sz="1571"/>
            </a:lvl1pPr>
            <a:lvl2pPr marL="349250" indent="-169863">
              <a:lnSpc>
                <a:spcPct val="150000"/>
              </a:lnSpc>
              <a:buFont typeface="Symbol" panose="05050102010706020507" pitchFamily="18" charset="2"/>
              <a:buChar char="-"/>
              <a:defRPr/>
            </a:lvl2pPr>
            <a:lvl3pPr marL="573088" indent="-204788">
              <a:lnSpc>
                <a:spcPct val="150000"/>
              </a:lnSpc>
              <a:buFont typeface="Symbol" panose="05050102010706020507" pitchFamily="18" charset="2"/>
              <a:buChar char="-"/>
              <a:defRPr/>
            </a:lvl3pPr>
            <a:lvl4pPr marL="798513" indent="-233363">
              <a:lnSpc>
                <a:spcPct val="150000"/>
              </a:lnSpc>
              <a:buFont typeface="Symbol" panose="05050102010706020507" pitchFamily="18" charset="2"/>
              <a:buChar char="-"/>
              <a:defRPr/>
            </a:lvl4pPr>
            <a:lvl5pPr marL="1066800" indent="-233363">
              <a:lnSpc>
                <a:spcPct val="150000"/>
              </a:lnSpc>
              <a:buFont typeface="Symbol" panose="05050102010706020507" pitchFamily="18" charset="2"/>
              <a:buChar char="-"/>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Picture Placeholder 18">
            <a:extLst>
              <a:ext uri="{FF2B5EF4-FFF2-40B4-BE49-F238E27FC236}">
                <a16:creationId xmlns:a16="http://schemas.microsoft.com/office/drawing/2014/main" id="{277B735E-4A91-5041-8CA5-C59D0BF6579E}"/>
              </a:ext>
            </a:extLst>
          </p:cNvPr>
          <p:cNvSpPr>
            <a:spLocks noGrp="1"/>
          </p:cNvSpPr>
          <p:nvPr>
            <p:ph type="pic" sz="quarter" idx="23"/>
          </p:nvPr>
        </p:nvSpPr>
        <p:spPr>
          <a:xfrm flipH="1">
            <a:off x="9589" y="-2016"/>
            <a:ext cx="4629086" cy="6860016"/>
          </a:xfrm>
          <a:custGeom>
            <a:avLst/>
            <a:gdLst>
              <a:gd name="connsiteX0" fmla="*/ 2757678 w 7033413"/>
              <a:gd name="connsiteY0" fmla="*/ 0 h 9601200"/>
              <a:gd name="connsiteX1" fmla="*/ 7033413 w 7033413"/>
              <a:gd name="connsiteY1" fmla="*/ 0 h 9601200"/>
              <a:gd name="connsiteX2" fmla="*/ 4237329 w 7033413"/>
              <a:gd name="connsiteY2" fmla="*/ 9601200 h 9601200"/>
              <a:gd name="connsiteX3" fmla="*/ 0 w 7033413"/>
              <a:gd name="connsiteY3" fmla="*/ 9601200 h 9601200"/>
            </a:gdLst>
            <a:ahLst/>
            <a:cxnLst>
              <a:cxn ang="0">
                <a:pos x="connsiteX0" y="connsiteY0"/>
              </a:cxn>
              <a:cxn ang="0">
                <a:pos x="connsiteX1" y="connsiteY1"/>
              </a:cxn>
              <a:cxn ang="0">
                <a:pos x="connsiteX2" y="connsiteY2"/>
              </a:cxn>
              <a:cxn ang="0">
                <a:pos x="connsiteX3" y="connsiteY3"/>
              </a:cxn>
            </a:cxnLst>
            <a:rect l="l" t="t" r="r" b="b"/>
            <a:pathLst>
              <a:path w="7033413" h="9601200">
                <a:moveTo>
                  <a:pt x="2757678" y="0"/>
                </a:moveTo>
                <a:lnTo>
                  <a:pt x="7033413" y="0"/>
                </a:lnTo>
                <a:lnTo>
                  <a:pt x="4237329" y="9601200"/>
                </a:lnTo>
                <a:lnTo>
                  <a:pt x="0" y="9601200"/>
                </a:lnTo>
                <a:close/>
              </a:path>
            </a:pathLst>
          </a:custGeom>
          <a:solidFill>
            <a:schemeClr val="accent1">
              <a:lumMod val="20000"/>
              <a:lumOff val="80000"/>
            </a:schemeClr>
          </a:solidFill>
        </p:spPr>
        <p:txBody>
          <a:bodyPr wrap="square">
            <a:noAutofit/>
          </a:bodyPr>
          <a:lstStyle>
            <a:lvl1pPr>
              <a:buNone/>
              <a:defRPr/>
            </a:lvl1pPr>
          </a:lstStyle>
          <a:p>
            <a:endParaRPr lang="x-none" dirty="0"/>
          </a:p>
        </p:txBody>
      </p:sp>
      <p:sp>
        <p:nvSpPr>
          <p:cNvPr id="25" name="Slide Number Placeholder 3">
            <a:extLst>
              <a:ext uri="{FF2B5EF4-FFF2-40B4-BE49-F238E27FC236}">
                <a16:creationId xmlns:a16="http://schemas.microsoft.com/office/drawing/2014/main" id="{F21811F2-F7AC-364B-943A-29AEF9FCCD96}"/>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27" name="Title 1">
            <a:extLst>
              <a:ext uri="{FF2B5EF4-FFF2-40B4-BE49-F238E27FC236}">
                <a16:creationId xmlns:a16="http://schemas.microsoft.com/office/drawing/2014/main" id="{ECA294F2-C161-7845-9A72-2AC0B0399BD3}"/>
              </a:ext>
            </a:extLst>
          </p:cNvPr>
          <p:cNvSpPr>
            <a:spLocks noGrp="1"/>
          </p:cNvSpPr>
          <p:nvPr>
            <p:ph type="title" hasCustomPrompt="1"/>
          </p:nvPr>
        </p:nvSpPr>
        <p:spPr>
          <a:xfrm>
            <a:off x="4427184" y="612000"/>
            <a:ext cx="7460015" cy="337491"/>
          </a:xfrm>
          <a:prstGeom prst="rect">
            <a:avLst/>
          </a:prstGeom>
        </p:spPr>
        <p:txBody>
          <a:bodyPr lIns="0" tIns="0" bIns="0" anchor="t"/>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
        <p:nvSpPr>
          <p:cNvPr id="29" name="Footer Placeholder 2">
            <a:extLst>
              <a:ext uri="{FF2B5EF4-FFF2-40B4-BE49-F238E27FC236}">
                <a16:creationId xmlns:a16="http://schemas.microsoft.com/office/drawing/2014/main" id="{528E0DD6-C346-C24F-A23B-FD02652F67A9}"/>
              </a:ext>
            </a:extLst>
          </p:cNvPr>
          <p:cNvSpPr>
            <a:spLocks noGrp="1"/>
          </p:cNvSpPr>
          <p:nvPr>
            <p:ph type="ftr" sz="quarter" idx="10"/>
          </p:nvPr>
        </p:nvSpPr>
        <p:spPr>
          <a:xfrm>
            <a:off x="4638674" y="6488137"/>
            <a:ext cx="5080771"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3" name="Text Placeholder 3">
            <a:extLst>
              <a:ext uri="{FF2B5EF4-FFF2-40B4-BE49-F238E27FC236}">
                <a16:creationId xmlns:a16="http://schemas.microsoft.com/office/drawing/2014/main" id="{538B7139-C5B7-713F-1C88-E7013A2D1C0D}"/>
              </a:ext>
            </a:extLst>
          </p:cNvPr>
          <p:cNvSpPr>
            <a:spLocks noGrp="1"/>
          </p:cNvSpPr>
          <p:nvPr>
            <p:ph type="body" sz="quarter" idx="13" hasCustomPrompt="1"/>
          </p:nvPr>
        </p:nvSpPr>
        <p:spPr>
          <a:xfrm>
            <a:off x="4427648"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272800240"/>
      </p:ext>
    </p:extLst>
  </p:cSld>
  <p:clrMapOvr>
    <a:masterClrMapping/>
  </p:clrMapOvr>
  <p:extLst>
    <p:ext uri="{DCECCB84-F9BA-43D5-87BE-67443E8EF086}">
      <p15:sldGuideLst xmlns:p15="http://schemas.microsoft.com/office/powerpoint/2012/main">
        <p15:guide id="1" pos="2797"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Inhalte | 1 Bild quer links | mit Untertitel">
    <p:spTree>
      <p:nvGrpSpPr>
        <p:cNvPr id="1" name=""/>
        <p:cNvGrpSpPr/>
        <p:nvPr/>
      </p:nvGrpSpPr>
      <p:grpSpPr>
        <a:xfrm>
          <a:off x="0" y="0"/>
          <a:ext cx="0" cy="0"/>
          <a:chOff x="0" y="0"/>
          <a:chExt cx="0" cy="0"/>
        </a:xfrm>
      </p:grpSpPr>
      <p:sp>
        <p:nvSpPr>
          <p:cNvPr id="22" name="Inhaltsplatzhalter 10">
            <a:extLst>
              <a:ext uri="{FF2B5EF4-FFF2-40B4-BE49-F238E27FC236}">
                <a16:creationId xmlns:a16="http://schemas.microsoft.com/office/drawing/2014/main" id="{6276A093-DE15-41A5-AD21-D58378D799F4}"/>
              </a:ext>
            </a:extLst>
          </p:cNvPr>
          <p:cNvSpPr>
            <a:spLocks noGrp="1"/>
          </p:cNvSpPr>
          <p:nvPr>
            <p:ph sz="quarter" idx="14"/>
          </p:nvPr>
        </p:nvSpPr>
        <p:spPr>
          <a:xfrm>
            <a:off x="4427184" y="3428999"/>
            <a:ext cx="3470356" cy="2695576"/>
          </a:xfrm>
          <a:prstGeom prst="rect">
            <a:avLst/>
          </a:prstGeom>
        </p:spPr>
        <p:txBody>
          <a:bodyPr/>
          <a:lstStyle>
            <a:lvl1pPr marL="17010" indent="-17010">
              <a:lnSpc>
                <a:spcPct val="150000"/>
              </a:lnSpc>
              <a:buFontTx/>
              <a:buNone/>
              <a:tabLst/>
              <a:defRPr sz="1571"/>
            </a:lvl1pPr>
            <a:lvl2pPr marL="349250" indent="-169863">
              <a:lnSpc>
                <a:spcPct val="150000"/>
              </a:lnSpc>
              <a:buFont typeface="Symbol" panose="05050102010706020507" pitchFamily="18" charset="2"/>
              <a:buChar char="-"/>
              <a:defRPr/>
            </a:lvl2pPr>
            <a:lvl3pPr marL="573088" indent="-204788">
              <a:lnSpc>
                <a:spcPct val="150000"/>
              </a:lnSpc>
              <a:buFont typeface="Symbol" panose="05050102010706020507" pitchFamily="18" charset="2"/>
              <a:buChar char="-"/>
              <a:defRPr/>
            </a:lvl3pPr>
            <a:lvl4pPr marL="798513" indent="-233363">
              <a:lnSpc>
                <a:spcPct val="150000"/>
              </a:lnSpc>
              <a:buFont typeface="Symbol" panose="05050102010706020507" pitchFamily="18" charset="2"/>
              <a:buChar char="-"/>
              <a:defRPr/>
            </a:lvl4pPr>
            <a:lvl5pPr marL="1066800" indent="-233363">
              <a:lnSpc>
                <a:spcPct val="150000"/>
              </a:lnSpc>
              <a:buFont typeface="Symbol" panose="05050102010706020507" pitchFamily="18" charset="2"/>
              <a:buChar char="-"/>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Inhaltsplatzhalter 10">
            <a:extLst>
              <a:ext uri="{FF2B5EF4-FFF2-40B4-BE49-F238E27FC236}">
                <a16:creationId xmlns:a16="http://schemas.microsoft.com/office/drawing/2014/main" id="{3FDECD3C-D1D5-4317-B0A7-4EDDB9F31CCE}"/>
              </a:ext>
            </a:extLst>
          </p:cNvPr>
          <p:cNvSpPr>
            <a:spLocks noGrp="1"/>
          </p:cNvSpPr>
          <p:nvPr>
            <p:ph sz="quarter" idx="21"/>
          </p:nvPr>
        </p:nvSpPr>
        <p:spPr>
          <a:xfrm>
            <a:off x="8256830" y="3429001"/>
            <a:ext cx="3630370" cy="2695574"/>
          </a:xfrm>
          <a:prstGeom prst="rect">
            <a:avLst/>
          </a:prstGeom>
        </p:spPr>
        <p:txBody>
          <a:bodyPr/>
          <a:lstStyle>
            <a:lvl1pPr marL="17010" indent="-17010">
              <a:lnSpc>
                <a:spcPct val="150000"/>
              </a:lnSpc>
              <a:buFontTx/>
              <a:buNone/>
              <a:tabLst/>
              <a:defRPr sz="1571"/>
            </a:lvl1pPr>
            <a:lvl2pPr marL="349250" indent="-169863">
              <a:lnSpc>
                <a:spcPct val="150000"/>
              </a:lnSpc>
              <a:buFont typeface="Symbol" panose="05050102010706020507" pitchFamily="18" charset="2"/>
              <a:buChar char="-"/>
              <a:defRPr/>
            </a:lvl2pPr>
            <a:lvl3pPr marL="573088" indent="-204788">
              <a:lnSpc>
                <a:spcPct val="150000"/>
              </a:lnSpc>
              <a:buFont typeface="Symbol" panose="05050102010706020507" pitchFamily="18" charset="2"/>
              <a:buChar char="-"/>
              <a:defRPr/>
            </a:lvl3pPr>
            <a:lvl4pPr marL="798513" indent="-233363">
              <a:lnSpc>
                <a:spcPct val="150000"/>
              </a:lnSpc>
              <a:buFont typeface="Symbol" panose="05050102010706020507" pitchFamily="18" charset="2"/>
              <a:buChar char="-"/>
              <a:defRPr/>
            </a:lvl4pPr>
            <a:lvl5pPr marL="1066800" indent="-233363">
              <a:lnSpc>
                <a:spcPct val="150000"/>
              </a:lnSpc>
              <a:buFont typeface="Symbol" panose="05050102010706020507" pitchFamily="18" charset="2"/>
              <a:buChar char="-"/>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Inhaltsplatzhalter 10">
            <a:extLst>
              <a:ext uri="{FF2B5EF4-FFF2-40B4-BE49-F238E27FC236}">
                <a16:creationId xmlns:a16="http://schemas.microsoft.com/office/drawing/2014/main" id="{94897C9E-0CE8-439C-A051-7E3087A0C6F9}"/>
              </a:ext>
            </a:extLst>
          </p:cNvPr>
          <p:cNvSpPr>
            <a:spLocks noGrp="1"/>
          </p:cNvSpPr>
          <p:nvPr>
            <p:ph sz="quarter" idx="22"/>
          </p:nvPr>
        </p:nvSpPr>
        <p:spPr>
          <a:xfrm>
            <a:off x="4427184" y="1479577"/>
            <a:ext cx="7460015" cy="1711298"/>
          </a:xfrm>
          <a:prstGeom prst="rect">
            <a:avLst/>
          </a:prstGeom>
        </p:spPr>
        <p:txBody>
          <a:bodyPr/>
          <a:lstStyle>
            <a:lvl1pPr marL="17010" indent="-17010">
              <a:lnSpc>
                <a:spcPct val="150000"/>
              </a:lnSpc>
              <a:buFontTx/>
              <a:buNone/>
              <a:tabLst/>
              <a:defRPr sz="1571"/>
            </a:lvl1pPr>
            <a:lvl2pPr marL="349250" indent="-169863">
              <a:lnSpc>
                <a:spcPct val="150000"/>
              </a:lnSpc>
              <a:buFont typeface="Symbol" panose="05050102010706020507" pitchFamily="18" charset="2"/>
              <a:buChar char="-"/>
              <a:defRPr/>
            </a:lvl2pPr>
            <a:lvl3pPr marL="573088" indent="-204788">
              <a:lnSpc>
                <a:spcPct val="150000"/>
              </a:lnSpc>
              <a:buFont typeface="Symbol" panose="05050102010706020507" pitchFamily="18" charset="2"/>
              <a:buChar char="-"/>
              <a:defRPr/>
            </a:lvl3pPr>
            <a:lvl4pPr marL="798513" indent="-233363">
              <a:lnSpc>
                <a:spcPct val="150000"/>
              </a:lnSpc>
              <a:buFont typeface="Symbol" panose="05050102010706020507" pitchFamily="18" charset="2"/>
              <a:buChar char="-"/>
              <a:defRPr/>
            </a:lvl4pPr>
            <a:lvl5pPr marL="1066800" indent="-233363">
              <a:lnSpc>
                <a:spcPct val="150000"/>
              </a:lnSpc>
              <a:buFont typeface="Symbol" panose="05050102010706020507" pitchFamily="18" charset="2"/>
              <a:buChar char="-"/>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Footer Placeholder 2">
            <a:extLst>
              <a:ext uri="{FF2B5EF4-FFF2-40B4-BE49-F238E27FC236}">
                <a16:creationId xmlns:a16="http://schemas.microsoft.com/office/drawing/2014/main" id="{7D360150-ECEE-3243-84B4-64C7D83FE527}"/>
              </a:ext>
            </a:extLst>
          </p:cNvPr>
          <p:cNvSpPr>
            <a:spLocks noGrp="1"/>
          </p:cNvSpPr>
          <p:nvPr>
            <p:ph type="ftr" sz="quarter" idx="10"/>
          </p:nvPr>
        </p:nvSpPr>
        <p:spPr>
          <a:xfrm>
            <a:off x="4638674" y="6488137"/>
            <a:ext cx="5080771"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14" name="Slide Number Placeholder 3">
            <a:extLst>
              <a:ext uri="{FF2B5EF4-FFF2-40B4-BE49-F238E27FC236}">
                <a16:creationId xmlns:a16="http://schemas.microsoft.com/office/drawing/2014/main" id="{D56E94D7-D8CF-9F4F-810D-BC317BD98983}"/>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17" name="Title 1">
            <a:extLst>
              <a:ext uri="{FF2B5EF4-FFF2-40B4-BE49-F238E27FC236}">
                <a16:creationId xmlns:a16="http://schemas.microsoft.com/office/drawing/2014/main" id="{728E644F-41AD-CA4A-B43E-603DBA846AB0}"/>
              </a:ext>
            </a:extLst>
          </p:cNvPr>
          <p:cNvSpPr>
            <a:spLocks noGrp="1"/>
          </p:cNvSpPr>
          <p:nvPr>
            <p:ph type="title" hasCustomPrompt="1"/>
          </p:nvPr>
        </p:nvSpPr>
        <p:spPr>
          <a:xfrm>
            <a:off x="4427184" y="612000"/>
            <a:ext cx="7460015"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
        <p:nvSpPr>
          <p:cNvPr id="28" name="Picture Placeholder 18">
            <a:extLst>
              <a:ext uri="{FF2B5EF4-FFF2-40B4-BE49-F238E27FC236}">
                <a16:creationId xmlns:a16="http://schemas.microsoft.com/office/drawing/2014/main" id="{DF129536-15F8-DB48-B954-D5D841EC99DE}"/>
              </a:ext>
            </a:extLst>
          </p:cNvPr>
          <p:cNvSpPr>
            <a:spLocks noGrp="1"/>
          </p:cNvSpPr>
          <p:nvPr>
            <p:ph type="pic" sz="quarter" idx="23"/>
          </p:nvPr>
        </p:nvSpPr>
        <p:spPr>
          <a:xfrm flipH="1">
            <a:off x="9589" y="0"/>
            <a:ext cx="4629086" cy="6858000"/>
          </a:xfrm>
          <a:custGeom>
            <a:avLst/>
            <a:gdLst>
              <a:gd name="connsiteX0" fmla="*/ 2757678 w 7033413"/>
              <a:gd name="connsiteY0" fmla="*/ 0 h 9601200"/>
              <a:gd name="connsiteX1" fmla="*/ 7033413 w 7033413"/>
              <a:gd name="connsiteY1" fmla="*/ 0 h 9601200"/>
              <a:gd name="connsiteX2" fmla="*/ 4237329 w 7033413"/>
              <a:gd name="connsiteY2" fmla="*/ 9601200 h 9601200"/>
              <a:gd name="connsiteX3" fmla="*/ 0 w 7033413"/>
              <a:gd name="connsiteY3" fmla="*/ 9601200 h 9601200"/>
            </a:gdLst>
            <a:ahLst/>
            <a:cxnLst>
              <a:cxn ang="0">
                <a:pos x="connsiteX0" y="connsiteY0"/>
              </a:cxn>
              <a:cxn ang="0">
                <a:pos x="connsiteX1" y="connsiteY1"/>
              </a:cxn>
              <a:cxn ang="0">
                <a:pos x="connsiteX2" y="connsiteY2"/>
              </a:cxn>
              <a:cxn ang="0">
                <a:pos x="connsiteX3" y="connsiteY3"/>
              </a:cxn>
            </a:cxnLst>
            <a:rect l="l" t="t" r="r" b="b"/>
            <a:pathLst>
              <a:path w="7033413" h="9601200">
                <a:moveTo>
                  <a:pt x="2757678" y="0"/>
                </a:moveTo>
                <a:lnTo>
                  <a:pt x="7033413" y="0"/>
                </a:lnTo>
                <a:lnTo>
                  <a:pt x="4237329" y="9601200"/>
                </a:lnTo>
                <a:lnTo>
                  <a:pt x="0" y="9601200"/>
                </a:lnTo>
                <a:close/>
              </a:path>
            </a:pathLst>
          </a:custGeom>
          <a:solidFill>
            <a:schemeClr val="accent1">
              <a:lumMod val="20000"/>
              <a:lumOff val="80000"/>
            </a:schemeClr>
          </a:solidFill>
        </p:spPr>
        <p:txBody>
          <a:bodyPr wrap="square">
            <a:noAutofit/>
          </a:bodyPr>
          <a:lstStyle>
            <a:lvl1pPr>
              <a:buNone/>
              <a:defRPr/>
            </a:lvl1pPr>
          </a:lstStyle>
          <a:p>
            <a:endParaRPr lang="x-none" dirty="0"/>
          </a:p>
        </p:txBody>
      </p:sp>
      <p:sp>
        <p:nvSpPr>
          <p:cNvPr id="3" name="Text Placeholder 2">
            <a:extLst>
              <a:ext uri="{FF2B5EF4-FFF2-40B4-BE49-F238E27FC236}">
                <a16:creationId xmlns:a16="http://schemas.microsoft.com/office/drawing/2014/main" id="{8FBBBF67-7449-439A-9CE1-919EF17B47F7}"/>
              </a:ext>
            </a:extLst>
          </p:cNvPr>
          <p:cNvSpPr>
            <a:spLocks noGrp="1"/>
          </p:cNvSpPr>
          <p:nvPr>
            <p:ph type="body" sz="quarter" idx="24" hasCustomPrompt="1"/>
          </p:nvPr>
        </p:nvSpPr>
        <p:spPr>
          <a:xfrm>
            <a:off x="4427538" y="972000"/>
            <a:ext cx="7459662" cy="277813"/>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en-US" dirty="0" err="1"/>
              <a:t>Untertitel</a:t>
            </a:r>
            <a:endParaRPr lang="de-DE" dirty="0"/>
          </a:p>
        </p:txBody>
      </p:sp>
      <p:sp>
        <p:nvSpPr>
          <p:cNvPr id="2" name="Text Placeholder 3">
            <a:extLst>
              <a:ext uri="{FF2B5EF4-FFF2-40B4-BE49-F238E27FC236}">
                <a16:creationId xmlns:a16="http://schemas.microsoft.com/office/drawing/2014/main" id="{5D51A09C-2A65-79C8-0D7E-A8A1627B8E2C}"/>
              </a:ext>
            </a:extLst>
          </p:cNvPr>
          <p:cNvSpPr>
            <a:spLocks noGrp="1"/>
          </p:cNvSpPr>
          <p:nvPr>
            <p:ph type="body" sz="quarter" idx="13" hasCustomPrompt="1"/>
          </p:nvPr>
        </p:nvSpPr>
        <p:spPr>
          <a:xfrm>
            <a:off x="4427648" y="159380"/>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26280369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ontakt_2Persone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55587B-1E1E-2244-991C-44E66F3D5BCE}"/>
              </a:ext>
            </a:extLst>
          </p:cNvPr>
          <p:cNvSpPr>
            <a:spLocks noGrp="1"/>
          </p:cNvSpPr>
          <p:nvPr>
            <p:ph type="body" sz="quarter" idx="25" hasCustomPrompt="1"/>
          </p:nvPr>
        </p:nvSpPr>
        <p:spPr>
          <a:xfrm>
            <a:off x="2751563" y="2759981"/>
            <a:ext cx="2365976" cy="669014"/>
          </a:xfrm>
          <a:prstGeom prst="rect">
            <a:avLst/>
          </a:prstGeom>
        </p:spPr>
        <p:txBody>
          <a:bodyPr anchor="b">
            <a:noAutofit/>
          </a:bodyPr>
          <a:lstStyle>
            <a:lvl1pPr marL="17010" indent="-17010">
              <a:buNone/>
              <a:tabLst/>
              <a:defRPr sz="1800" b="1"/>
            </a:lvl1pPr>
            <a:lvl2pPr>
              <a:buNone/>
              <a:defRPr/>
            </a:lvl2pPr>
            <a:lvl3pPr>
              <a:buNone/>
              <a:defRPr/>
            </a:lvl3pPr>
            <a:lvl4pPr>
              <a:buNone/>
              <a:defRPr/>
            </a:lvl4pPr>
            <a:lvl5pPr>
              <a:buNone/>
              <a:defRPr/>
            </a:lvl5pPr>
          </a:lstStyle>
          <a:p>
            <a:pPr lvl="0"/>
            <a:r>
              <a:rPr lang="en-GB" dirty="0"/>
              <a:t>Name</a:t>
            </a:r>
            <a:endParaRPr lang="x-none" dirty="0"/>
          </a:p>
        </p:txBody>
      </p:sp>
      <p:sp>
        <p:nvSpPr>
          <p:cNvPr id="16" name="Text Placeholder 2">
            <a:extLst>
              <a:ext uri="{FF2B5EF4-FFF2-40B4-BE49-F238E27FC236}">
                <a16:creationId xmlns:a16="http://schemas.microsoft.com/office/drawing/2014/main" id="{5FB629BA-4E4C-4745-A7EE-CF45FF73083B}"/>
              </a:ext>
            </a:extLst>
          </p:cNvPr>
          <p:cNvSpPr>
            <a:spLocks noGrp="1"/>
          </p:cNvSpPr>
          <p:nvPr>
            <p:ph type="body" sz="quarter" idx="26" hasCustomPrompt="1"/>
          </p:nvPr>
        </p:nvSpPr>
        <p:spPr>
          <a:xfrm>
            <a:off x="2751563" y="3516252"/>
            <a:ext cx="2365976" cy="669014"/>
          </a:xfrm>
          <a:prstGeom prst="rect">
            <a:avLst/>
          </a:prstGeom>
        </p:spPr>
        <p:txBody>
          <a:bodyPr>
            <a:noAutofit/>
          </a:bodyPr>
          <a:lstStyle>
            <a:lvl1pPr marL="17010" indent="-17010">
              <a:buNone/>
              <a:tabLst/>
              <a:defRPr sz="1400" b="0">
                <a:solidFill>
                  <a:schemeClr val="tx1"/>
                </a:solidFill>
              </a:defRPr>
            </a:lvl1pPr>
            <a:lvl2pPr>
              <a:buNone/>
              <a:defRPr/>
            </a:lvl2pPr>
            <a:lvl3pPr>
              <a:buNone/>
              <a:defRPr/>
            </a:lvl3pPr>
            <a:lvl4pPr>
              <a:buNone/>
              <a:defRPr/>
            </a:lvl4pPr>
            <a:lvl5pPr>
              <a:buNone/>
              <a:defRPr/>
            </a:lvl5pPr>
          </a:lstStyle>
          <a:p>
            <a:pPr lvl="0"/>
            <a:r>
              <a:rPr lang="en-GB" dirty="0" err="1"/>
              <a:t>Funktion</a:t>
            </a:r>
            <a:endParaRPr lang="x-none" dirty="0"/>
          </a:p>
        </p:txBody>
      </p:sp>
      <p:sp>
        <p:nvSpPr>
          <p:cNvPr id="18" name="Text Placeholder 2">
            <a:extLst>
              <a:ext uri="{FF2B5EF4-FFF2-40B4-BE49-F238E27FC236}">
                <a16:creationId xmlns:a16="http://schemas.microsoft.com/office/drawing/2014/main" id="{81CBB4B0-048A-A549-B940-EDDB49EC742E}"/>
              </a:ext>
            </a:extLst>
          </p:cNvPr>
          <p:cNvSpPr>
            <a:spLocks noGrp="1"/>
          </p:cNvSpPr>
          <p:nvPr>
            <p:ph type="body" sz="quarter" idx="27" hasCustomPrompt="1"/>
          </p:nvPr>
        </p:nvSpPr>
        <p:spPr>
          <a:xfrm>
            <a:off x="2751563" y="4410026"/>
            <a:ext cx="2365976" cy="716710"/>
          </a:xfrm>
          <a:prstGeom prst="rect">
            <a:avLst/>
          </a:prstGeom>
        </p:spPr>
        <p:txBody>
          <a:bodyPr>
            <a:noAutofit/>
          </a:bodyPr>
          <a:lstStyle>
            <a:lvl1pPr marL="17010" indent="-17010">
              <a:buNone/>
              <a:tabLst/>
              <a:defRPr sz="1400" b="0">
                <a:solidFill>
                  <a:schemeClr val="accent2"/>
                </a:solidFill>
              </a:defRPr>
            </a:lvl1pPr>
            <a:lvl2pPr>
              <a:buNone/>
              <a:defRPr/>
            </a:lvl2pPr>
            <a:lvl3pPr>
              <a:buNone/>
              <a:defRPr/>
            </a:lvl3pPr>
            <a:lvl4pPr>
              <a:buNone/>
              <a:defRPr/>
            </a:lvl4pPr>
            <a:lvl5pPr>
              <a:buNone/>
              <a:defRPr/>
            </a:lvl5pPr>
          </a:lstStyle>
          <a:p>
            <a:pPr lvl="0"/>
            <a:r>
              <a:rPr lang="en-GB" dirty="0" err="1"/>
              <a:t>Telefon</a:t>
            </a:r>
            <a:r>
              <a:rPr lang="en-GB" dirty="0"/>
              <a:t> und Email</a:t>
            </a:r>
            <a:endParaRPr lang="x-none" dirty="0"/>
          </a:p>
        </p:txBody>
      </p:sp>
      <p:sp>
        <p:nvSpPr>
          <p:cNvPr id="30" name="Picture Placeholder 29">
            <a:extLst>
              <a:ext uri="{FF2B5EF4-FFF2-40B4-BE49-F238E27FC236}">
                <a16:creationId xmlns:a16="http://schemas.microsoft.com/office/drawing/2014/main" id="{21B748EE-4A20-E349-8FF2-3C79C00F9C57}"/>
              </a:ext>
            </a:extLst>
          </p:cNvPr>
          <p:cNvSpPr>
            <a:spLocks noGrp="1"/>
          </p:cNvSpPr>
          <p:nvPr>
            <p:ph type="pic" sz="quarter" idx="24"/>
          </p:nvPr>
        </p:nvSpPr>
        <p:spPr>
          <a:xfrm>
            <a:off x="304800" y="1814549"/>
            <a:ext cx="2329116" cy="3312188"/>
          </a:xfrm>
          <a:prstGeom prst="rect">
            <a:avLst/>
          </a:prstGeom>
          <a:solidFill>
            <a:schemeClr val="accent1">
              <a:lumMod val="20000"/>
              <a:lumOff val="80000"/>
            </a:schemeClr>
          </a:solidFill>
        </p:spPr>
        <p:txBody>
          <a:bodyPr wrap="square">
            <a:noAutofit/>
          </a:bodyPr>
          <a:lstStyle>
            <a:lvl1pPr>
              <a:buNone/>
              <a:defRPr/>
            </a:lvl1pPr>
          </a:lstStyle>
          <a:p>
            <a:endParaRPr lang="x-none"/>
          </a:p>
        </p:txBody>
      </p:sp>
      <p:sp>
        <p:nvSpPr>
          <p:cNvPr id="31" name="Text Placeholder 2">
            <a:extLst>
              <a:ext uri="{FF2B5EF4-FFF2-40B4-BE49-F238E27FC236}">
                <a16:creationId xmlns:a16="http://schemas.microsoft.com/office/drawing/2014/main" id="{977971E7-3326-5949-ACDE-7C91AEA16C04}"/>
              </a:ext>
            </a:extLst>
          </p:cNvPr>
          <p:cNvSpPr>
            <a:spLocks noGrp="1"/>
          </p:cNvSpPr>
          <p:nvPr>
            <p:ph type="body" sz="quarter" idx="28" hasCustomPrompt="1"/>
          </p:nvPr>
        </p:nvSpPr>
        <p:spPr>
          <a:xfrm>
            <a:off x="9521226" y="2759981"/>
            <a:ext cx="2365976" cy="669014"/>
          </a:xfrm>
          <a:prstGeom prst="rect">
            <a:avLst/>
          </a:prstGeom>
        </p:spPr>
        <p:txBody>
          <a:bodyPr anchor="b">
            <a:noAutofit/>
          </a:bodyPr>
          <a:lstStyle>
            <a:lvl1pPr marL="17010" indent="-17010">
              <a:buNone/>
              <a:tabLst/>
              <a:defRPr sz="1800" b="1"/>
            </a:lvl1pPr>
            <a:lvl2pPr>
              <a:buNone/>
              <a:defRPr/>
            </a:lvl2pPr>
            <a:lvl3pPr>
              <a:buNone/>
              <a:defRPr/>
            </a:lvl3pPr>
            <a:lvl4pPr>
              <a:buNone/>
              <a:defRPr/>
            </a:lvl4pPr>
            <a:lvl5pPr>
              <a:buNone/>
              <a:defRPr/>
            </a:lvl5pPr>
          </a:lstStyle>
          <a:p>
            <a:pPr lvl="0"/>
            <a:r>
              <a:rPr lang="en-GB" dirty="0"/>
              <a:t>Name</a:t>
            </a:r>
            <a:endParaRPr lang="x-none" dirty="0"/>
          </a:p>
        </p:txBody>
      </p:sp>
      <p:sp>
        <p:nvSpPr>
          <p:cNvPr id="32" name="Text Placeholder 2">
            <a:extLst>
              <a:ext uri="{FF2B5EF4-FFF2-40B4-BE49-F238E27FC236}">
                <a16:creationId xmlns:a16="http://schemas.microsoft.com/office/drawing/2014/main" id="{38847FF0-B49C-E944-A3A1-0606F516D461}"/>
              </a:ext>
            </a:extLst>
          </p:cNvPr>
          <p:cNvSpPr>
            <a:spLocks noGrp="1"/>
          </p:cNvSpPr>
          <p:nvPr>
            <p:ph type="body" sz="quarter" idx="29" hasCustomPrompt="1"/>
          </p:nvPr>
        </p:nvSpPr>
        <p:spPr>
          <a:xfrm>
            <a:off x="9521226" y="3516252"/>
            <a:ext cx="2365976" cy="669014"/>
          </a:xfrm>
          <a:prstGeom prst="rect">
            <a:avLst/>
          </a:prstGeom>
        </p:spPr>
        <p:txBody>
          <a:bodyPr>
            <a:noAutofit/>
          </a:bodyPr>
          <a:lstStyle>
            <a:lvl1pPr marL="17010" indent="-17010">
              <a:buNone/>
              <a:tabLst/>
              <a:defRPr sz="1400" b="0">
                <a:solidFill>
                  <a:schemeClr val="tx1"/>
                </a:solidFill>
              </a:defRPr>
            </a:lvl1pPr>
            <a:lvl2pPr>
              <a:buNone/>
              <a:defRPr/>
            </a:lvl2pPr>
            <a:lvl3pPr>
              <a:buNone/>
              <a:defRPr/>
            </a:lvl3pPr>
            <a:lvl4pPr>
              <a:buNone/>
              <a:defRPr/>
            </a:lvl4pPr>
            <a:lvl5pPr>
              <a:buNone/>
              <a:defRPr/>
            </a:lvl5pPr>
          </a:lstStyle>
          <a:p>
            <a:pPr lvl="0"/>
            <a:r>
              <a:rPr lang="en-GB" dirty="0" err="1"/>
              <a:t>Funktion</a:t>
            </a:r>
            <a:endParaRPr lang="x-none" dirty="0"/>
          </a:p>
        </p:txBody>
      </p:sp>
      <p:sp>
        <p:nvSpPr>
          <p:cNvPr id="33" name="Text Placeholder 2">
            <a:extLst>
              <a:ext uri="{FF2B5EF4-FFF2-40B4-BE49-F238E27FC236}">
                <a16:creationId xmlns:a16="http://schemas.microsoft.com/office/drawing/2014/main" id="{C186D070-65AF-D34F-BB62-6D2414A84FAD}"/>
              </a:ext>
            </a:extLst>
          </p:cNvPr>
          <p:cNvSpPr>
            <a:spLocks noGrp="1"/>
          </p:cNvSpPr>
          <p:nvPr>
            <p:ph type="body" sz="quarter" idx="30" hasCustomPrompt="1"/>
          </p:nvPr>
        </p:nvSpPr>
        <p:spPr>
          <a:xfrm>
            <a:off x="9521226" y="4410026"/>
            <a:ext cx="2365976" cy="716710"/>
          </a:xfrm>
          <a:prstGeom prst="rect">
            <a:avLst/>
          </a:prstGeom>
        </p:spPr>
        <p:txBody>
          <a:bodyPr>
            <a:noAutofit/>
          </a:bodyPr>
          <a:lstStyle>
            <a:lvl1pPr marL="17010" indent="-17010">
              <a:buNone/>
              <a:tabLst/>
              <a:defRPr sz="1400" b="0">
                <a:solidFill>
                  <a:schemeClr val="accent2"/>
                </a:solidFill>
              </a:defRPr>
            </a:lvl1pPr>
            <a:lvl2pPr>
              <a:buNone/>
              <a:defRPr/>
            </a:lvl2pPr>
            <a:lvl3pPr>
              <a:buNone/>
              <a:defRPr/>
            </a:lvl3pPr>
            <a:lvl4pPr>
              <a:buNone/>
              <a:defRPr/>
            </a:lvl4pPr>
            <a:lvl5pPr>
              <a:buNone/>
              <a:defRPr/>
            </a:lvl5pPr>
          </a:lstStyle>
          <a:p>
            <a:pPr lvl="0"/>
            <a:r>
              <a:rPr lang="en-GB" dirty="0" err="1"/>
              <a:t>Telefon</a:t>
            </a:r>
            <a:r>
              <a:rPr lang="en-GB" dirty="0"/>
              <a:t> und Email</a:t>
            </a:r>
            <a:endParaRPr lang="x-none" dirty="0"/>
          </a:p>
        </p:txBody>
      </p:sp>
      <p:sp>
        <p:nvSpPr>
          <p:cNvPr id="35" name="Picture Placeholder 34">
            <a:extLst>
              <a:ext uri="{FF2B5EF4-FFF2-40B4-BE49-F238E27FC236}">
                <a16:creationId xmlns:a16="http://schemas.microsoft.com/office/drawing/2014/main" id="{6E12EDFA-A4F0-6A49-833D-7D89E84C15CD}"/>
              </a:ext>
            </a:extLst>
          </p:cNvPr>
          <p:cNvSpPr>
            <a:spLocks noGrp="1"/>
          </p:cNvSpPr>
          <p:nvPr>
            <p:ph type="pic" sz="quarter" idx="31"/>
          </p:nvPr>
        </p:nvSpPr>
        <p:spPr>
          <a:xfrm>
            <a:off x="7074463" y="1814549"/>
            <a:ext cx="2329116" cy="3312188"/>
          </a:xfrm>
          <a:prstGeom prst="rect">
            <a:avLst/>
          </a:prstGeom>
          <a:solidFill>
            <a:schemeClr val="accent1">
              <a:lumMod val="20000"/>
              <a:lumOff val="80000"/>
            </a:schemeClr>
          </a:solidFill>
        </p:spPr>
        <p:txBody>
          <a:bodyPr wrap="square">
            <a:noAutofit/>
          </a:bodyPr>
          <a:lstStyle>
            <a:lvl1pPr>
              <a:buNone/>
              <a:defRPr/>
            </a:lvl1pPr>
          </a:lstStyle>
          <a:p>
            <a:endParaRPr lang="x-none"/>
          </a:p>
        </p:txBody>
      </p:sp>
      <p:sp>
        <p:nvSpPr>
          <p:cNvPr id="19" name="Footer Placeholder 2">
            <a:extLst>
              <a:ext uri="{FF2B5EF4-FFF2-40B4-BE49-F238E27FC236}">
                <a16:creationId xmlns:a16="http://schemas.microsoft.com/office/drawing/2014/main" id="{A896A7A5-8449-7748-A56D-4809827648DA}"/>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23" name="Slide Number Placeholder 3">
            <a:extLst>
              <a:ext uri="{FF2B5EF4-FFF2-40B4-BE49-F238E27FC236}">
                <a16:creationId xmlns:a16="http://schemas.microsoft.com/office/drawing/2014/main" id="{C238AEE7-B925-4A4D-84FF-98BD18B437AB}"/>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26" name="Title 1">
            <a:extLst>
              <a:ext uri="{FF2B5EF4-FFF2-40B4-BE49-F238E27FC236}">
                <a16:creationId xmlns:a16="http://schemas.microsoft.com/office/drawing/2014/main" id="{D699C245-DBB0-EC49-80A7-FC4EAED5D121}"/>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Tree>
    <p:extLst>
      <p:ext uri="{BB962C8B-B14F-4D97-AF65-F5344CB8AC3E}">
        <p14:creationId xmlns:p14="http://schemas.microsoft.com/office/powerpoint/2010/main" val="4875542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ontakt_3Personen">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25A69B90-1B60-4A0D-BC60-52FACDA553B8}"/>
              </a:ext>
            </a:extLst>
          </p:cNvPr>
          <p:cNvSpPr>
            <a:spLocks noGrp="1"/>
          </p:cNvSpPr>
          <p:nvPr>
            <p:ph type="body" sz="quarter" idx="25" hasCustomPrompt="1"/>
          </p:nvPr>
        </p:nvSpPr>
        <p:spPr>
          <a:xfrm>
            <a:off x="2082915" y="2800217"/>
            <a:ext cx="1800000" cy="476590"/>
          </a:xfrm>
          <a:prstGeom prst="rect">
            <a:avLst/>
          </a:prstGeom>
        </p:spPr>
        <p:txBody>
          <a:bodyPr anchor="b">
            <a:noAutofit/>
          </a:bodyPr>
          <a:lstStyle>
            <a:lvl1pPr marL="17010" indent="-17010">
              <a:buNone/>
              <a:tabLst/>
              <a:defRPr b="1"/>
            </a:lvl1pPr>
            <a:lvl2pPr>
              <a:buNone/>
              <a:defRPr/>
            </a:lvl2pPr>
            <a:lvl3pPr>
              <a:buNone/>
              <a:defRPr/>
            </a:lvl3pPr>
            <a:lvl4pPr>
              <a:buNone/>
              <a:defRPr/>
            </a:lvl4pPr>
            <a:lvl5pPr>
              <a:buNone/>
              <a:defRPr/>
            </a:lvl5pPr>
          </a:lstStyle>
          <a:p>
            <a:pPr lvl="0"/>
            <a:r>
              <a:rPr lang="en-GB" dirty="0"/>
              <a:t>Name</a:t>
            </a:r>
            <a:endParaRPr lang="x-none" dirty="0"/>
          </a:p>
        </p:txBody>
      </p:sp>
      <p:sp>
        <p:nvSpPr>
          <p:cNvPr id="13" name="Text Placeholder 2">
            <a:extLst>
              <a:ext uri="{FF2B5EF4-FFF2-40B4-BE49-F238E27FC236}">
                <a16:creationId xmlns:a16="http://schemas.microsoft.com/office/drawing/2014/main" id="{1FA5039D-E0A1-46BC-866B-4176279BC9D3}"/>
              </a:ext>
            </a:extLst>
          </p:cNvPr>
          <p:cNvSpPr>
            <a:spLocks noGrp="1"/>
          </p:cNvSpPr>
          <p:nvPr>
            <p:ph type="body" sz="quarter" idx="26" hasCustomPrompt="1"/>
          </p:nvPr>
        </p:nvSpPr>
        <p:spPr>
          <a:xfrm>
            <a:off x="2082915" y="3380586"/>
            <a:ext cx="1800000" cy="805817"/>
          </a:xfrm>
          <a:prstGeom prst="rect">
            <a:avLst/>
          </a:prstGeom>
        </p:spPr>
        <p:txBody>
          <a:bodyPr>
            <a:noAutofit/>
          </a:bodyPr>
          <a:lstStyle>
            <a:lvl1pPr marL="17010" indent="-17010">
              <a:buNone/>
              <a:tabLst/>
              <a:defRPr sz="1429" b="0">
                <a:solidFill>
                  <a:schemeClr val="tx1"/>
                </a:solidFill>
              </a:defRPr>
            </a:lvl1pPr>
            <a:lvl2pPr>
              <a:buNone/>
              <a:defRPr/>
            </a:lvl2pPr>
            <a:lvl3pPr>
              <a:buNone/>
              <a:defRPr/>
            </a:lvl3pPr>
            <a:lvl4pPr>
              <a:buNone/>
              <a:defRPr/>
            </a:lvl4pPr>
            <a:lvl5pPr>
              <a:buNone/>
              <a:defRPr/>
            </a:lvl5pPr>
          </a:lstStyle>
          <a:p>
            <a:pPr lvl="0"/>
            <a:r>
              <a:rPr lang="en-GB" dirty="0" err="1"/>
              <a:t>Funktion</a:t>
            </a:r>
            <a:endParaRPr lang="x-none" dirty="0"/>
          </a:p>
        </p:txBody>
      </p:sp>
      <p:sp>
        <p:nvSpPr>
          <p:cNvPr id="14" name="Text Placeholder 2">
            <a:extLst>
              <a:ext uri="{FF2B5EF4-FFF2-40B4-BE49-F238E27FC236}">
                <a16:creationId xmlns:a16="http://schemas.microsoft.com/office/drawing/2014/main" id="{AD82A621-7969-4BD6-A1DE-78165A137610}"/>
              </a:ext>
            </a:extLst>
          </p:cNvPr>
          <p:cNvSpPr>
            <a:spLocks noGrp="1"/>
          </p:cNvSpPr>
          <p:nvPr>
            <p:ph type="body" sz="quarter" idx="27" hasCustomPrompt="1"/>
          </p:nvPr>
        </p:nvSpPr>
        <p:spPr>
          <a:xfrm>
            <a:off x="2082914" y="4274361"/>
            <a:ext cx="1800000" cy="535188"/>
          </a:xfrm>
          <a:prstGeom prst="rect">
            <a:avLst/>
          </a:prstGeom>
        </p:spPr>
        <p:txBody>
          <a:bodyPr>
            <a:noAutofit/>
          </a:bodyPr>
          <a:lstStyle>
            <a:lvl1pPr marL="17010" indent="-17010">
              <a:buNone/>
              <a:tabLst/>
              <a:defRPr sz="1429" b="0">
                <a:solidFill>
                  <a:schemeClr val="accent2"/>
                </a:solidFill>
              </a:defRPr>
            </a:lvl1pPr>
            <a:lvl2pPr>
              <a:buNone/>
              <a:defRPr/>
            </a:lvl2pPr>
            <a:lvl3pPr>
              <a:buNone/>
              <a:defRPr/>
            </a:lvl3pPr>
            <a:lvl4pPr>
              <a:buNone/>
              <a:defRPr/>
            </a:lvl4pPr>
            <a:lvl5pPr>
              <a:buNone/>
              <a:defRPr/>
            </a:lvl5pPr>
          </a:lstStyle>
          <a:p>
            <a:pPr lvl="0"/>
            <a:r>
              <a:rPr lang="en-GB" dirty="0" err="1"/>
              <a:t>Telefon</a:t>
            </a:r>
            <a:r>
              <a:rPr lang="en-GB" dirty="0"/>
              <a:t> und Email</a:t>
            </a:r>
            <a:endParaRPr lang="x-none" dirty="0"/>
          </a:p>
        </p:txBody>
      </p:sp>
      <p:sp>
        <p:nvSpPr>
          <p:cNvPr id="16" name="Picture Placeholder 29">
            <a:extLst>
              <a:ext uri="{FF2B5EF4-FFF2-40B4-BE49-F238E27FC236}">
                <a16:creationId xmlns:a16="http://schemas.microsoft.com/office/drawing/2014/main" id="{5CB13B39-6355-4C14-AC09-7CEA37F85537}"/>
              </a:ext>
            </a:extLst>
          </p:cNvPr>
          <p:cNvSpPr>
            <a:spLocks noGrp="1"/>
          </p:cNvSpPr>
          <p:nvPr>
            <p:ph type="pic" sz="quarter" idx="24"/>
          </p:nvPr>
        </p:nvSpPr>
        <p:spPr>
          <a:xfrm>
            <a:off x="304800" y="2450025"/>
            <a:ext cx="1659206" cy="2359524"/>
          </a:xfrm>
          <a:prstGeom prst="rect">
            <a:avLst/>
          </a:prstGeom>
          <a:solidFill>
            <a:schemeClr val="accent1">
              <a:lumMod val="20000"/>
              <a:lumOff val="80000"/>
            </a:schemeClr>
          </a:solidFill>
        </p:spPr>
        <p:txBody>
          <a:bodyPr wrap="square">
            <a:noAutofit/>
          </a:bodyPr>
          <a:lstStyle>
            <a:lvl1pPr>
              <a:buNone/>
              <a:defRPr/>
            </a:lvl1pPr>
          </a:lstStyle>
          <a:p>
            <a:endParaRPr lang="x-none"/>
          </a:p>
        </p:txBody>
      </p:sp>
      <p:sp>
        <p:nvSpPr>
          <p:cNvPr id="22" name="Text Placeholder 2">
            <a:extLst>
              <a:ext uri="{FF2B5EF4-FFF2-40B4-BE49-F238E27FC236}">
                <a16:creationId xmlns:a16="http://schemas.microsoft.com/office/drawing/2014/main" id="{09620C7D-629F-44FC-A3A0-3DEBCFD40B5B}"/>
              </a:ext>
            </a:extLst>
          </p:cNvPr>
          <p:cNvSpPr>
            <a:spLocks noGrp="1"/>
          </p:cNvSpPr>
          <p:nvPr>
            <p:ph type="body" sz="quarter" idx="28" hasCustomPrompt="1"/>
          </p:nvPr>
        </p:nvSpPr>
        <p:spPr>
          <a:xfrm>
            <a:off x="6115392" y="2800217"/>
            <a:ext cx="1800000" cy="476590"/>
          </a:xfrm>
          <a:prstGeom prst="rect">
            <a:avLst/>
          </a:prstGeom>
        </p:spPr>
        <p:txBody>
          <a:bodyPr anchor="b">
            <a:noAutofit/>
          </a:bodyPr>
          <a:lstStyle>
            <a:lvl1pPr marL="17010" indent="-17010">
              <a:buNone/>
              <a:tabLst/>
              <a:defRPr sz="1800" b="1"/>
            </a:lvl1pPr>
            <a:lvl2pPr>
              <a:buNone/>
              <a:defRPr/>
            </a:lvl2pPr>
            <a:lvl3pPr>
              <a:buNone/>
              <a:defRPr/>
            </a:lvl3pPr>
            <a:lvl4pPr>
              <a:buNone/>
              <a:defRPr/>
            </a:lvl4pPr>
            <a:lvl5pPr>
              <a:buNone/>
              <a:defRPr/>
            </a:lvl5pPr>
          </a:lstStyle>
          <a:p>
            <a:pPr lvl="0"/>
            <a:r>
              <a:rPr lang="en-GB" dirty="0"/>
              <a:t>Name</a:t>
            </a:r>
            <a:endParaRPr lang="x-none" dirty="0"/>
          </a:p>
        </p:txBody>
      </p:sp>
      <p:sp>
        <p:nvSpPr>
          <p:cNvPr id="23" name="Text Placeholder 2">
            <a:extLst>
              <a:ext uri="{FF2B5EF4-FFF2-40B4-BE49-F238E27FC236}">
                <a16:creationId xmlns:a16="http://schemas.microsoft.com/office/drawing/2014/main" id="{2B0948F6-1BD4-4099-9AF2-444FB5CFFFBB}"/>
              </a:ext>
            </a:extLst>
          </p:cNvPr>
          <p:cNvSpPr>
            <a:spLocks noGrp="1"/>
          </p:cNvSpPr>
          <p:nvPr>
            <p:ph type="body" sz="quarter" idx="29" hasCustomPrompt="1"/>
          </p:nvPr>
        </p:nvSpPr>
        <p:spPr>
          <a:xfrm>
            <a:off x="6115392" y="3380586"/>
            <a:ext cx="1800000" cy="812031"/>
          </a:xfrm>
          <a:prstGeom prst="rect">
            <a:avLst/>
          </a:prstGeom>
        </p:spPr>
        <p:txBody>
          <a:bodyPr>
            <a:noAutofit/>
          </a:bodyPr>
          <a:lstStyle>
            <a:lvl1pPr marL="17010" indent="-17010">
              <a:buNone/>
              <a:tabLst/>
              <a:defRPr sz="1400" b="0">
                <a:solidFill>
                  <a:schemeClr val="tx1"/>
                </a:solidFill>
              </a:defRPr>
            </a:lvl1pPr>
            <a:lvl2pPr>
              <a:buNone/>
              <a:defRPr/>
            </a:lvl2pPr>
            <a:lvl3pPr>
              <a:buNone/>
              <a:defRPr/>
            </a:lvl3pPr>
            <a:lvl4pPr>
              <a:buNone/>
              <a:defRPr/>
            </a:lvl4pPr>
            <a:lvl5pPr>
              <a:buNone/>
              <a:defRPr/>
            </a:lvl5pPr>
          </a:lstStyle>
          <a:p>
            <a:pPr lvl="0"/>
            <a:r>
              <a:rPr lang="en-GB" dirty="0" err="1"/>
              <a:t>Funktion</a:t>
            </a:r>
            <a:endParaRPr lang="x-none" dirty="0"/>
          </a:p>
        </p:txBody>
      </p:sp>
      <p:sp>
        <p:nvSpPr>
          <p:cNvPr id="24" name="Text Placeholder 2">
            <a:extLst>
              <a:ext uri="{FF2B5EF4-FFF2-40B4-BE49-F238E27FC236}">
                <a16:creationId xmlns:a16="http://schemas.microsoft.com/office/drawing/2014/main" id="{39B67F9F-31ED-433D-9483-9266F12DA308}"/>
              </a:ext>
            </a:extLst>
          </p:cNvPr>
          <p:cNvSpPr>
            <a:spLocks noGrp="1"/>
          </p:cNvSpPr>
          <p:nvPr>
            <p:ph type="body" sz="quarter" idx="30" hasCustomPrompt="1"/>
          </p:nvPr>
        </p:nvSpPr>
        <p:spPr>
          <a:xfrm>
            <a:off x="6115391" y="4274361"/>
            <a:ext cx="1800000" cy="535188"/>
          </a:xfrm>
          <a:prstGeom prst="rect">
            <a:avLst/>
          </a:prstGeom>
        </p:spPr>
        <p:txBody>
          <a:bodyPr>
            <a:noAutofit/>
          </a:bodyPr>
          <a:lstStyle>
            <a:lvl1pPr marL="17010" indent="-17010">
              <a:buNone/>
              <a:tabLst/>
              <a:defRPr sz="1400" b="0">
                <a:solidFill>
                  <a:schemeClr val="accent2"/>
                </a:solidFill>
              </a:defRPr>
            </a:lvl1pPr>
            <a:lvl2pPr>
              <a:buNone/>
              <a:defRPr/>
            </a:lvl2pPr>
            <a:lvl3pPr>
              <a:buNone/>
              <a:defRPr/>
            </a:lvl3pPr>
            <a:lvl4pPr>
              <a:buNone/>
              <a:defRPr/>
            </a:lvl4pPr>
            <a:lvl5pPr>
              <a:buNone/>
              <a:defRPr/>
            </a:lvl5pPr>
          </a:lstStyle>
          <a:p>
            <a:pPr lvl="0"/>
            <a:r>
              <a:rPr lang="en-GB" dirty="0" err="1"/>
              <a:t>Telefon</a:t>
            </a:r>
            <a:r>
              <a:rPr lang="en-GB" dirty="0"/>
              <a:t> und Email</a:t>
            </a:r>
            <a:endParaRPr lang="x-none" dirty="0"/>
          </a:p>
        </p:txBody>
      </p:sp>
      <p:sp>
        <p:nvSpPr>
          <p:cNvPr id="26" name="Picture Placeholder 29">
            <a:extLst>
              <a:ext uri="{FF2B5EF4-FFF2-40B4-BE49-F238E27FC236}">
                <a16:creationId xmlns:a16="http://schemas.microsoft.com/office/drawing/2014/main" id="{AC65D7B4-A759-41B1-839A-0A1273C9FC6D}"/>
              </a:ext>
            </a:extLst>
          </p:cNvPr>
          <p:cNvSpPr>
            <a:spLocks noGrp="1"/>
          </p:cNvSpPr>
          <p:nvPr>
            <p:ph type="pic" sz="quarter" idx="31"/>
          </p:nvPr>
        </p:nvSpPr>
        <p:spPr>
          <a:xfrm>
            <a:off x="4304755" y="2450025"/>
            <a:ext cx="1659206" cy="2359524"/>
          </a:xfrm>
          <a:prstGeom prst="rect">
            <a:avLst/>
          </a:prstGeom>
          <a:solidFill>
            <a:schemeClr val="accent1">
              <a:lumMod val="20000"/>
              <a:lumOff val="80000"/>
            </a:schemeClr>
          </a:solidFill>
        </p:spPr>
        <p:txBody>
          <a:bodyPr wrap="square">
            <a:noAutofit/>
          </a:bodyPr>
          <a:lstStyle>
            <a:lvl1pPr>
              <a:buNone/>
              <a:defRPr/>
            </a:lvl1pPr>
          </a:lstStyle>
          <a:p>
            <a:endParaRPr lang="x-none"/>
          </a:p>
        </p:txBody>
      </p:sp>
      <p:sp>
        <p:nvSpPr>
          <p:cNvPr id="27" name="Text Placeholder 2">
            <a:extLst>
              <a:ext uri="{FF2B5EF4-FFF2-40B4-BE49-F238E27FC236}">
                <a16:creationId xmlns:a16="http://schemas.microsoft.com/office/drawing/2014/main" id="{5AFFC365-2D17-4501-ABC9-1EED564A5C41}"/>
              </a:ext>
            </a:extLst>
          </p:cNvPr>
          <p:cNvSpPr>
            <a:spLocks noGrp="1"/>
          </p:cNvSpPr>
          <p:nvPr>
            <p:ph type="body" sz="quarter" idx="32" hasCustomPrompt="1"/>
          </p:nvPr>
        </p:nvSpPr>
        <p:spPr>
          <a:xfrm>
            <a:off x="10082825" y="2800217"/>
            <a:ext cx="1800000" cy="476590"/>
          </a:xfrm>
          <a:prstGeom prst="rect">
            <a:avLst/>
          </a:prstGeom>
        </p:spPr>
        <p:txBody>
          <a:bodyPr anchor="b">
            <a:noAutofit/>
          </a:bodyPr>
          <a:lstStyle>
            <a:lvl1pPr marL="17010" indent="-17010">
              <a:buNone/>
              <a:tabLst/>
              <a:defRPr sz="1800" b="1"/>
            </a:lvl1pPr>
            <a:lvl2pPr>
              <a:buNone/>
              <a:defRPr/>
            </a:lvl2pPr>
            <a:lvl3pPr>
              <a:buNone/>
              <a:defRPr/>
            </a:lvl3pPr>
            <a:lvl4pPr>
              <a:buNone/>
              <a:defRPr/>
            </a:lvl4pPr>
            <a:lvl5pPr>
              <a:buNone/>
              <a:defRPr/>
            </a:lvl5pPr>
          </a:lstStyle>
          <a:p>
            <a:pPr lvl="0"/>
            <a:r>
              <a:rPr lang="en-GB" dirty="0"/>
              <a:t>Name</a:t>
            </a:r>
            <a:endParaRPr lang="x-none" dirty="0"/>
          </a:p>
        </p:txBody>
      </p:sp>
      <p:sp>
        <p:nvSpPr>
          <p:cNvPr id="28" name="Text Placeholder 2">
            <a:extLst>
              <a:ext uri="{FF2B5EF4-FFF2-40B4-BE49-F238E27FC236}">
                <a16:creationId xmlns:a16="http://schemas.microsoft.com/office/drawing/2014/main" id="{7EB455E7-83FC-44C3-BC99-899E78C676EB}"/>
              </a:ext>
            </a:extLst>
          </p:cNvPr>
          <p:cNvSpPr>
            <a:spLocks noGrp="1"/>
          </p:cNvSpPr>
          <p:nvPr>
            <p:ph type="body" sz="quarter" idx="33" hasCustomPrompt="1"/>
          </p:nvPr>
        </p:nvSpPr>
        <p:spPr>
          <a:xfrm>
            <a:off x="10082825" y="3380586"/>
            <a:ext cx="1800000" cy="840395"/>
          </a:xfrm>
          <a:prstGeom prst="rect">
            <a:avLst/>
          </a:prstGeom>
        </p:spPr>
        <p:txBody>
          <a:bodyPr>
            <a:noAutofit/>
          </a:bodyPr>
          <a:lstStyle>
            <a:lvl1pPr marL="17010" indent="-17010">
              <a:buNone/>
              <a:tabLst/>
              <a:defRPr sz="1400" b="0">
                <a:solidFill>
                  <a:schemeClr val="tx1"/>
                </a:solidFill>
              </a:defRPr>
            </a:lvl1pPr>
            <a:lvl2pPr>
              <a:buNone/>
              <a:defRPr/>
            </a:lvl2pPr>
            <a:lvl3pPr>
              <a:buNone/>
              <a:defRPr/>
            </a:lvl3pPr>
            <a:lvl4pPr>
              <a:buNone/>
              <a:defRPr/>
            </a:lvl4pPr>
            <a:lvl5pPr>
              <a:buNone/>
              <a:defRPr/>
            </a:lvl5pPr>
          </a:lstStyle>
          <a:p>
            <a:pPr lvl="0"/>
            <a:r>
              <a:rPr lang="en-GB" dirty="0" err="1"/>
              <a:t>Funktion</a:t>
            </a:r>
            <a:endParaRPr lang="x-none" dirty="0"/>
          </a:p>
        </p:txBody>
      </p:sp>
      <p:sp>
        <p:nvSpPr>
          <p:cNvPr id="29" name="Text Placeholder 2">
            <a:extLst>
              <a:ext uri="{FF2B5EF4-FFF2-40B4-BE49-F238E27FC236}">
                <a16:creationId xmlns:a16="http://schemas.microsoft.com/office/drawing/2014/main" id="{0D3FD8A5-7D69-4061-8E35-37B775DB620A}"/>
              </a:ext>
            </a:extLst>
          </p:cNvPr>
          <p:cNvSpPr>
            <a:spLocks noGrp="1"/>
          </p:cNvSpPr>
          <p:nvPr>
            <p:ph type="body" sz="quarter" idx="34" hasCustomPrompt="1"/>
          </p:nvPr>
        </p:nvSpPr>
        <p:spPr>
          <a:xfrm>
            <a:off x="10082824" y="4274361"/>
            <a:ext cx="1800000" cy="535188"/>
          </a:xfrm>
          <a:prstGeom prst="rect">
            <a:avLst/>
          </a:prstGeom>
        </p:spPr>
        <p:txBody>
          <a:bodyPr>
            <a:noAutofit/>
          </a:bodyPr>
          <a:lstStyle>
            <a:lvl1pPr marL="0" indent="0">
              <a:buNone/>
              <a:tabLst/>
              <a:defRPr lang="x-none" sz="1400" b="0" kern="1200" dirty="0">
                <a:solidFill>
                  <a:schemeClr val="accent2"/>
                </a:solidFill>
                <a:latin typeface="+mn-lt"/>
                <a:ea typeface="+mn-ea"/>
                <a:cs typeface="+mn-cs"/>
              </a:defRPr>
            </a:lvl1pPr>
            <a:lvl2pPr>
              <a:buNone/>
              <a:defRPr/>
            </a:lvl2pPr>
            <a:lvl3pPr>
              <a:buNone/>
              <a:defRPr/>
            </a:lvl3pPr>
            <a:lvl4pPr>
              <a:buNone/>
              <a:defRPr/>
            </a:lvl4pPr>
            <a:lvl5pPr>
              <a:buNone/>
              <a:defRPr/>
            </a:lvl5pPr>
          </a:lstStyle>
          <a:p>
            <a:pPr marL="17010" lvl="0" indent="-17010" algn="l" defTabSz="653164" rtl="0" eaLnBrk="1" latinLnBrk="0" hangingPunct="1">
              <a:spcBef>
                <a:spcPct val="20000"/>
              </a:spcBef>
              <a:buClr>
                <a:schemeClr val="accent1"/>
              </a:buClr>
              <a:buSzPct val="120000"/>
              <a:buFont typeface="Wingdings" panose="05000000000000000000" pitchFamily="2" charset="2"/>
              <a:buNone/>
              <a:tabLst/>
            </a:pPr>
            <a:r>
              <a:rPr lang="en-GB" dirty="0" err="1"/>
              <a:t>Telefon</a:t>
            </a:r>
            <a:r>
              <a:rPr lang="en-GB" dirty="0"/>
              <a:t> und Email</a:t>
            </a:r>
            <a:endParaRPr lang="x-none" dirty="0"/>
          </a:p>
        </p:txBody>
      </p:sp>
      <p:sp>
        <p:nvSpPr>
          <p:cNvPr id="31" name="Picture Placeholder 29">
            <a:extLst>
              <a:ext uri="{FF2B5EF4-FFF2-40B4-BE49-F238E27FC236}">
                <a16:creationId xmlns:a16="http://schemas.microsoft.com/office/drawing/2014/main" id="{2F9D62F6-ACCF-4753-914B-8234901639E3}"/>
              </a:ext>
            </a:extLst>
          </p:cNvPr>
          <p:cNvSpPr>
            <a:spLocks noGrp="1"/>
          </p:cNvSpPr>
          <p:nvPr>
            <p:ph type="pic" sz="quarter" idx="35"/>
          </p:nvPr>
        </p:nvSpPr>
        <p:spPr>
          <a:xfrm>
            <a:off x="8304710" y="2450025"/>
            <a:ext cx="1659206" cy="2359524"/>
          </a:xfrm>
          <a:prstGeom prst="rect">
            <a:avLst/>
          </a:prstGeom>
          <a:solidFill>
            <a:schemeClr val="accent1">
              <a:lumMod val="20000"/>
              <a:lumOff val="80000"/>
            </a:schemeClr>
          </a:solidFill>
        </p:spPr>
        <p:txBody>
          <a:bodyPr wrap="square">
            <a:noAutofit/>
          </a:bodyPr>
          <a:lstStyle>
            <a:lvl1pPr>
              <a:buNone/>
              <a:defRPr/>
            </a:lvl1pPr>
          </a:lstStyle>
          <a:p>
            <a:endParaRPr lang="x-none"/>
          </a:p>
        </p:txBody>
      </p:sp>
      <p:sp>
        <p:nvSpPr>
          <p:cNvPr id="32" name="Footer Placeholder 2">
            <a:extLst>
              <a:ext uri="{FF2B5EF4-FFF2-40B4-BE49-F238E27FC236}">
                <a16:creationId xmlns:a16="http://schemas.microsoft.com/office/drawing/2014/main" id="{54E64133-8ECB-B148-9D0D-FF643C433528}"/>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36" name="Slide Number Placeholder 3">
            <a:extLst>
              <a:ext uri="{FF2B5EF4-FFF2-40B4-BE49-F238E27FC236}">
                <a16:creationId xmlns:a16="http://schemas.microsoft.com/office/drawing/2014/main" id="{9B9A2F37-DEFD-414C-B9D9-0B7427380CFE}"/>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38" name="Title 1">
            <a:extLst>
              <a:ext uri="{FF2B5EF4-FFF2-40B4-BE49-F238E27FC236}">
                <a16:creationId xmlns:a16="http://schemas.microsoft.com/office/drawing/2014/main" id="{1C4A3C69-4E65-884A-9C40-24C5CEFBA9FB}"/>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Tree>
    <p:extLst>
      <p:ext uri="{BB962C8B-B14F-4D97-AF65-F5344CB8AC3E}">
        <p14:creationId xmlns:p14="http://schemas.microsoft.com/office/powerpoint/2010/main" val="23122831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_2_weiss">
    <p:bg>
      <p:bgRef idx="1001">
        <a:schemeClr val="bg1"/>
      </p:bgRef>
    </p:bg>
    <p:spTree>
      <p:nvGrpSpPr>
        <p:cNvPr id="1" name=""/>
        <p:cNvGrpSpPr/>
        <p:nvPr/>
      </p:nvGrpSpPr>
      <p:grpSpPr>
        <a:xfrm>
          <a:off x="0" y="0"/>
          <a:ext cx="0" cy="0"/>
          <a:chOff x="0" y="0"/>
          <a:chExt cx="0" cy="0"/>
        </a:xfrm>
      </p:grpSpPr>
      <p:sp>
        <p:nvSpPr>
          <p:cNvPr id="4" name="Bildplatzhalter 36">
            <a:extLst>
              <a:ext uri="{FF2B5EF4-FFF2-40B4-BE49-F238E27FC236}">
                <a16:creationId xmlns:a16="http://schemas.microsoft.com/office/drawing/2014/main" id="{7622E926-DDA1-2BFE-B363-8DAB9CCF68CF}"/>
              </a:ext>
            </a:extLst>
          </p:cNvPr>
          <p:cNvSpPr>
            <a:spLocks noGrp="1"/>
          </p:cNvSpPr>
          <p:nvPr>
            <p:ph type="pic" sz="quarter" idx="12"/>
          </p:nvPr>
        </p:nvSpPr>
        <p:spPr>
          <a:xfrm>
            <a:off x="0" y="700"/>
            <a:ext cx="12197630" cy="6857300"/>
          </a:xfrm>
          <a:custGeom>
            <a:avLst/>
            <a:gdLst>
              <a:gd name="connsiteX0" fmla="*/ 8886067 w 12197630"/>
              <a:gd name="connsiteY0" fmla="*/ 0 h 6857300"/>
              <a:gd name="connsiteX1" fmla="*/ 12197630 w 12197630"/>
              <a:gd name="connsiteY1" fmla="*/ 0 h 6857300"/>
              <a:gd name="connsiteX2" fmla="*/ 12197630 w 12197630"/>
              <a:gd name="connsiteY2" fmla="*/ 6857300 h 6857300"/>
              <a:gd name="connsiteX3" fmla="*/ 6905967 w 12197630"/>
              <a:gd name="connsiteY3" fmla="*/ 6857300 h 6857300"/>
              <a:gd name="connsiteX4" fmla="*/ 8216656 w 12197630"/>
              <a:gd name="connsiteY4" fmla="*/ 2318442 h 6857300"/>
              <a:gd name="connsiteX5" fmla="*/ 0 w 12197630"/>
              <a:gd name="connsiteY5" fmla="*/ 0 h 6857300"/>
              <a:gd name="connsiteX6" fmla="*/ 5186324 w 12197630"/>
              <a:gd name="connsiteY6" fmla="*/ 0 h 6857300"/>
              <a:gd name="connsiteX7" fmla="*/ 5039940 w 12197630"/>
              <a:gd name="connsiteY7" fmla="*/ 508789 h 6857300"/>
              <a:gd name="connsiteX8" fmla="*/ 3205455 w 12197630"/>
              <a:gd name="connsiteY8" fmla="*/ 6857300 h 6857300"/>
              <a:gd name="connsiteX9" fmla="*/ 0 w 12197630"/>
              <a:gd name="connsiteY9" fmla="*/ 6857300 h 685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7630" h="6857300">
                <a:moveTo>
                  <a:pt x="8886067" y="0"/>
                </a:moveTo>
                <a:lnTo>
                  <a:pt x="12197630" y="0"/>
                </a:lnTo>
                <a:lnTo>
                  <a:pt x="12197630" y="6857300"/>
                </a:lnTo>
                <a:lnTo>
                  <a:pt x="6905967" y="6857300"/>
                </a:lnTo>
                <a:lnTo>
                  <a:pt x="8216656" y="2318442"/>
                </a:lnTo>
                <a:close/>
                <a:moveTo>
                  <a:pt x="0" y="0"/>
                </a:moveTo>
                <a:lnTo>
                  <a:pt x="5186324" y="0"/>
                </a:lnTo>
                <a:lnTo>
                  <a:pt x="5039940" y="508789"/>
                </a:lnTo>
                <a:lnTo>
                  <a:pt x="3205455" y="6857300"/>
                </a:lnTo>
                <a:lnTo>
                  <a:pt x="0" y="6857300"/>
                </a:lnTo>
                <a:close/>
              </a:path>
            </a:pathLst>
          </a:custGeom>
          <a:solidFill>
            <a:schemeClr val="accent1">
              <a:lumMod val="20000"/>
              <a:lumOff val="80000"/>
            </a:schemeClr>
          </a:solidFill>
        </p:spPr>
        <p:txBody>
          <a:bodyPr wrap="square">
            <a:noAutofit/>
          </a:bodyPr>
          <a:lstStyle/>
          <a:p>
            <a:r>
              <a:rPr lang="de-DE"/>
              <a:t>Bild durch Klicken auf Symbol hinzufügen</a:t>
            </a:r>
            <a:endParaRPr lang="en-GB" dirty="0"/>
          </a:p>
        </p:txBody>
      </p:sp>
      <p:sp>
        <p:nvSpPr>
          <p:cNvPr id="5" name="Text Placeholder 3">
            <a:extLst>
              <a:ext uri="{FF2B5EF4-FFF2-40B4-BE49-F238E27FC236}">
                <a16:creationId xmlns:a16="http://schemas.microsoft.com/office/drawing/2014/main" id="{80DB6619-CAF5-D393-105A-14FD4423A07B}"/>
              </a:ext>
            </a:extLst>
          </p:cNvPr>
          <p:cNvSpPr>
            <a:spLocks noGrp="1"/>
          </p:cNvSpPr>
          <p:nvPr>
            <p:ph type="body" sz="quarter" idx="14" hasCustomPrompt="1"/>
          </p:nvPr>
        </p:nvSpPr>
        <p:spPr>
          <a:xfrm>
            <a:off x="2495600" y="2060848"/>
            <a:ext cx="7488832" cy="3048045"/>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963508620"/>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ontakt_2Personen_mit_Vita">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A012B5BC-6A8D-4B0F-9B4B-E649AED5E918}"/>
              </a:ext>
            </a:extLst>
          </p:cNvPr>
          <p:cNvSpPr>
            <a:spLocks noGrp="1"/>
          </p:cNvSpPr>
          <p:nvPr>
            <p:ph type="body" sz="quarter" idx="25" hasCustomPrompt="1"/>
          </p:nvPr>
        </p:nvSpPr>
        <p:spPr>
          <a:xfrm>
            <a:off x="2374578" y="1995738"/>
            <a:ext cx="3600000" cy="281349"/>
          </a:xfrm>
          <a:prstGeom prst="rect">
            <a:avLst/>
          </a:prstGeom>
        </p:spPr>
        <p:txBody>
          <a:bodyPr anchor="b">
            <a:noAutofit/>
          </a:bodyPr>
          <a:lstStyle>
            <a:lvl1pPr marL="17010" indent="-17010">
              <a:buNone/>
              <a:tabLst/>
              <a:defRPr sz="1800" b="1"/>
            </a:lvl1pPr>
            <a:lvl2pPr>
              <a:buNone/>
              <a:defRPr/>
            </a:lvl2pPr>
            <a:lvl3pPr>
              <a:buNone/>
              <a:defRPr/>
            </a:lvl3pPr>
            <a:lvl4pPr>
              <a:buNone/>
              <a:defRPr/>
            </a:lvl4pPr>
            <a:lvl5pPr>
              <a:buNone/>
              <a:defRPr/>
            </a:lvl5pPr>
          </a:lstStyle>
          <a:p>
            <a:pPr lvl="0"/>
            <a:r>
              <a:rPr lang="en-GB" dirty="0"/>
              <a:t>Name</a:t>
            </a:r>
            <a:endParaRPr lang="x-none" dirty="0"/>
          </a:p>
        </p:txBody>
      </p:sp>
      <p:sp>
        <p:nvSpPr>
          <p:cNvPr id="12" name="Text Placeholder 2">
            <a:extLst>
              <a:ext uri="{FF2B5EF4-FFF2-40B4-BE49-F238E27FC236}">
                <a16:creationId xmlns:a16="http://schemas.microsoft.com/office/drawing/2014/main" id="{F11F5D28-751E-4FBF-94EE-12EC8E4E8424}"/>
              </a:ext>
            </a:extLst>
          </p:cNvPr>
          <p:cNvSpPr>
            <a:spLocks noGrp="1"/>
          </p:cNvSpPr>
          <p:nvPr>
            <p:ph type="body" sz="quarter" idx="27" hasCustomPrompt="1"/>
          </p:nvPr>
        </p:nvSpPr>
        <p:spPr>
          <a:xfrm>
            <a:off x="2374578" y="2832362"/>
            <a:ext cx="3600000" cy="266941"/>
          </a:xfrm>
          <a:prstGeom prst="rect">
            <a:avLst/>
          </a:prstGeom>
        </p:spPr>
        <p:txBody>
          <a:bodyPr>
            <a:noAutofit/>
          </a:bodyPr>
          <a:lstStyle>
            <a:lvl1pPr marL="17010" indent="-17010">
              <a:buNone/>
              <a:tabLst/>
              <a:defRPr sz="1400" b="0">
                <a:solidFill>
                  <a:schemeClr val="accent2"/>
                </a:solidFill>
              </a:defRPr>
            </a:lvl1pPr>
            <a:lvl2pPr>
              <a:buNone/>
              <a:defRPr/>
            </a:lvl2pPr>
            <a:lvl3pPr>
              <a:buNone/>
              <a:defRPr/>
            </a:lvl3pPr>
            <a:lvl4pPr>
              <a:buNone/>
              <a:defRPr/>
            </a:lvl4pPr>
            <a:lvl5pPr>
              <a:buNone/>
              <a:defRPr/>
            </a:lvl5pPr>
          </a:lstStyle>
          <a:p>
            <a:pPr lvl="0"/>
            <a:r>
              <a:rPr lang="en-GB" dirty="0" err="1"/>
              <a:t>Kontakt</a:t>
            </a:r>
            <a:endParaRPr lang="x-none" dirty="0"/>
          </a:p>
        </p:txBody>
      </p:sp>
      <p:sp>
        <p:nvSpPr>
          <p:cNvPr id="14" name="Picture Placeholder 29">
            <a:extLst>
              <a:ext uri="{FF2B5EF4-FFF2-40B4-BE49-F238E27FC236}">
                <a16:creationId xmlns:a16="http://schemas.microsoft.com/office/drawing/2014/main" id="{B51115B2-ED4B-4129-9E0B-8F72618F30BB}"/>
              </a:ext>
            </a:extLst>
          </p:cNvPr>
          <p:cNvSpPr>
            <a:spLocks noGrp="1"/>
          </p:cNvSpPr>
          <p:nvPr>
            <p:ph type="pic" sz="quarter" idx="24"/>
          </p:nvPr>
        </p:nvSpPr>
        <p:spPr>
          <a:xfrm>
            <a:off x="304800" y="1995738"/>
            <a:ext cx="1877410" cy="2785857"/>
          </a:xfrm>
          <a:prstGeom prst="rect">
            <a:avLst/>
          </a:prstGeom>
          <a:solidFill>
            <a:schemeClr val="accent1">
              <a:lumMod val="20000"/>
              <a:lumOff val="80000"/>
            </a:schemeClr>
          </a:solidFill>
        </p:spPr>
        <p:txBody>
          <a:bodyPr wrap="square">
            <a:noAutofit/>
          </a:bodyPr>
          <a:lstStyle>
            <a:lvl1pPr>
              <a:buNone/>
              <a:defRPr/>
            </a:lvl1pPr>
          </a:lstStyle>
          <a:p>
            <a:endParaRPr lang="x-none"/>
          </a:p>
        </p:txBody>
      </p:sp>
      <p:sp>
        <p:nvSpPr>
          <p:cNvPr id="22" name="Text Placeholder 21">
            <a:extLst>
              <a:ext uri="{FF2B5EF4-FFF2-40B4-BE49-F238E27FC236}">
                <a16:creationId xmlns:a16="http://schemas.microsoft.com/office/drawing/2014/main" id="{955D2162-9BA7-456E-AF2F-0BF9CAF99F14}"/>
              </a:ext>
            </a:extLst>
          </p:cNvPr>
          <p:cNvSpPr>
            <a:spLocks noGrp="1"/>
          </p:cNvSpPr>
          <p:nvPr>
            <p:ph type="body" sz="quarter" idx="32"/>
          </p:nvPr>
        </p:nvSpPr>
        <p:spPr>
          <a:xfrm>
            <a:off x="2374578" y="3441272"/>
            <a:ext cx="3600000" cy="1866485"/>
          </a:xfrm>
          <a:prstGeom prst="rect">
            <a:avLst/>
          </a:prstGeom>
        </p:spPr>
        <p:txBody>
          <a:bodyPr>
            <a:normAutofit/>
          </a:bodyPr>
          <a:lstStyle>
            <a:lvl1pPr marL="0" indent="0">
              <a:buClr>
                <a:schemeClr val="accent2"/>
              </a:buClr>
              <a:buNone/>
              <a:defRPr lang="en-US" sz="1200" kern="1200" baseline="0" dirty="0">
                <a:solidFill>
                  <a:sysClr val="windowText" lastClr="000000"/>
                </a:solidFill>
                <a:latin typeface="+mn-lt"/>
                <a:ea typeface="+mn-ea"/>
                <a:cs typeface="+mn-cs"/>
              </a:defRPr>
            </a:lvl1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Text Placeholder 2">
            <a:extLst>
              <a:ext uri="{FF2B5EF4-FFF2-40B4-BE49-F238E27FC236}">
                <a16:creationId xmlns:a16="http://schemas.microsoft.com/office/drawing/2014/main" id="{CB909380-E626-46D7-A66B-5235D0B6BCA4}"/>
              </a:ext>
            </a:extLst>
          </p:cNvPr>
          <p:cNvSpPr>
            <a:spLocks noGrp="1"/>
          </p:cNvSpPr>
          <p:nvPr>
            <p:ph type="body" sz="quarter" idx="33" hasCustomPrompt="1"/>
          </p:nvPr>
        </p:nvSpPr>
        <p:spPr>
          <a:xfrm>
            <a:off x="8299266" y="1995738"/>
            <a:ext cx="3600000" cy="281349"/>
          </a:xfrm>
          <a:prstGeom prst="rect">
            <a:avLst/>
          </a:prstGeom>
        </p:spPr>
        <p:txBody>
          <a:bodyPr anchor="b">
            <a:noAutofit/>
          </a:bodyPr>
          <a:lstStyle>
            <a:lvl1pPr marL="17010" indent="-17010">
              <a:buNone/>
              <a:tabLst/>
              <a:defRPr sz="1800" b="1"/>
            </a:lvl1pPr>
            <a:lvl2pPr>
              <a:buNone/>
              <a:defRPr/>
            </a:lvl2pPr>
            <a:lvl3pPr>
              <a:buNone/>
              <a:defRPr/>
            </a:lvl3pPr>
            <a:lvl4pPr>
              <a:buNone/>
              <a:defRPr/>
            </a:lvl4pPr>
            <a:lvl5pPr>
              <a:buNone/>
              <a:defRPr/>
            </a:lvl5pPr>
          </a:lstStyle>
          <a:p>
            <a:pPr lvl="0"/>
            <a:r>
              <a:rPr lang="en-GB" dirty="0"/>
              <a:t>Name</a:t>
            </a:r>
            <a:endParaRPr lang="x-none" dirty="0"/>
          </a:p>
        </p:txBody>
      </p:sp>
      <p:sp>
        <p:nvSpPr>
          <p:cNvPr id="29" name="Text Placeholder 2">
            <a:extLst>
              <a:ext uri="{FF2B5EF4-FFF2-40B4-BE49-F238E27FC236}">
                <a16:creationId xmlns:a16="http://schemas.microsoft.com/office/drawing/2014/main" id="{0CA19448-B21C-435F-804F-79A2B9928C5E}"/>
              </a:ext>
            </a:extLst>
          </p:cNvPr>
          <p:cNvSpPr>
            <a:spLocks noGrp="1"/>
          </p:cNvSpPr>
          <p:nvPr>
            <p:ph type="body" sz="quarter" idx="34" hasCustomPrompt="1"/>
          </p:nvPr>
        </p:nvSpPr>
        <p:spPr>
          <a:xfrm>
            <a:off x="8299266" y="2832362"/>
            <a:ext cx="3600000" cy="266941"/>
          </a:xfrm>
          <a:prstGeom prst="rect">
            <a:avLst/>
          </a:prstGeom>
        </p:spPr>
        <p:txBody>
          <a:bodyPr>
            <a:noAutofit/>
          </a:bodyPr>
          <a:lstStyle>
            <a:lvl1pPr marL="17010" indent="-17010">
              <a:buNone/>
              <a:tabLst/>
              <a:defRPr sz="1400" b="0">
                <a:solidFill>
                  <a:schemeClr val="accent2"/>
                </a:solidFill>
              </a:defRPr>
            </a:lvl1pPr>
            <a:lvl2pPr>
              <a:buNone/>
              <a:defRPr/>
            </a:lvl2pPr>
            <a:lvl3pPr>
              <a:buNone/>
              <a:defRPr/>
            </a:lvl3pPr>
            <a:lvl4pPr>
              <a:buNone/>
              <a:defRPr/>
            </a:lvl4pPr>
            <a:lvl5pPr>
              <a:buNone/>
              <a:defRPr/>
            </a:lvl5pPr>
          </a:lstStyle>
          <a:p>
            <a:pPr lvl="0"/>
            <a:r>
              <a:rPr lang="en-GB" dirty="0" err="1"/>
              <a:t>Kontakt</a:t>
            </a:r>
            <a:endParaRPr lang="x-none" dirty="0"/>
          </a:p>
        </p:txBody>
      </p:sp>
      <p:sp>
        <p:nvSpPr>
          <p:cNvPr id="31" name="Picture Placeholder 29">
            <a:extLst>
              <a:ext uri="{FF2B5EF4-FFF2-40B4-BE49-F238E27FC236}">
                <a16:creationId xmlns:a16="http://schemas.microsoft.com/office/drawing/2014/main" id="{2BAD5AB0-2011-4E89-9E8E-D2879AE8EF68}"/>
              </a:ext>
            </a:extLst>
          </p:cNvPr>
          <p:cNvSpPr>
            <a:spLocks noGrp="1"/>
          </p:cNvSpPr>
          <p:nvPr>
            <p:ph type="pic" sz="quarter" idx="35"/>
          </p:nvPr>
        </p:nvSpPr>
        <p:spPr>
          <a:xfrm>
            <a:off x="6240016" y="1995738"/>
            <a:ext cx="1877410" cy="2785857"/>
          </a:xfrm>
          <a:prstGeom prst="rect">
            <a:avLst/>
          </a:prstGeom>
          <a:solidFill>
            <a:schemeClr val="accent1">
              <a:lumMod val="20000"/>
              <a:lumOff val="80000"/>
            </a:schemeClr>
          </a:solidFill>
        </p:spPr>
        <p:txBody>
          <a:bodyPr wrap="square">
            <a:noAutofit/>
          </a:bodyPr>
          <a:lstStyle>
            <a:lvl1pPr>
              <a:buNone/>
              <a:defRPr/>
            </a:lvl1pPr>
          </a:lstStyle>
          <a:p>
            <a:endParaRPr lang="x-none"/>
          </a:p>
        </p:txBody>
      </p:sp>
      <p:sp>
        <p:nvSpPr>
          <p:cNvPr id="32" name="Text Placeholder 21">
            <a:extLst>
              <a:ext uri="{FF2B5EF4-FFF2-40B4-BE49-F238E27FC236}">
                <a16:creationId xmlns:a16="http://schemas.microsoft.com/office/drawing/2014/main" id="{39CC4A97-D80C-4C8C-AB9C-2C1E98E19E79}"/>
              </a:ext>
            </a:extLst>
          </p:cNvPr>
          <p:cNvSpPr>
            <a:spLocks noGrp="1"/>
          </p:cNvSpPr>
          <p:nvPr>
            <p:ph type="body" sz="quarter" idx="36"/>
          </p:nvPr>
        </p:nvSpPr>
        <p:spPr>
          <a:xfrm>
            <a:off x="8299266" y="3441272"/>
            <a:ext cx="3600000" cy="1831526"/>
          </a:xfrm>
          <a:prstGeom prst="rect">
            <a:avLst/>
          </a:prstGeom>
        </p:spPr>
        <p:txBody>
          <a:bodyPr>
            <a:normAutofit/>
          </a:bodyPr>
          <a:lstStyle>
            <a:lvl1pPr marL="285750" indent="-285750">
              <a:buClr>
                <a:schemeClr val="accent2"/>
              </a:buClr>
              <a:buNone/>
              <a:defRPr lang="en-US" sz="1200" kern="1200" baseline="0" dirty="0">
                <a:solidFill>
                  <a:sysClr val="windowText" lastClr="000000"/>
                </a:solidFill>
                <a:latin typeface="+mn-lt"/>
                <a:ea typeface="+mn-ea"/>
                <a:cs typeface="+mn-cs"/>
              </a:defRPr>
            </a:lvl1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Footer Placeholder 2">
            <a:extLst>
              <a:ext uri="{FF2B5EF4-FFF2-40B4-BE49-F238E27FC236}">
                <a16:creationId xmlns:a16="http://schemas.microsoft.com/office/drawing/2014/main" id="{F3754E7D-46B6-8C47-9A06-37F0B04D5CA5}"/>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21" name="Slide Number Placeholder 3">
            <a:extLst>
              <a:ext uri="{FF2B5EF4-FFF2-40B4-BE49-F238E27FC236}">
                <a16:creationId xmlns:a16="http://schemas.microsoft.com/office/drawing/2014/main" id="{651FA159-1BAA-DF44-AD56-D7AAA693049A}"/>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24" name="Title 1">
            <a:extLst>
              <a:ext uri="{FF2B5EF4-FFF2-40B4-BE49-F238E27FC236}">
                <a16:creationId xmlns:a16="http://schemas.microsoft.com/office/drawing/2014/main" id="{F41E7C4F-004B-AD4F-B169-517EA5EC4D12}"/>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
        <p:nvSpPr>
          <p:cNvPr id="15" name="Text Placeholder 2">
            <a:extLst>
              <a:ext uri="{FF2B5EF4-FFF2-40B4-BE49-F238E27FC236}">
                <a16:creationId xmlns:a16="http://schemas.microsoft.com/office/drawing/2014/main" id="{F15238A0-FA9B-324F-A4B9-387DB4B02E96}"/>
              </a:ext>
            </a:extLst>
          </p:cNvPr>
          <p:cNvSpPr>
            <a:spLocks noGrp="1"/>
          </p:cNvSpPr>
          <p:nvPr>
            <p:ph type="body" sz="quarter" idx="37" hasCustomPrompt="1"/>
          </p:nvPr>
        </p:nvSpPr>
        <p:spPr>
          <a:xfrm>
            <a:off x="2374578" y="2307795"/>
            <a:ext cx="3600000" cy="281349"/>
          </a:xfrm>
          <a:prstGeom prst="rect">
            <a:avLst/>
          </a:prstGeom>
        </p:spPr>
        <p:txBody>
          <a:bodyPr>
            <a:noAutofit/>
          </a:bodyPr>
          <a:lstStyle>
            <a:lvl1pPr marL="17010" indent="-17010">
              <a:buNone/>
              <a:tabLst/>
              <a:defRPr sz="1400" b="0"/>
            </a:lvl1pPr>
            <a:lvl2pPr>
              <a:buNone/>
              <a:defRPr/>
            </a:lvl2pPr>
            <a:lvl3pPr>
              <a:buNone/>
              <a:defRPr/>
            </a:lvl3pPr>
            <a:lvl4pPr>
              <a:buNone/>
              <a:defRPr/>
            </a:lvl4pPr>
            <a:lvl5pPr>
              <a:buNone/>
              <a:defRPr/>
            </a:lvl5pPr>
          </a:lstStyle>
          <a:p>
            <a:pPr lvl="0"/>
            <a:r>
              <a:rPr lang="en-GB" dirty="0" err="1"/>
              <a:t>Funktion</a:t>
            </a:r>
            <a:endParaRPr lang="x-none" dirty="0"/>
          </a:p>
        </p:txBody>
      </p:sp>
      <p:sp>
        <p:nvSpPr>
          <p:cNvPr id="16" name="Text Placeholder 2">
            <a:extLst>
              <a:ext uri="{FF2B5EF4-FFF2-40B4-BE49-F238E27FC236}">
                <a16:creationId xmlns:a16="http://schemas.microsoft.com/office/drawing/2014/main" id="{D891D521-E5D6-D049-B2E9-B638AE30CBA8}"/>
              </a:ext>
            </a:extLst>
          </p:cNvPr>
          <p:cNvSpPr>
            <a:spLocks noGrp="1"/>
          </p:cNvSpPr>
          <p:nvPr>
            <p:ph type="body" sz="quarter" idx="38" hasCustomPrompt="1"/>
          </p:nvPr>
        </p:nvSpPr>
        <p:spPr>
          <a:xfrm>
            <a:off x="8299266" y="2307795"/>
            <a:ext cx="3600000" cy="281349"/>
          </a:xfrm>
          <a:prstGeom prst="rect">
            <a:avLst/>
          </a:prstGeom>
        </p:spPr>
        <p:txBody>
          <a:bodyPr>
            <a:noAutofit/>
          </a:bodyPr>
          <a:lstStyle>
            <a:lvl1pPr marL="17010" indent="-17010">
              <a:buNone/>
              <a:tabLst/>
              <a:defRPr sz="1400" b="0"/>
            </a:lvl1pPr>
            <a:lvl2pPr>
              <a:buNone/>
              <a:defRPr/>
            </a:lvl2pPr>
            <a:lvl3pPr>
              <a:buNone/>
              <a:defRPr/>
            </a:lvl3pPr>
            <a:lvl4pPr>
              <a:buNone/>
              <a:defRPr/>
            </a:lvl4pPr>
            <a:lvl5pPr>
              <a:buNone/>
              <a:defRPr/>
            </a:lvl5pPr>
          </a:lstStyle>
          <a:p>
            <a:pPr lvl="0"/>
            <a:r>
              <a:rPr lang="en-GB" dirty="0" err="1"/>
              <a:t>Funktion</a:t>
            </a:r>
            <a:endParaRPr lang="x-none" dirty="0"/>
          </a:p>
        </p:txBody>
      </p:sp>
    </p:spTree>
    <p:extLst>
      <p:ext uri="{BB962C8B-B14F-4D97-AF65-F5344CB8AC3E}">
        <p14:creationId xmlns:p14="http://schemas.microsoft.com/office/powerpoint/2010/main" val="6625137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ontakt_3Personen_mit_Vita">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337BF45A-B41E-4D66-9220-A1F4388CEB9F}"/>
              </a:ext>
            </a:extLst>
          </p:cNvPr>
          <p:cNvSpPr>
            <a:spLocks noGrp="1"/>
          </p:cNvSpPr>
          <p:nvPr>
            <p:ph type="body" sz="quarter" idx="25" hasCustomPrompt="1"/>
          </p:nvPr>
        </p:nvSpPr>
        <p:spPr>
          <a:xfrm>
            <a:off x="2186194" y="2931836"/>
            <a:ext cx="1800000" cy="476590"/>
          </a:xfrm>
          <a:prstGeom prst="rect">
            <a:avLst/>
          </a:prstGeom>
        </p:spPr>
        <p:txBody>
          <a:bodyPr anchor="b">
            <a:noAutofit/>
          </a:bodyPr>
          <a:lstStyle>
            <a:lvl1pPr marL="17010" indent="-17010">
              <a:buNone/>
              <a:tabLst/>
              <a:defRPr b="1">
                <a:solidFill>
                  <a:schemeClr val="tx1"/>
                </a:solidFill>
              </a:defRPr>
            </a:lvl1pPr>
            <a:lvl2pPr>
              <a:buNone/>
              <a:defRPr/>
            </a:lvl2pPr>
            <a:lvl3pPr>
              <a:buNone/>
              <a:defRPr/>
            </a:lvl3pPr>
            <a:lvl4pPr>
              <a:buNone/>
              <a:defRPr/>
            </a:lvl4pPr>
            <a:lvl5pPr>
              <a:buNone/>
              <a:defRPr/>
            </a:lvl5pPr>
          </a:lstStyle>
          <a:p>
            <a:pPr lvl="0"/>
            <a:r>
              <a:rPr lang="en-GB" dirty="0"/>
              <a:t>Name</a:t>
            </a:r>
            <a:endParaRPr lang="x-none" dirty="0"/>
          </a:p>
        </p:txBody>
      </p:sp>
      <p:sp>
        <p:nvSpPr>
          <p:cNvPr id="12" name="Text Placeholder 2">
            <a:extLst>
              <a:ext uri="{FF2B5EF4-FFF2-40B4-BE49-F238E27FC236}">
                <a16:creationId xmlns:a16="http://schemas.microsoft.com/office/drawing/2014/main" id="{781C9EC2-7BCC-419E-BA62-808A354B8F4E}"/>
              </a:ext>
            </a:extLst>
          </p:cNvPr>
          <p:cNvSpPr>
            <a:spLocks noGrp="1"/>
          </p:cNvSpPr>
          <p:nvPr>
            <p:ph type="body" sz="quarter" idx="27" hasCustomPrompt="1"/>
          </p:nvPr>
        </p:nvSpPr>
        <p:spPr>
          <a:xfrm>
            <a:off x="2186194" y="3415705"/>
            <a:ext cx="1800000" cy="510567"/>
          </a:xfrm>
          <a:prstGeom prst="rect">
            <a:avLst/>
          </a:prstGeom>
        </p:spPr>
        <p:txBody>
          <a:bodyPr>
            <a:noAutofit/>
          </a:bodyPr>
          <a:lstStyle>
            <a:lvl1pPr marL="17010" indent="-17010">
              <a:buNone/>
              <a:tabLst/>
              <a:defRPr sz="1429" b="0">
                <a:solidFill>
                  <a:schemeClr val="accent2"/>
                </a:solidFill>
              </a:defRPr>
            </a:lvl1pPr>
            <a:lvl2pPr>
              <a:buNone/>
              <a:defRPr/>
            </a:lvl2pPr>
            <a:lvl3pPr>
              <a:buNone/>
              <a:defRPr/>
            </a:lvl3pPr>
            <a:lvl4pPr>
              <a:buNone/>
              <a:defRPr/>
            </a:lvl4pPr>
            <a:lvl5pPr>
              <a:buNone/>
              <a:defRPr/>
            </a:lvl5pPr>
          </a:lstStyle>
          <a:p>
            <a:pPr lvl="0"/>
            <a:r>
              <a:rPr lang="en-GB" dirty="0" err="1"/>
              <a:t>Kontakt</a:t>
            </a:r>
            <a:endParaRPr lang="x-none" dirty="0"/>
          </a:p>
        </p:txBody>
      </p:sp>
      <p:sp>
        <p:nvSpPr>
          <p:cNvPr id="14" name="Picture Placeholder 29">
            <a:extLst>
              <a:ext uri="{FF2B5EF4-FFF2-40B4-BE49-F238E27FC236}">
                <a16:creationId xmlns:a16="http://schemas.microsoft.com/office/drawing/2014/main" id="{78AEA90E-3362-43CD-B227-48214007F987}"/>
              </a:ext>
            </a:extLst>
          </p:cNvPr>
          <p:cNvSpPr>
            <a:spLocks noGrp="1"/>
          </p:cNvSpPr>
          <p:nvPr>
            <p:ph type="pic" sz="quarter" idx="24"/>
          </p:nvPr>
        </p:nvSpPr>
        <p:spPr>
          <a:xfrm>
            <a:off x="304800" y="1556792"/>
            <a:ext cx="1659206" cy="2359524"/>
          </a:xfrm>
          <a:prstGeom prst="rect">
            <a:avLst/>
          </a:prstGeom>
          <a:solidFill>
            <a:schemeClr val="accent1">
              <a:lumMod val="20000"/>
              <a:lumOff val="80000"/>
            </a:schemeClr>
          </a:solidFill>
        </p:spPr>
        <p:txBody>
          <a:bodyPr wrap="square">
            <a:noAutofit/>
          </a:bodyPr>
          <a:lstStyle>
            <a:lvl1pPr>
              <a:buNone/>
              <a:defRPr/>
            </a:lvl1pPr>
          </a:lstStyle>
          <a:p>
            <a:endParaRPr lang="x-none"/>
          </a:p>
        </p:txBody>
      </p:sp>
      <p:sp>
        <p:nvSpPr>
          <p:cNvPr id="15" name="Text Placeholder 2">
            <a:extLst>
              <a:ext uri="{FF2B5EF4-FFF2-40B4-BE49-F238E27FC236}">
                <a16:creationId xmlns:a16="http://schemas.microsoft.com/office/drawing/2014/main" id="{5EBF06AD-5858-4BCD-A8E2-3012D5D32EF2}"/>
              </a:ext>
            </a:extLst>
          </p:cNvPr>
          <p:cNvSpPr>
            <a:spLocks noGrp="1"/>
          </p:cNvSpPr>
          <p:nvPr>
            <p:ph type="body" sz="quarter" idx="28" hasCustomPrompt="1"/>
          </p:nvPr>
        </p:nvSpPr>
        <p:spPr>
          <a:xfrm>
            <a:off x="6125910" y="2912159"/>
            <a:ext cx="1800000" cy="476590"/>
          </a:xfrm>
          <a:prstGeom prst="rect">
            <a:avLst/>
          </a:prstGeom>
        </p:spPr>
        <p:txBody>
          <a:bodyPr anchor="b">
            <a:noAutofit/>
          </a:bodyPr>
          <a:lstStyle>
            <a:lvl1pPr marL="17010" indent="-17010">
              <a:buNone/>
              <a:tabLst/>
              <a:defRPr sz="1800" b="1">
                <a:solidFill>
                  <a:schemeClr val="tx1"/>
                </a:solidFill>
              </a:defRPr>
            </a:lvl1pPr>
            <a:lvl2pPr>
              <a:buNone/>
              <a:defRPr/>
            </a:lvl2pPr>
            <a:lvl3pPr>
              <a:buNone/>
              <a:defRPr/>
            </a:lvl3pPr>
            <a:lvl4pPr>
              <a:buNone/>
              <a:defRPr/>
            </a:lvl4pPr>
            <a:lvl5pPr>
              <a:buNone/>
              <a:defRPr/>
            </a:lvl5pPr>
          </a:lstStyle>
          <a:p>
            <a:pPr lvl="0"/>
            <a:r>
              <a:rPr lang="en-GB" dirty="0"/>
              <a:t>Name</a:t>
            </a:r>
            <a:endParaRPr lang="x-none" dirty="0"/>
          </a:p>
        </p:txBody>
      </p:sp>
      <p:sp>
        <p:nvSpPr>
          <p:cNvPr id="17" name="Text Placeholder 2">
            <a:extLst>
              <a:ext uri="{FF2B5EF4-FFF2-40B4-BE49-F238E27FC236}">
                <a16:creationId xmlns:a16="http://schemas.microsoft.com/office/drawing/2014/main" id="{9A286619-79A2-4DB0-9E60-E8C79792337E}"/>
              </a:ext>
            </a:extLst>
          </p:cNvPr>
          <p:cNvSpPr>
            <a:spLocks noGrp="1"/>
          </p:cNvSpPr>
          <p:nvPr>
            <p:ph type="body" sz="quarter" idx="30" hasCustomPrompt="1"/>
          </p:nvPr>
        </p:nvSpPr>
        <p:spPr>
          <a:xfrm>
            <a:off x="6125910" y="3409491"/>
            <a:ext cx="1800000" cy="510567"/>
          </a:xfrm>
          <a:prstGeom prst="rect">
            <a:avLst/>
          </a:prstGeom>
        </p:spPr>
        <p:txBody>
          <a:bodyPr>
            <a:noAutofit/>
          </a:bodyPr>
          <a:lstStyle>
            <a:lvl1pPr marL="17010" indent="-17010">
              <a:buNone/>
              <a:tabLst/>
              <a:defRPr sz="1400" b="0">
                <a:solidFill>
                  <a:schemeClr val="accent2"/>
                </a:solidFill>
              </a:defRPr>
            </a:lvl1pPr>
            <a:lvl2pPr>
              <a:buNone/>
              <a:defRPr/>
            </a:lvl2pPr>
            <a:lvl3pPr>
              <a:buNone/>
              <a:defRPr/>
            </a:lvl3pPr>
            <a:lvl4pPr>
              <a:buNone/>
              <a:defRPr/>
            </a:lvl4pPr>
            <a:lvl5pPr>
              <a:buNone/>
              <a:defRPr/>
            </a:lvl5pPr>
          </a:lstStyle>
          <a:p>
            <a:pPr lvl="0"/>
            <a:r>
              <a:rPr lang="en-GB" dirty="0" err="1"/>
              <a:t>Kontakt</a:t>
            </a:r>
            <a:endParaRPr lang="x-none" dirty="0"/>
          </a:p>
        </p:txBody>
      </p:sp>
      <p:sp>
        <p:nvSpPr>
          <p:cNvPr id="19" name="Picture Placeholder 29">
            <a:extLst>
              <a:ext uri="{FF2B5EF4-FFF2-40B4-BE49-F238E27FC236}">
                <a16:creationId xmlns:a16="http://schemas.microsoft.com/office/drawing/2014/main" id="{DB5858F5-B9A3-4F96-9D62-3C8EDCD19619}"/>
              </a:ext>
            </a:extLst>
          </p:cNvPr>
          <p:cNvSpPr>
            <a:spLocks noGrp="1"/>
          </p:cNvSpPr>
          <p:nvPr>
            <p:ph type="pic" sz="quarter" idx="31"/>
          </p:nvPr>
        </p:nvSpPr>
        <p:spPr>
          <a:xfrm>
            <a:off x="4244516" y="1556792"/>
            <a:ext cx="1659206" cy="2359524"/>
          </a:xfrm>
          <a:prstGeom prst="rect">
            <a:avLst/>
          </a:prstGeom>
          <a:solidFill>
            <a:schemeClr val="accent1">
              <a:lumMod val="20000"/>
              <a:lumOff val="80000"/>
            </a:schemeClr>
          </a:solidFill>
        </p:spPr>
        <p:txBody>
          <a:bodyPr wrap="square">
            <a:noAutofit/>
          </a:bodyPr>
          <a:lstStyle>
            <a:lvl1pPr>
              <a:buNone/>
              <a:defRPr/>
            </a:lvl1pPr>
          </a:lstStyle>
          <a:p>
            <a:endParaRPr lang="x-none"/>
          </a:p>
        </p:txBody>
      </p:sp>
      <p:sp>
        <p:nvSpPr>
          <p:cNvPr id="20" name="Text Placeholder 2">
            <a:extLst>
              <a:ext uri="{FF2B5EF4-FFF2-40B4-BE49-F238E27FC236}">
                <a16:creationId xmlns:a16="http://schemas.microsoft.com/office/drawing/2014/main" id="{F741EFCC-A602-4EF2-B86E-4B808DB36F75}"/>
              </a:ext>
            </a:extLst>
          </p:cNvPr>
          <p:cNvSpPr>
            <a:spLocks noGrp="1"/>
          </p:cNvSpPr>
          <p:nvPr>
            <p:ph type="body" sz="quarter" idx="32" hasCustomPrompt="1"/>
          </p:nvPr>
        </p:nvSpPr>
        <p:spPr>
          <a:xfrm>
            <a:off x="10065626" y="2883796"/>
            <a:ext cx="1800000" cy="476590"/>
          </a:xfrm>
          <a:prstGeom prst="rect">
            <a:avLst/>
          </a:prstGeom>
        </p:spPr>
        <p:txBody>
          <a:bodyPr anchor="b">
            <a:noAutofit/>
          </a:bodyPr>
          <a:lstStyle>
            <a:lvl1pPr marL="17010" indent="-17010">
              <a:buNone/>
              <a:tabLst/>
              <a:defRPr sz="1800" b="1">
                <a:solidFill>
                  <a:schemeClr val="tx1"/>
                </a:solidFill>
              </a:defRPr>
            </a:lvl1pPr>
            <a:lvl2pPr>
              <a:buNone/>
              <a:defRPr/>
            </a:lvl2pPr>
            <a:lvl3pPr>
              <a:buNone/>
              <a:defRPr/>
            </a:lvl3pPr>
            <a:lvl4pPr>
              <a:buNone/>
              <a:defRPr/>
            </a:lvl4pPr>
            <a:lvl5pPr>
              <a:buNone/>
              <a:defRPr/>
            </a:lvl5pPr>
          </a:lstStyle>
          <a:p>
            <a:pPr lvl="0"/>
            <a:r>
              <a:rPr lang="en-GB" dirty="0"/>
              <a:t>Name</a:t>
            </a:r>
            <a:endParaRPr lang="x-none" dirty="0"/>
          </a:p>
        </p:txBody>
      </p:sp>
      <p:sp>
        <p:nvSpPr>
          <p:cNvPr id="22" name="Text Placeholder 2">
            <a:extLst>
              <a:ext uri="{FF2B5EF4-FFF2-40B4-BE49-F238E27FC236}">
                <a16:creationId xmlns:a16="http://schemas.microsoft.com/office/drawing/2014/main" id="{872205E1-D48F-465B-8133-871B549973E4}"/>
              </a:ext>
            </a:extLst>
          </p:cNvPr>
          <p:cNvSpPr>
            <a:spLocks noGrp="1"/>
          </p:cNvSpPr>
          <p:nvPr>
            <p:ph type="body" sz="quarter" idx="34" hasCustomPrompt="1"/>
          </p:nvPr>
        </p:nvSpPr>
        <p:spPr>
          <a:xfrm>
            <a:off x="10065626" y="3381127"/>
            <a:ext cx="1800000" cy="510567"/>
          </a:xfrm>
          <a:prstGeom prst="rect">
            <a:avLst/>
          </a:prstGeom>
        </p:spPr>
        <p:txBody>
          <a:bodyPr>
            <a:noAutofit/>
          </a:bodyPr>
          <a:lstStyle>
            <a:lvl1pPr marL="0" indent="0">
              <a:buNone/>
              <a:tabLst/>
              <a:defRPr lang="x-none" sz="1400" b="0" kern="1200" dirty="0">
                <a:solidFill>
                  <a:schemeClr val="accent2"/>
                </a:solidFill>
                <a:latin typeface="+mn-lt"/>
                <a:ea typeface="+mn-ea"/>
                <a:cs typeface="+mn-cs"/>
              </a:defRPr>
            </a:lvl1pPr>
            <a:lvl2pPr>
              <a:buNone/>
              <a:defRPr/>
            </a:lvl2pPr>
            <a:lvl3pPr>
              <a:buNone/>
              <a:defRPr/>
            </a:lvl3pPr>
            <a:lvl4pPr>
              <a:buNone/>
              <a:defRPr/>
            </a:lvl4pPr>
            <a:lvl5pPr>
              <a:buNone/>
              <a:defRPr/>
            </a:lvl5pPr>
          </a:lstStyle>
          <a:p>
            <a:pPr marL="17010" lvl="0" indent="-17010" algn="l" defTabSz="653164" rtl="0" eaLnBrk="1" latinLnBrk="0" hangingPunct="1">
              <a:spcBef>
                <a:spcPct val="20000"/>
              </a:spcBef>
              <a:buClr>
                <a:schemeClr val="accent1"/>
              </a:buClr>
              <a:buSzPct val="120000"/>
              <a:buFont typeface="Wingdings" panose="05000000000000000000" pitchFamily="2" charset="2"/>
              <a:buNone/>
              <a:tabLst/>
            </a:pPr>
            <a:r>
              <a:rPr lang="en-GB" dirty="0" err="1"/>
              <a:t>Kontakt</a:t>
            </a:r>
            <a:endParaRPr lang="x-none" dirty="0"/>
          </a:p>
        </p:txBody>
      </p:sp>
      <p:sp>
        <p:nvSpPr>
          <p:cNvPr id="24" name="Picture Placeholder 29">
            <a:extLst>
              <a:ext uri="{FF2B5EF4-FFF2-40B4-BE49-F238E27FC236}">
                <a16:creationId xmlns:a16="http://schemas.microsoft.com/office/drawing/2014/main" id="{A313E848-2830-4997-8048-E4399010F18E}"/>
              </a:ext>
            </a:extLst>
          </p:cNvPr>
          <p:cNvSpPr>
            <a:spLocks noGrp="1"/>
          </p:cNvSpPr>
          <p:nvPr>
            <p:ph type="pic" sz="quarter" idx="35"/>
          </p:nvPr>
        </p:nvSpPr>
        <p:spPr>
          <a:xfrm>
            <a:off x="8184232" y="1556792"/>
            <a:ext cx="1659206" cy="2359524"/>
          </a:xfrm>
          <a:prstGeom prst="rect">
            <a:avLst/>
          </a:prstGeom>
          <a:solidFill>
            <a:schemeClr val="accent1">
              <a:lumMod val="20000"/>
              <a:lumOff val="80000"/>
            </a:schemeClr>
          </a:solidFill>
        </p:spPr>
        <p:txBody>
          <a:bodyPr wrap="square">
            <a:noAutofit/>
          </a:bodyPr>
          <a:lstStyle>
            <a:lvl1pPr>
              <a:buNone/>
              <a:defRPr/>
            </a:lvl1pPr>
          </a:lstStyle>
          <a:p>
            <a:endParaRPr lang="x-none"/>
          </a:p>
        </p:txBody>
      </p:sp>
      <p:sp>
        <p:nvSpPr>
          <p:cNvPr id="26" name="Text Placeholder 21">
            <a:extLst>
              <a:ext uri="{FF2B5EF4-FFF2-40B4-BE49-F238E27FC236}">
                <a16:creationId xmlns:a16="http://schemas.microsoft.com/office/drawing/2014/main" id="{51635EE2-288B-40AE-B98F-7A26CA0061EA}"/>
              </a:ext>
            </a:extLst>
          </p:cNvPr>
          <p:cNvSpPr>
            <a:spLocks noGrp="1"/>
          </p:cNvSpPr>
          <p:nvPr>
            <p:ph type="body" sz="quarter" idx="36"/>
          </p:nvPr>
        </p:nvSpPr>
        <p:spPr>
          <a:xfrm>
            <a:off x="304800" y="4163485"/>
            <a:ext cx="3681394" cy="1635046"/>
          </a:xfrm>
          <a:prstGeom prst="rect">
            <a:avLst/>
          </a:prstGeom>
        </p:spPr>
        <p:txBody>
          <a:bodyPr>
            <a:noAutofit/>
          </a:bodyPr>
          <a:lstStyle>
            <a:lvl1pPr>
              <a:buClr>
                <a:schemeClr val="accent2"/>
              </a:buClr>
              <a:buNone/>
              <a:defRPr sz="1429" baseline="0">
                <a:solidFill>
                  <a:schemeClr val="tx1"/>
                </a:solidFill>
              </a:defRPr>
            </a:lvl1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Text Placeholder 21">
            <a:extLst>
              <a:ext uri="{FF2B5EF4-FFF2-40B4-BE49-F238E27FC236}">
                <a16:creationId xmlns:a16="http://schemas.microsoft.com/office/drawing/2014/main" id="{856799D1-6C22-4339-ACA1-6A330AB7946A}"/>
              </a:ext>
            </a:extLst>
          </p:cNvPr>
          <p:cNvSpPr>
            <a:spLocks noGrp="1"/>
          </p:cNvSpPr>
          <p:nvPr>
            <p:ph type="body" sz="quarter" idx="37"/>
          </p:nvPr>
        </p:nvSpPr>
        <p:spPr>
          <a:xfrm>
            <a:off x="4244516" y="4163485"/>
            <a:ext cx="3681394" cy="1635046"/>
          </a:xfrm>
          <a:prstGeom prst="rect">
            <a:avLst/>
          </a:prstGeom>
        </p:spPr>
        <p:txBody>
          <a:bodyPr>
            <a:normAutofit/>
          </a:bodyPr>
          <a:lstStyle>
            <a:lvl1pPr marL="285750" indent="-285750">
              <a:buNone/>
              <a:defRPr lang="en-US" sz="1429" kern="1200" baseline="0" dirty="0">
                <a:solidFill>
                  <a:schemeClr val="tx1"/>
                </a:solidFill>
                <a:latin typeface="+mn-lt"/>
                <a:ea typeface="+mn-ea"/>
                <a:cs typeface="+mn-cs"/>
              </a:defRPr>
            </a:lvl1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Text Placeholder 21">
            <a:extLst>
              <a:ext uri="{FF2B5EF4-FFF2-40B4-BE49-F238E27FC236}">
                <a16:creationId xmlns:a16="http://schemas.microsoft.com/office/drawing/2014/main" id="{039A0650-7C92-4749-8093-D3AAE2B549B1}"/>
              </a:ext>
            </a:extLst>
          </p:cNvPr>
          <p:cNvSpPr>
            <a:spLocks noGrp="1"/>
          </p:cNvSpPr>
          <p:nvPr>
            <p:ph type="body" sz="quarter" idx="38"/>
          </p:nvPr>
        </p:nvSpPr>
        <p:spPr>
          <a:xfrm>
            <a:off x="8184232" y="4160349"/>
            <a:ext cx="3681394" cy="1635046"/>
          </a:xfrm>
          <a:prstGeom prst="rect">
            <a:avLst/>
          </a:prstGeom>
        </p:spPr>
        <p:txBody>
          <a:bodyPr>
            <a:normAutofit/>
          </a:bodyPr>
          <a:lstStyle>
            <a:lvl1pPr marL="285750" indent="-285750">
              <a:buNone/>
              <a:defRPr lang="en-US" sz="1429" kern="1200" baseline="0" dirty="0">
                <a:solidFill>
                  <a:schemeClr val="tx1"/>
                </a:solidFill>
                <a:latin typeface="+mn-lt"/>
                <a:ea typeface="+mn-ea"/>
                <a:cs typeface="+mn-cs"/>
              </a:defRPr>
            </a:lvl1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ooter Placeholder 2">
            <a:extLst>
              <a:ext uri="{FF2B5EF4-FFF2-40B4-BE49-F238E27FC236}">
                <a16:creationId xmlns:a16="http://schemas.microsoft.com/office/drawing/2014/main" id="{541DABFD-A207-C74D-AF84-DD0816D4FFB6}"/>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endParaRPr lang="de-CH" dirty="0"/>
          </a:p>
        </p:txBody>
      </p:sp>
      <p:sp>
        <p:nvSpPr>
          <p:cNvPr id="32" name="Slide Number Placeholder 3">
            <a:extLst>
              <a:ext uri="{FF2B5EF4-FFF2-40B4-BE49-F238E27FC236}">
                <a16:creationId xmlns:a16="http://schemas.microsoft.com/office/drawing/2014/main" id="{4904ED62-59B0-554D-A8C4-3071D8F0E9A7}"/>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34" name="Title 1">
            <a:extLst>
              <a:ext uri="{FF2B5EF4-FFF2-40B4-BE49-F238E27FC236}">
                <a16:creationId xmlns:a16="http://schemas.microsoft.com/office/drawing/2014/main" id="{3A1EF29A-801F-4945-8AA5-01A735418353}"/>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Tree>
    <p:extLst>
      <p:ext uri="{BB962C8B-B14F-4D97-AF65-F5344CB8AC3E}">
        <p14:creationId xmlns:p14="http://schemas.microsoft.com/office/powerpoint/2010/main" val="3895759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aten Bericht | Inhalt mit Frage">
    <p:spTree>
      <p:nvGrpSpPr>
        <p:cNvPr id="1" name=""/>
        <p:cNvGrpSpPr/>
        <p:nvPr/>
      </p:nvGrpSpPr>
      <p:grpSpPr>
        <a:xfrm>
          <a:off x="0" y="0"/>
          <a:ext cx="0" cy="0"/>
          <a:chOff x="0" y="0"/>
          <a:chExt cx="0" cy="0"/>
        </a:xfrm>
      </p:grpSpPr>
      <p:sp>
        <p:nvSpPr>
          <p:cNvPr id="7" name="Inhaltsplatzhalter 10">
            <a:extLst>
              <a:ext uri="{FF2B5EF4-FFF2-40B4-BE49-F238E27FC236}">
                <a16:creationId xmlns:a16="http://schemas.microsoft.com/office/drawing/2014/main" id="{F368137C-B12A-4454-81D9-A0EA0EF36ACD}"/>
              </a:ext>
            </a:extLst>
          </p:cNvPr>
          <p:cNvSpPr>
            <a:spLocks noGrp="1"/>
          </p:cNvSpPr>
          <p:nvPr>
            <p:ph sz="quarter" idx="22"/>
          </p:nvPr>
        </p:nvSpPr>
        <p:spPr>
          <a:xfrm>
            <a:off x="311100" y="1468802"/>
            <a:ext cx="11576100" cy="4655773"/>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Inhaltsplatzhalter 26">
            <a:extLst>
              <a:ext uri="{FF2B5EF4-FFF2-40B4-BE49-F238E27FC236}">
                <a16:creationId xmlns:a16="http://schemas.microsoft.com/office/drawing/2014/main" id="{FAA8A405-DEF4-426A-A761-5A98C280BDE8}"/>
              </a:ext>
            </a:extLst>
          </p:cNvPr>
          <p:cNvSpPr>
            <a:spLocks noGrp="1"/>
          </p:cNvSpPr>
          <p:nvPr>
            <p:ph sz="quarter" idx="14" hasCustomPrompt="1"/>
          </p:nvPr>
        </p:nvSpPr>
        <p:spPr>
          <a:xfrm>
            <a:off x="304800" y="6170519"/>
            <a:ext cx="11569800" cy="282817"/>
          </a:xfrm>
          <a:prstGeom prst="rect">
            <a:avLst/>
          </a:prstGeom>
        </p:spPr>
        <p:txBody>
          <a:bodyPr anchor="b">
            <a:noAutofit/>
          </a:bodyPr>
          <a:lstStyle>
            <a:lvl1pPr marL="0" indent="0">
              <a:spcBef>
                <a:spcPts val="0"/>
              </a:spcBef>
              <a:buNone/>
              <a:defRPr sz="800">
                <a:solidFill>
                  <a:schemeClr val="tx2"/>
                </a:solidFill>
              </a:defRPr>
            </a:lvl1pPr>
          </a:lstStyle>
          <a:p>
            <a:r>
              <a:rPr lang="de-CH" dirty="0"/>
              <a:t>Fragenummer: Fragetext</a:t>
            </a:r>
          </a:p>
        </p:txBody>
      </p:sp>
      <p:sp>
        <p:nvSpPr>
          <p:cNvPr id="11" name="Footer Placeholder 2">
            <a:extLst>
              <a:ext uri="{FF2B5EF4-FFF2-40B4-BE49-F238E27FC236}">
                <a16:creationId xmlns:a16="http://schemas.microsoft.com/office/drawing/2014/main" id="{A31C7E7B-5FCB-FA4A-9948-1CA7772E013C}"/>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14" name="Slide Number Placeholder 3">
            <a:extLst>
              <a:ext uri="{FF2B5EF4-FFF2-40B4-BE49-F238E27FC236}">
                <a16:creationId xmlns:a16="http://schemas.microsoft.com/office/drawing/2014/main" id="{532E9ACD-433E-4646-9DE4-1250316A5484}"/>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16" name="Title 1">
            <a:extLst>
              <a:ext uri="{FF2B5EF4-FFF2-40B4-BE49-F238E27FC236}">
                <a16:creationId xmlns:a16="http://schemas.microsoft.com/office/drawing/2014/main" id="{1F24D30A-2CA6-D048-A133-F25F7643619B}"/>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
        <p:nvSpPr>
          <p:cNvPr id="3" name="Text Placeholder 2">
            <a:extLst>
              <a:ext uri="{FF2B5EF4-FFF2-40B4-BE49-F238E27FC236}">
                <a16:creationId xmlns:a16="http://schemas.microsoft.com/office/drawing/2014/main" id="{4B565A61-121D-4368-B181-A701A7B3BA87}"/>
              </a:ext>
            </a:extLst>
          </p:cNvPr>
          <p:cNvSpPr>
            <a:spLocks noGrp="1"/>
          </p:cNvSpPr>
          <p:nvPr>
            <p:ph type="body" sz="quarter" idx="23" hasCustomPrompt="1"/>
          </p:nvPr>
        </p:nvSpPr>
        <p:spPr>
          <a:xfrm>
            <a:off x="304800" y="972000"/>
            <a:ext cx="11582400" cy="277200"/>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en-US" dirty="0" err="1"/>
              <a:t>Untertitel</a:t>
            </a:r>
            <a:endParaRPr lang="de-DE" dirty="0"/>
          </a:p>
        </p:txBody>
      </p:sp>
    </p:spTree>
    <p:extLst>
      <p:ext uri="{BB962C8B-B14F-4D97-AF65-F5344CB8AC3E}">
        <p14:creationId xmlns:p14="http://schemas.microsoft.com/office/powerpoint/2010/main" val="8619869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atenbericht | ohne Inhalt mit Frage">
    <p:spTree>
      <p:nvGrpSpPr>
        <p:cNvPr id="1" name=""/>
        <p:cNvGrpSpPr/>
        <p:nvPr/>
      </p:nvGrpSpPr>
      <p:grpSpPr>
        <a:xfrm>
          <a:off x="0" y="0"/>
          <a:ext cx="0" cy="0"/>
          <a:chOff x="0" y="0"/>
          <a:chExt cx="0" cy="0"/>
        </a:xfrm>
      </p:grpSpPr>
      <p:sp>
        <p:nvSpPr>
          <p:cNvPr id="15" name="Inhaltsplatzhalter 26">
            <a:extLst>
              <a:ext uri="{FF2B5EF4-FFF2-40B4-BE49-F238E27FC236}">
                <a16:creationId xmlns:a16="http://schemas.microsoft.com/office/drawing/2014/main" id="{F80DC800-9FE7-4AF5-9929-025A0281FED5}"/>
              </a:ext>
            </a:extLst>
          </p:cNvPr>
          <p:cNvSpPr>
            <a:spLocks noGrp="1"/>
          </p:cNvSpPr>
          <p:nvPr>
            <p:ph sz="quarter" idx="14" hasCustomPrompt="1"/>
          </p:nvPr>
        </p:nvSpPr>
        <p:spPr>
          <a:xfrm>
            <a:off x="304800" y="6133806"/>
            <a:ext cx="11569800" cy="319530"/>
          </a:xfrm>
          <a:prstGeom prst="rect">
            <a:avLst/>
          </a:prstGeom>
        </p:spPr>
        <p:txBody>
          <a:bodyPr anchor="b">
            <a:noAutofit/>
          </a:bodyPr>
          <a:lstStyle>
            <a:lvl1pPr marL="0" indent="0">
              <a:spcBef>
                <a:spcPts val="0"/>
              </a:spcBef>
              <a:buNone/>
              <a:defRPr sz="800">
                <a:solidFill>
                  <a:schemeClr val="tx2"/>
                </a:solidFill>
              </a:defRPr>
            </a:lvl1pPr>
          </a:lstStyle>
          <a:p>
            <a:r>
              <a:rPr lang="de-CH" dirty="0"/>
              <a:t>Fragenummer: Fragetext</a:t>
            </a:r>
          </a:p>
        </p:txBody>
      </p:sp>
      <p:sp>
        <p:nvSpPr>
          <p:cNvPr id="16" name="Footer Placeholder 2">
            <a:extLst>
              <a:ext uri="{FF2B5EF4-FFF2-40B4-BE49-F238E27FC236}">
                <a16:creationId xmlns:a16="http://schemas.microsoft.com/office/drawing/2014/main" id="{C9A07F6B-34F6-2C4B-9A5F-D1FF5314238D}"/>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17" name="Slide Number Placeholder 3">
            <a:extLst>
              <a:ext uri="{FF2B5EF4-FFF2-40B4-BE49-F238E27FC236}">
                <a16:creationId xmlns:a16="http://schemas.microsoft.com/office/drawing/2014/main" id="{066360DB-FAFD-BD44-A2E0-7760F7E5AB87}"/>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24" name="Title 1">
            <a:extLst>
              <a:ext uri="{FF2B5EF4-FFF2-40B4-BE49-F238E27FC236}">
                <a16:creationId xmlns:a16="http://schemas.microsoft.com/office/drawing/2014/main" id="{D7D061B5-1A5D-0D42-B8DB-53870F163261}"/>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de-DE" noProof="0"/>
              <a:t>Titel</a:t>
            </a:r>
          </a:p>
        </p:txBody>
      </p:sp>
      <p:sp>
        <p:nvSpPr>
          <p:cNvPr id="3" name="Text Placeholder 2">
            <a:extLst>
              <a:ext uri="{FF2B5EF4-FFF2-40B4-BE49-F238E27FC236}">
                <a16:creationId xmlns:a16="http://schemas.microsoft.com/office/drawing/2014/main" id="{B0471982-D305-40E7-9C94-D1EFFA531F02}"/>
              </a:ext>
            </a:extLst>
          </p:cNvPr>
          <p:cNvSpPr>
            <a:spLocks noGrp="1"/>
          </p:cNvSpPr>
          <p:nvPr>
            <p:ph type="body" sz="quarter" idx="18" hasCustomPrompt="1"/>
          </p:nvPr>
        </p:nvSpPr>
        <p:spPr>
          <a:xfrm>
            <a:off x="304800" y="972000"/>
            <a:ext cx="11582400" cy="277813"/>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600" b="1">
                <a:solidFill>
                  <a:schemeClr val="tx2">
                    <a:lumMod val="40000"/>
                    <a:lumOff val="60000"/>
                  </a:schemeClr>
                </a:solidFill>
              </a:defRPr>
            </a:lvl2pPr>
            <a:lvl3pPr marL="368300" indent="0">
              <a:buFontTx/>
              <a:buNone/>
              <a:defRPr sz="1600" b="1">
                <a:solidFill>
                  <a:schemeClr val="tx2">
                    <a:lumMod val="40000"/>
                    <a:lumOff val="60000"/>
                  </a:schemeClr>
                </a:solidFill>
              </a:defRPr>
            </a:lvl3pPr>
            <a:lvl4pPr marL="565150" indent="0">
              <a:buFontTx/>
              <a:buNone/>
              <a:defRPr sz="1600" b="1">
                <a:solidFill>
                  <a:schemeClr val="tx2">
                    <a:lumMod val="40000"/>
                    <a:lumOff val="60000"/>
                  </a:schemeClr>
                </a:solidFill>
              </a:defRPr>
            </a:lvl4pPr>
            <a:lvl5pPr marL="833437" indent="0">
              <a:buFontTx/>
              <a:buNone/>
              <a:defRPr sz="1600" b="1">
                <a:solidFill>
                  <a:schemeClr val="tx2">
                    <a:lumMod val="40000"/>
                    <a:lumOff val="60000"/>
                  </a:schemeClr>
                </a:solidFill>
              </a:defRPr>
            </a:lvl5pPr>
          </a:lstStyle>
          <a:p>
            <a:pPr lvl="0"/>
            <a:r>
              <a:rPr lang="de-CH" dirty="0"/>
              <a:t>Untertitel</a:t>
            </a:r>
            <a:endParaRPr lang="de-DE" dirty="0"/>
          </a:p>
        </p:txBody>
      </p:sp>
    </p:spTree>
    <p:extLst>
      <p:ext uri="{BB962C8B-B14F-4D97-AF65-F5344CB8AC3E}">
        <p14:creationId xmlns:p14="http://schemas.microsoft.com/office/powerpoint/2010/main" val="40649010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atenbericht | Bild rund">
    <p:spTree>
      <p:nvGrpSpPr>
        <p:cNvPr id="1" name=""/>
        <p:cNvGrpSpPr/>
        <p:nvPr/>
      </p:nvGrpSpPr>
      <p:grpSpPr>
        <a:xfrm>
          <a:off x="0" y="0"/>
          <a:ext cx="0" cy="0"/>
          <a:chOff x="0" y="0"/>
          <a:chExt cx="0" cy="0"/>
        </a:xfrm>
      </p:grpSpPr>
      <p:sp>
        <p:nvSpPr>
          <p:cNvPr id="15" name="Inhaltsplatzhalter 26">
            <a:extLst>
              <a:ext uri="{FF2B5EF4-FFF2-40B4-BE49-F238E27FC236}">
                <a16:creationId xmlns:a16="http://schemas.microsoft.com/office/drawing/2014/main" id="{F80DC800-9FE7-4AF5-9929-025A0281FED5}"/>
              </a:ext>
            </a:extLst>
          </p:cNvPr>
          <p:cNvSpPr>
            <a:spLocks noGrp="1"/>
          </p:cNvSpPr>
          <p:nvPr>
            <p:ph sz="quarter" idx="14" hasCustomPrompt="1"/>
          </p:nvPr>
        </p:nvSpPr>
        <p:spPr>
          <a:xfrm>
            <a:off x="304800" y="6133806"/>
            <a:ext cx="11569800" cy="319530"/>
          </a:xfrm>
          <a:prstGeom prst="rect">
            <a:avLst/>
          </a:prstGeom>
        </p:spPr>
        <p:txBody>
          <a:bodyPr anchor="b">
            <a:noAutofit/>
          </a:bodyPr>
          <a:lstStyle>
            <a:lvl1pPr marL="0" indent="0">
              <a:spcBef>
                <a:spcPts val="0"/>
              </a:spcBef>
              <a:buNone/>
              <a:defRPr sz="800">
                <a:solidFill>
                  <a:schemeClr val="tx2"/>
                </a:solidFill>
              </a:defRPr>
            </a:lvl1pPr>
          </a:lstStyle>
          <a:p>
            <a:r>
              <a:rPr lang="de-CH" dirty="0"/>
              <a:t>Fragenummer: Fragetext</a:t>
            </a:r>
          </a:p>
        </p:txBody>
      </p:sp>
      <p:sp>
        <p:nvSpPr>
          <p:cNvPr id="16" name="Footer Placeholder 2">
            <a:extLst>
              <a:ext uri="{FF2B5EF4-FFF2-40B4-BE49-F238E27FC236}">
                <a16:creationId xmlns:a16="http://schemas.microsoft.com/office/drawing/2014/main" id="{C9A07F6B-34F6-2C4B-9A5F-D1FF5314238D}"/>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17" name="Slide Number Placeholder 3">
            <a:extLst>
              <a:ext uri="{FF2B5EF4-FFF2-40B4-BE49-F238E27FC236}">
                <a16:creationId xmlns:a16="http://schemas.microsoft.com/office/drawing/2014/main" id="{066360DB-FAFD-BD44-A2E0-7760F7E5AB87}"/>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24" name="Title 1">
            <a:extLst>
              <a:ext uri="{FF2B5EF4-FFF2-40B4-BE49-F238E27FC236}">
                <a16:creationId xmlns:a16="http://schemas.microsoft.com/office/drawing/2014/main" id="{D7D061B5-1A5D-0D42-B8DB-53870F163261}"/>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
        <p:nvSpPr>
          <p:cNvPr id="3" name="Picture Placeholder 2">
            <a:extLst>
              <a:ext uri="{FF2B5EF4-FFF2-40B4-BE49-F238E27FC236}">
                <a16:creationId xmlns:a16="http://schemas.microsoft.com/office/drawing/2014/main" id="{2897A734-F57B-5A4D-958D-B109BAC1AFA6}"/>
              </a:ext>
            </a:extLst>
          </p:cNvPr>
          <p:cNvSpPr>
            <a:spLocks noGrp="1"/>
          </p:cNvSpPr>
          <p:nvPr>
            <p:ph type="pic" sz="quarter" idx="24"/>
          </p:nvPr>
        </p:nvSpPr>
        <p:spPr>
          <a:xfrm>
            <a:off x="551384" y="3132139"/>
            <a:ext cx="2251388" cy="2250274"/>
          </a:xfrm>
          <a:prstGeom prst="ellipse">
            <a:avLst/>
          </a:prstGeom>
        </p:spPr>
        <p:txBody>
          <a:bodyPr anchor="ctr"/>
          <a:lstStyle>
            <a:lvl1pPr marL="0" indent="0" algn="ctr">
              <a:buFontTx/>
              <a:buNone/>
              <a:defRPr/>
            </a:lvl1pPr>
          </a:lstStyle>
          <a:p>
            <a:endParaRPr lang="de-CH" dirty="0"/>
          </a:p>
        </p:txBody>
      </p:sp>
      <p:sp>
        <p:nvSpPr>
          <p:cNvPr id="4" name="Text Placeholder 3">
            <a:extLst>
              <a:ext uri="{FF2B5EF4-FFF2-40B4-BE49-F238E27FC236}">
                <a16:creationId xmlns:a16="http://schemas.microsoft.com/office/drawing/2014/main" id="{039F6F0C-FF85-459A-8948-D1F910DB6A0D}"/>
              </a:ext>
            </a:extLst>
          </p:cNvPr>
          <p:cNvSpPr>
            <a:spLocks noGrp="1"/>
          </p:cNvSpPr>
          <p:nvPr>
            <p:ph type="body" sz="quarter" idx="25" hasCustomPrompt="1"/>
          </p:nvPr>
        </p:nvSpPr>
        <p:spPr>
          <a:xfrm>
            <a:off x="304800" y="972000"/>
            <a:ext cx="11581200" cy="277200"/>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en-US" dirty="0" err="1"/>
              <a:t>Untertitel</a:t>
            </a:r>
            <a:endParaRPr lang="de-DE" dirty="0"/>
          </a:p>
        </p:txBody>
      </p:sp>
    </p:spTree>
    <p:extLst>
      <p:ext uri="{BB962C8B-B14F-4D97-AF65-F5344CB8AC3E}">
        <p14:creationId xmlns:p14="http://schemas.microsoft.com/office/powerpoint/2010/main" val="28315302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tenbericht | ohne Inhalt mit Frage | Headerbild">
    <p:spTree>
      <p:nvGrpSpPr>
        <p:cNvPr id="1" name=""/>
        <p:cNvGrpSpPr/>
        <p:nvPr/>
      </p:nvGrpSpPr>
      <p:grpSpPr>
        <a:xfrm>
          <a:off x="0" y="0"/>
          <a:ext cx="0" cy="0"/>
          <a:chOff x="0" y="0"/>
          <a:chExt cx="0" cy="0"/>
        </a:xfrm>
      </p:grpSpPr>
      <p:sp>
        <p:nvSpPr>
          <p:cNvPr id="15" name="Inhaltsplatzhalter 26">
            <a:extLst>
              <a:ext uri="{FF2B5EF4-FFF2-40B4-BE49-F238E27FC236}">
                <a16:creationId xmlns:a16="http://schemas.microsoft.com/office/drawing/2014/main" id="{F80DC800-9FE7-4AF5-9929-025A0281FED5}"/>
              </a:ext>
            </a:extLst>
          </p:cNvPr>
          <p:cNvSpPr>
            <a:spLocks noGrp="1"/>
          </p:cNvSpPr>
          <p:nvPr>
            <p:ph sz="quarter" idx="14" hasCustomPrompt="1"/>
          </p:nvPr>
        </p:nvSpPr>
        <p:spPr>
          <a:xfrm>
            <a:off x="304800" y="6133806"/>
            <a:ext cx="11569800" cy="319530"/>
          </a:xfrm>
          <a:prstGeom prst="rect">
            <a:avLst/>
          </a:prstGeom>
        </p:spPr>
        <p:txBody>
          <a:bodyPr anchor="b">
            <a:noAutofit/>
          </a:bodyPr>
          <a:lstStyle>
            <a:lvl1pPr marL="0" indent="0">
              <a:spcBef>
                <a:spcPts val="0"/>
              </a:spcBef>
              <a:buNone/>
              <a:defRPr sz="800">
                <a:solidFill>
                  <a:schemeClr val="tx2"/>
                </a:solidFill>
              </a:defRPr>
            </a:lvl1pPr>
          </a:lstStyle>
          <a:p>
            <a:r>
              <a:rPr lang="de-CH" dirty="0"/>
              <a:t>Fragenummer: Fragetext</a:t>
            </a:r>
          </a:p>
        </p:txBody>
      </p:sp>
      <p:sp>
        <p:nvSpPr>
          <p:cNvPr id="16" name="Footer Placeholder 2">
            <a:extLst>
              <a:ext uri="{FF2B5EF4-FFF2-40B4-BE49-F238E27FC236}">
                <a16:creationId xmlns:a16="http://schemas.microsoft.com/office/drawing/2014/main" id="{C9A07F6B-34F6-2C4B-9A5F-D1FF5314238D}"/>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17" name="Slide Number Placeholder 3">
            <a:extLst>
              <a:ext uri="{FF2B5EF4-FFF2-40B4-BE49-F238E27FC236}">
                <a16:creationId xmlns:a16="http://schemas.microsoft.com/office/drawing/2014/main" id="{066360DB-FAFD-BD44-A2E0-7760F7E5AB87}"/>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24" name="Title 1">
            <a:extLst>
              <a:ext uri="{FF2B5EF4-FFF2-40B4-BE49-F238E27FC236}">
                <a16:creationId xmlns:a16="http://schemas.microsoft.com/office/drawing/2014/main" id="{D7D061B5-1A5D-0D42-B8DB-53870F163261}"/>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
        <p:nvSpPr>
          <p:cNvPr id="3" name="Picture Placeholder 2">
            <a:extLst>
              <a:ext uri="{FF2B5EF4-FFF2-40B4-BE49-F238E27FC236}">
                <a16:creationId xmlns:a16="http://schemas.microsoft.com/office/drawing/2014/main" id="{FABC4629-C860-F746-BB0C-7690E0F15439}"/>
              </a:ext>
            </a:extLst>
          </p:cNvPr>
          <p:cNvSpPr>
            <a:spLocks noGrp="1"/>
          </p:cNvSpPr>
          <p:nvPr>
            <p:ph type="pic" sz="quarter" idx="24"/>
          </p:nvPr>
        </p:nvSpPr>
        <p:spPr>
          <a:xfrm>
            <a:off x="297260" y="1466850"/>
            <a:ext cx="11589940" cy="1962150"/>
          </a:xfrm>
        </p:spPr>
        <p:txBody>
          <a:bodyPr/>
          <a:lstStyle>
            <a:lvl1pPr marL="179388" indent="-179388">
              <a:buFont typeface="Wingdings" panose="05000000000000000000" pitchFamily="2" charset="2"/>
              <a:buChar char="§"/>
              <a:defRPr/>
            </a:lvl1pPr>
          </a:lstStyle>
          <a:p>
            <a:endParaRPr lang="de-CH" dirty="0"/>
          </a:p>
        </p:txBody>
      </p:sp>
      <p:sp>
        <p:nvSpPr>
          <p:cNvPr id="4" name="Text Placeholder 3">
            <a:extLst>
              <a:ext uri="{FF2B5EF4-FFF2-40B4-BE49-F238E27FC236}">
                <a16:creationId xmlns:a16="http://schemas.microsoft.com/office/drawing/2014/main" id="{3A373C8A-CA1C-47B4-A0B0-6BCC22016F0D}"/>
              </a:ext>
            </a:extLst>
          </p:cNvPr>
          <p:cNvSpPr>
            <a:spLocks noGrp="1"/>
          </p:cNvSpPr>
          <p:nvPr>
            <p:ph type="body" sz="quarter" idx="25" hasCustomPrompt="1"/>
          </p:nvPr>
        </p:nvSpPr>
        <p:spPr>
          <a:xfrm>
            <a:off x="304800" y="972000"/>
            <a:ext cx="11582400" cy="277200"/>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de-CH" dirty="0"/>
              <a:t>Untertitel</a:t>
            </a:r>
            <a:endParaRPr lang="de-DE" dirty="0"/>
          </a:p>
        </p:txBody>
      </p:sp>
    </p:spTree>
    <p:extLst>
      <p:ext uri="{BB962C8B-B14F-4D97-AF65-F5344CB8AC3E}">
        <p14:creationId xmlns:p14="http://schemas.microsoft.com/office/powerpoint/2010/main" val="29829776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atenbericht | ohne Inhal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F744F40-913C-3345-9CC7-FA3E87A6A7C9}"/>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
        <p:nvSpPr>
          <p:cNvPr id="15" name="Footer Placeholder 2">
            <a:extLst>
              <a:ext uri="{FF2B5EF4-FFF2-40B4-BE49-F238E27FC236}">
                <a16:creationId xmlns:a16="http://schemas.microsoft.com/office/drawing/2014/main" id="{AAADB8BC-2841-0A45-AE6F-F15BFEC7FBDC}"/>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16" name="Slide Number Placeholder 3">
            <a:extLst>
              <a:ext uri="{FF2B5EF4-FFF2-40B4-BE49-F238E27FC236}">
                <a16:creationId xmlns:a16="http://schemas.microsoft.com/office/drawing/2014/main" id="{BD540C74-F8E9-A84D-8462-B9A5B4B504A5}"/>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3" name="Text Placeholder 2">
            <a:extLst>
              <a:ext uri="{FF2B5EF4-FFF2-40B4-BE49-F238E27FC236}">
                <a16:creationId xmlns:a16="http://schemas.microsoft.com/office/drawing/2014/main" id="{747DA435-6BA4-4276-B4E0-650291710425}"/>
              </a:ext>
            </a:extLst>
          </p:cNvPr>
          <p:cNvSpPr>
            <a:spLocks noGrp="1"/>
          </p:cNvSpPr>
          <p:nvPr>
            <p:ph type="body" sz="quarter" idx="18" hasCustomPrompt="1"/>
          </p:nvPr>
        </p:nvSpPr>
        <p:spPr>
          <a:xfrm>
            <a:off x="304800" y="972000"/>
            <a:ext cx="11582400" cy="277813"/>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de-CH" dirty="0"/>
              <a:t>Untertitel</a:t>
            </a:r>
            <a:endParaRPr lang="de-DE" dirty="0"/>
          </a:p>
        </p:txBody>
      </p:sp>
    </p:spTree>
    <p:extLst>
      <p:ext uri="{BB962C8B-B14F-4D97-AF65-F5344CB8AC3E}">
        <p14:creationId xmlns:p14="http://schemas.microsoft.com/office/powerpoint/2010/main" val="6763595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usgangslage &amp; Zielsetzun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F744F40-913C-3345-9CC7-FA3E87A6A7C9}"/>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en-GB" dirty="0" err="1"/>
              <a:t>Titel</a:t>
            </a:r>
            <a:endParaRPr lang="de-DE" dirty="0"/>
          </a:p>
        </p:txBody>
      </p:sp>
      <p:sp>
        <p:nvSpPr>
          <p:cNvPr id="15" name="Footer Placeholder 2">
            <a:extLst>
              <a:ext uri="{FF2B5EF4-FFF2-40B4-BE49-F238E27FC236}">
                <a16:creationId xmlns:a16="http://schemas.microsoft.com/office/drawing/2014/main" id="{AAADB8BC-2841-0A45-AE6F-F15BFEC7FBDC}"/>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endParaRPr lang="de-CH" dirty="0"/>
          </a:p>
        </p:txBody>
      </p:sp>
      <p:sp>
        <p:nvSpPr>
          <p:cNvPr id="16" name="Slide Number Placeholder 3">
            <a:extLst>
              <a:ext uri="{FF2B5EF4-FFF2-40B4-BE49-F238E27FC236}">
                <a16:creationId xmlns:a16="http://schemas.microsoft.com/office/drawing/2014/main" id="{BD540C74-F8E9-A84D-8462-B9A5B4B504A5}"/>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3" name="Picture Placeholder 2">
            <a:extLst>
              <a:ext uri="{FF2B5EF4-FFF2-40B4-BE49-F238E27FC236}">
                <a16:creationId xmlns:a16="http://schemas.microsoft.com/office/drawing/2014/main" id="{D41445C4-CE84-724B-8977-D74FDF6FADB7}"/>
              </a:ext>
            </a:extLst>
          </p:cNvPr>
          <p:cNvSpPr>
            <a:spLocks noGrp="1"/>
          </p:cNvSpPr>
          <p:nvPr>
            <p:ph type="pic" sz="quarter" idx="24"/>
          </p:nvPr>
        </p:nvSpPr>
        <p:spPr>
          <a:xfrm>
            <a:off x="304800" y="1466850"/>
            <a:ext cx="3819525" cy="1828800"/>
          </a:xfrm>
        </p:spPr>
        <p:txBody>
          <a:bodyPr/>
          <a:lstStyle>
            <a:lvl1pPr marL="0" indent="0">
              <a:buNone/>
              <a:defRPr/>
            </a:lvl1pPr>
          </a:lstStyle>
          <a:p>
            <a:endParaRPr lang="de-CH"/>
          </a:p>
        </p:txBody>
      </p:sp>
      <p:sp>
        <p:nvSpPr>
          <p:cNvPr id="4" name="Text Placeholder 3">
            <a:extLst>
              <a:ext uri="{FF2B5EF4-FFF2-40B4-BE49-F238E27FC236}">
                <a16:creationId xmlns:a16="http://schemas.microsoft.com/office/drawing/2014/main" id="{8FE57F39-0BC9-4556-84DF-59D0B242536B}"/>
              </a:ext>
            </a:extLst>
          </p:cNvPr>
          <p:cNvSpPr>
            <a:spLocks noGrp="1"/>
          </p:cNvSpPr>
          <p:nvPr>
            <p:ph type="body" sz="quarter" idx="25" hasCustomPrompt="1"/>
          </p:nvPr>
        </p:nvSpPr>
        <p:spPr>
          <a:xfrm>
            <a:off x="304800" y="972000"/>
            <a:ext cx="11582400" cy="277813"/>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de-CH" dirty="0"/>
              <a:t>Untertitel</a:t>
            </a:r>
            <a:endParaRPr lang="de-DE" dirty="0"/>
          </a:p>
        </p:txBody>
      </p:sp>
    </p:spTree>
    <p:extLst>
      <p:ext uri="{BB962C8B-B14F-4D97-AF65-F5344CB8AC3E}">
        <p14:creationId xmlns:p14="http://schemas.microsoft.com/office/powerpoint/2010/main" val="6528962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el und Untertitel | leer ">
    <p:spTree>
      <p:nvGrpSpPr>
        <p:cNvPr id="1" name=""/>
        <p:cNvGrpSpPr/>
        <p:nvPr/>
      </p:nvGrpSpPr>
      <p:grpSpPr>
        <a:xfrm>
          <a:off x="0" y="0"/>
          <a:ext cx="0" cy="0"/>
          <a:chOff x="0" y="0"/>
          <a:chExt cx="0" cy="0"/>
        </a:xfrm>
      </p:grpSpPr>
      <p:sp>
        <p:nvSpPr>
          <p:cNvPr id="5" name="Footer Placeholder 2">
            <a:extLst>
              <a:ext uri="{FF2B5EF4-FFF2-40B4-BE49-F238E27FC236}">
                <a16:creationId xmlns:a16="http://schemas.microsoft.com/office/drawing/2014/main" id="{16237857-3B43-7F43-83FD-10788269DFE7}"/>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6" name="Slide Number Placeholder 3">
            <a:extLst>
              <a:ext uri="{FF2B5EF4-FFF2-40B4-BE49-F238E27FC236}">
                <a16:creationId xmlns:a16="http://schemas.microsoft.com/office/drawing/2014/main" id="{AA1EE63D-F82E-1F4F-AAEE-E32A9B871D97}"/>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15" name="Title 1">
            <a:extLst>
              <a:ext uri="{FF2B5EF4-FFF2-40B4-BE49-F238E27FC236}">
                <a16:creationId xmlns:a16="http://schemas.microsoft.com/office/drawing/2014/main" id="{127598BF-4B76-844C-85FD-118E568B46D3}"/>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de-DE" noProof="0"/>
              <a:t>Titel</a:t>
            </a:r>
          </a:p>
        </p:txBody>
      </p:sp>
      <p:sp>
        <p:nvSpPr>
          <p:cNvPr id="3" name="Text Placeholder 2">
            <a:extLst>
              <a:ext uri="{FF2B5EF4-FFF2-40B4-BE49-F238E27FC236}">
                <a16:creationId xmlns:a16="http://schemas.microsoft.com/office/drawing/2014/main" id="{832D08B7-24A1-4DDC-BF93-5E106F8A914D}"/>
              </a:ext>
            </a:extLst>
          </p:cNvPr>
          <p:cNvSpPr>
            <a:spLocks noGrp="1"/>
          </p:cNvSpPr>
          <p:nvPr>
            <p:ph type="body" sz="quarter" idx="18" hasCustomPrompt="1"/>
          </p:nvPr>
        </p:nvSpPr>
        <p:spPr>
          <a:xfrm>
            <a:off x="304800" y="972000"/>
            <a:ext cx="11582400" cy="277813"/>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de-CH" dirty="0"/>
              <a:t>Untertitel</a:t>
            </a:r>
            <a:endParaRPr lang="de-DE" dirty="0"/>
          </a:p>
        </p:txBody>
      </p:sp>
    </p:spTree>
    <p:extLst>
      <p:ext uri="{BB962C8B-B14F-4D97-AF65-F5344CB8AC3E}">
        <p14:creationId xmlns:p14="http://schemas.microsoft.com/office/powerpoint/2010/main" val="3420439110"/>
      </p:ext>
    </p:extLst>
  </p:cSld>
  <p:clrMapOvr>
    <a:masterClrMapping/>
  </p:clrMapOvr>
  <p:extLst>
    <p:ext uri="{DCECCB84-F9BA-43D5-87BE-67443E8EF086}">
      <p15:sldGuideLst xmlns:p15="http://schemas.microsoft.com/office/powerpoint/2012/main">
        <p15:guide id="1" orient="horz" pos="1389"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eer ohne Fusszeile">
    <p:spTree>
      <p:nvGrpSpPr>
        <p:cNvPr id="1" name=""/>
        <p:cNvGrpSpPr/>
        <p:nvPr/>
      </p:nvGrpSpPr>
      <p:grpSpPr>
        <a:xfrm>
          <a:off x="0" y="0"/>
          <a:ext cx="0" cy="0"/>
          <a:chOff x="0" y="0"/>
          <a:chExt cx="0" cy="0"/>
        </a:xfrm>
      </p:grpSpPr>
    </p:spTree>
    <p:extLst>
      <p:ext uri="{BB962C8B-B14F-4D97-AF65-F5344CB8AC3E}">
        <p14:creationId xmlns:p14="http://schemas.microsoft.com/office/powerpoint/2010/main" val="7190949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_3_schwarz">
    <p:bg>
      <p:bgRef idx="1001">
        <a:schemeClr val="bg1"/>
      </p:bgRef>
    </p:bg>
    <p:spTree>
      <p:nvGrpSpPr>
        <p:cNvPr id="1" name=""/>
        <p:cNvGrpSpPr/>
        <p:nvPr/>
      </p:nvGrpSpPr>
      <p:grpSpPr>
        <a:xfrm>
          <a:off x="0" y="0"/>
          <a:ext cx="0" cy="0"/>
          <a:chOff x="0" y="0"/>
          <a:chExt cx="0" cy="0"/>
        </a:xfrm>
      </p:grpSpPr>
      <p:sp>
        <p:nvSpPr>
          <p:cNvPr id="4" name="Bildplatzhalter 9">
            <a:extLst>
              <a:ext uri="{FF2B5EF4-FFF2-40B4-BE49-F238E27FC236}">
                <a16:creationId xmlns:a16="http://schemas.microsoft.com/office/drawing/2014/main" id="{E7BCF7D2-19C5-34F2-C57D-29A2F87ED6FC}"/>
              </a:ext>
            </a:extLst>
          </p:cNvPr>
          <p:cNvSpPr>
            <a:spLocks noGrp="1"/>
          </p:cNvSpPr>
          <p:nvPr>
            <p:ph type="pic" sz="quarter" idx="10"/>
          </p:nvPr>
        </p:nvSpPr>
        <p:spPr>
          <a:xfrm>
            <a:off x="3106295" y="0"/>
            <a:ext cx="9085704" cy="6858000"/>
          </a:xfrm>
          <a:custGeom>
            <a:avLst/>
            <a:gdLst>
              <a:gd name="connsiteX0" fmla="*/ 2183293 w 9085704"/>
              <a:gd name="connsiteY0" fmla="*/ 4704511 h 6858000"/>
              <a:gd name="connsiteX1" fmla="*/ 2189728 w 9085704"/>
              <a:gd name="connsiteY1" fmla="*/ 4709207 h 6858000"/>
              <a:gd name="connsiteX2" fmla="*/ 2183293 w 9085704"/>
              <a:gd name="connsiteY2" fmla="*/ 4704511 h 6858000"/>
              <a:gd name="connsiteX3" fmla="*/ 6115886 w 9085704"/>
              <a:gd name="connsiteY3" fmla="*/ 4610259 h 6858000"/>
              <a:gd name="connsiteX4" fmla="*/ 6175368 w 9085704"/>
              <a:gd name="connsiteY4" fmla="*/ 4610259 h 6858000"/>
              <a:gd name="connsiteX5" fmla="*/ 6175368 w 9085704"/>
              <a:gd name="connsiteY5" fmla="*/ 4663906 h 6858000"/>
              <a:gd name="connsiteX6" fmla="*/ 6047073 w 9085704"/>
              <a:gd name="connsiteY6" fmla="*/ 4767993 h 6858000"/>
              <a:gd name="connsiteX7" fmla="*/ 5965431 w 9085704"/>
              <a:gd name="connsiteY7" fmla="*/ 4695394 h 6858000"/>
              <a:gd name="connsiteX8" fmla="*/ 6115886 w 9085704"/>
              <a:gd name="connsiteY8" fmla="*/ 4610259 h 6858000"/>
              <a:gd name="connsiteX9" fmla="*/ 218976 w 9085704"/>
              <a:gd name="connsiteY9" fmla="*/ 4610259 h 6858000"/>
              <a:gd name="connsiteX10" fmla="*/ 68521 w 9085704"/>
              <a:gd name="connsiteY10" fmla="*/ 4695394 h 6858000"/>
              <a:gd name="connsiteX11" fmla="*/ 150164 w 9085704"/>
              <a:gd name="connsiteY11" fmla="*/ 4767993 h 6858000"/>
              <a:gd name="connsiteX12" fmla="*/ 278459 w 9085704"/>
              <a:gd name="connsiteY12" fmla="*/ 4663906 h 6858000"/>
              <a:gd name="connsiteX13" fmla="*/ 278459 w 9085704"/>
              <a:gd name="connsiteY13" fmla="*/ 4610259 h 6858000"/>
              <a:gd name="connsiteX14" fmla="*/ 2275606 w 9085704"/>
              <a:gd name="connsiteY14" fmla="*/ 4596263 h 6858000"/>
              <a:gd name="connsiteX15" fmla="*/ 2399993 w 9085704"/>
              <a:gd name="connsiteY15" fmla="*/ 4596263 h 6858000"/>
              <a:gd name="connsiteX16" fmla="*/ 2399993 w 9085704"/>
              <a:gd name="connsiteY16" fmla="*/ 4671777 h 6858000"/>
              <a:gd name="connsiteX17" fmla="*/ 2334679 w 9085704"/>
              <a:gd name="connsiteY17" fmla="*/ 4707639 h 6858000"/>
              <a:gd name="connsiteX18" fmla="*/ 2258868 w 9085704"/>
              <a:gd name="connsiteY18" fmla="*/ 4722509 h 6858000"/>
              <a:gd name="connsiteX19" fmla="*/ 2240166 w 9085704"/>
              <a:gd name="connsiteY19" fmla="*/ 4718911 h 6858000"/>
              <a:gd name="connsiteX20" fmla="*/ 2778172 w 9085704"/>
              <a:gd name="connsiteY20" fmla="*/ 4467101 h 6858000"/>
              <a:gd name="connsiteX21" fmla="*/ 2853108 w 9085704"/>
              <a:gd name="connsiteY21" fmla="*/ 4501214 h 6858000"/>
              <a:gd name="connsiteX22" fmla="*/ 2883432 w 9085704"/>
              <a:gd name="connsiteY22" fmla="*/ 4598596 h 6858000"/>
              <a:gd name="connsiteX23" fmla="*/ 2853108 w 9085704"/>
              <a:gd name="connsiteY23" fmla="*/ 4697726 h 6858000"/>
              <a:gd name="connsiteX24" fmla="*/ 2778172 w 9085704"/>
              <a:gd name="connsiteY24" fmla="*/ 4731839 h 6858000"/>
              <a:gd name="connsiteX25" fmla="*/ 2702944 w 9085704"/>
              <a:gd name="connsiteY25" fmla="*/ 4697726 h 6858000"/>
              <a:gd name="connsiteX26" fmla="*/ 2672328 w 9085704"/>
              <a:gd name="connsiteY26" fmla="*/ 4599470 h 6858000"/>
              <a:gd name="connsiteX27" fmla="*/ 2702944 w 9085704"/>
              <a:gd name="connsiteY27" fmla="*/ 4501214 h 6858000"/>
              <a:gd name="connsiteX28" fmla="*/ 2778172 w 9085704"/>
              <a:gd name="connsiteY28" fmla="*/ 4467101 h 6858000"/>
              <a:gd name="connsiteX29" fmla="*/ 5621949 w 9085704"/>
              <a:gd name="connsiteY29" fmla="*/ 4432406 h 6858000"/>
              <a:gd name="connsiteX30" fmla="*/ 5754910 w 9085704"/>
              <a:gd name="connsiteY30" fmla="*/ 4595972 h 6858000"/>
              <a:gd name="connsiteX31" fmla="*/ 5754910 w 9085704"/>
              <a:gd name="connsiteY31" fmla="*/ 4602678 h 6858000"/>
              <a:gd name="connsiteX32" fmla="*/ 5622824 w 9085704"/>
              <a:gd name="connsiteY32" fmla="*/ 4765369 h 6858000"/>
              <a:gd name="connsiteX33" fmla="*/ 5480825 w 9085704"/>
              <a:gd name="connsiteY33" fmla="*/ 4602678 h 6858000"/>
              <a:gd name="connsiteX34" fmla="*/ 5480825 w 9085704"/>
              <a:gd name="connsiteY34" fmla="*/ 4595972 h 6858000"/>
              <a:gd name="connsiteX35" fmla="*/ 5621949 w 9085704"/>
              <a:gd name="connsiteY35" fmla="*/ 4432406 h 6858000"/>
              <a:gd name="connsiteX36" fmla="*/ 4344247 w 9085704"/>
              <a:gd name="connsiteY36" fmla="*/ 4432406 h 6858000"/>
              <a:gd name="connsiteX37" fmla="*/ 4485372 w 9085704"/>
              <a:gd name="connsiteY37" fmla="*/ 4596847 h 6858000"/>
              <a:gd name="connsiteX38" fmla="*/ 4485372 w 9085704"/>
              <a:gd name="connsiteY38" fmla="*/ 4602678 h 6858000"/>
              <a:gd name="connsiteX39" fmla="*/ 4344247 w 9085704"/>
              <a:gd name="connsiteY39" fmla="*/ 4765369 h 6858000"/>
              <a:gd name="connsiteX40" fmla="*/ 4203123 w 9085704"/>
              <a:gd name="connsiteY40" fmla="*/ 4602678 h 6858000"/>
              <a:gd name="connsiteX41" fmla="*/ 4203123 w 9085704"/>
              <a:gd name="connsiteY41" fmla="*/ 4595972 h 6858000"/>
              <a:gd name="connsiteX42" fmla="*/ 4344247 w 9085704"/>
              <a:gd name="connsiteY42" fmla="*/ 4432406 h 6858000"/>
              <a:gd name="connsiteX43" fmla="*/ 2984902 w 9085704"/>
              <a:gd name="connsiteY43" fmla="*/ 4383715 h 6858000"/>
              <a:gd name="connsiteX44" fmla="*/ 3158975 w 9085704"/>
              <a:gd name="connsiteY44" fmla="*/ 4814642 h 6858000"/>
              <a:gd name="connsiteX45" fmla="*/ 3262194 w 9085704"/>
              <a:gd name="connsiteY45" fmla="*/ 4814642 h 6858000"/>
              <a:gd name="connsiteX46" fmla="*/ 3433643 w 9085704"/>
              <a:gd name="connsiteY46" fmla="*/ 4383715 h 6858000"/>
              <a:gd name="connsiteX47" fmla="*/ 3316137 w 9085704"/>
              <a:gd name="connsiteY47" fmla="*/ 4383715 h 6858000"/>
              <a:gd name="connsiteX48" fmla="*/ 3233911 w 9085704"/>
              <a:gd name="connsiteY48" fmla="*/ 4603552 h 6858000"/>
              <a:gd name="connsiteX49" fmla="*/ 3221665 w 9085704"/>
              <a:gd name="connsiteY49" fmla="*/ 4639997 h 6858000"/>
              <a:gd name="connsiteX50" fmla="*/ 3210002 w 9085704"/>
              <a:gd name="connsiteY50" fmla="*/ 4677026 h 6858000"/>
              <a:gd name="connsiteX51" fmla="*/ 3186384 w 9085704"/>
              <a:gd name="connsiteY51" fmla="*/ 4603552 h 6858000"/>
              <a:gd name="connsiteX52" fmla="*/ 3105033 w 9085704"/>
              <a:gd name="connsiteY52" fmla="*/ 4383715 h 6858000"/>
              <a:gd name="connsiteX53" fmla="*/ 6811304 w 9085704"/>
              <a:gd name="connsiteY53" fmla="*/ 4382841 h 6858000"/>
              <a:gd name="connsiteX54" fmla="*/ 6980711 w 9085704"/>
              <a:gd name="connsiteY54" fmla="*/ 4770326 h 6858000"/>
              <a:gd name="connsiteX55" fmla="*/ 6898778 w 9085704"/>
              <a:gd name="connsiteY55" fmla="*/ 4965089 h 6858000"/>
              <a:gd name="connsiteX56" fmla="*/ 6968173 w 9085704"/>
              <a:gd name="connsiteY56" fmla="*/ 4965089 h 6858000"/>
              <a:gd name="connsiteX57" fmla="*/ 7206978 w 9085704"/>
              <a:gd name="connsiteY57" fmla="*/ 4382841 h 6858000"/>
              <a:gd name="connsiteX58" fmla="*/ 7136707 w 9085704"/>
              <a:gd name="connsiteY58" fmla="*/ 4382841 h 6858000"/>
              <a:gd name="connsiteX59" fmla="*/ 7016868 w 9085704"/>
              <a:gd name="connsiteY59" fmla="*/ 4692479 h 6858000"/>
              <a:gd name="connsiteX60" fmla="*/ 6884782 w 9085704"/>
              <a:gd name="connsiteY60" fmla="*/ 4382841 h 6858000"/>
              <a:gd name="connsiteX61" fmla="*/ 4860343 w 9085704"/>
              <a:gd name="connsiteY61" fmla="*/ 4375843 h 6858000"/>
              <a:gd name="connsiteX62" fmla="*/ 4731465 w 9085704"/>
              <a:gd name="connsiteY62" fmla="*/ 4449316 h 6858000"/>
              <a:gd name="connsiteX63" fmla="*/ 4731465 w 9085704"/>
              <a:gd name="connsiteY63" fmla="*/ 4383132 h 6858000"/>
              <a:gd name="connsiteX64" fmla="*/ 4663236 w 9085704"/>
              <a:gd name="connsiteY64" fmla="*/ 4383132 h 6858000"/>
              <a:gd name="connsiteX65" fmla="*/ 4663236 w 9085704"/>
              <a:gd name="connsiteY65" fmla="*/ 4815226 h 6858000"/>
              <a:gd name="connsiteX66" fmla="*/ 4731757 w 9085704"/>
              <a:gd name="connsiteY66" fmla="*/ 4815226 h 6858000"/>
              <a:gd name="connsiteX67" fmla="*/ 4731757 w 9085704"/>
              <a:gd name="connsiteY67" fmla="*/ 4551071 h 6858000"/>
              <a:gd name="connsiteX68" fmla="*/ 4845764 w 9085704"/>
              <a:gd name="connsiteY68" fmla="*/ 4435322 h 6858000"/>
              <a:gd name="connsiteX69" fmla="*/ 4937321 w 9085704"/>
              <a:gd name="connsiteY69" fmla="*/ 4542616 h 6858000"/>
              <a:gd name="connsiteX70" fmla="*/ 4937321 w 9085704"/>
              <a:gd name="connsiteY70" fmla="*/ 4815226 h 6858000"/>
              <a:gd name="connsiteX71" fmla="*/ 5005842 w 9085704"/>
              <a:gd name="connsiteY71" fmla="*/ 4815226 h 6858000"/>
              <a:gd name="connsiteX72" fmla="*/ 5005842 w 9085704"/>
              <a:gd name="connsiteY72" fmla="*/ 4551071 h 6858000"/>
              <a:gd name="connsiteX73" fmla="*/ 5119849 w 9085704"/>
              <a:gd name="connsiteY73" fmla="*/ 4435322 h 6858000"/>
              <a:gd name="connsiteX74" fmla="*/ 5211406 w 9085704"/>
              <a:gd name="connsiteY74" fmla="*/ 4542616 h 6858000"/>
              <a:gd name="connsiteX75" fmla="*/ 5211406 w 9085704"/>
              <a:gd name="connsiteY75" fmla="*/ 4815226 h 6858000"/>
              <a:gd name="connsiteX76" fmla="*/ 5279927 w 9085704"/>
              <a:gd name="connsiteY76" fmla="*/ 4815226 h 6858000"/>
              <a:gd name="connsiteX77" fmla="*/ 5279927 w 9085704"/>
              <a:gd name="connsiteY77" fmla="*/ 4547573 h 6858000"/>
              <a:gd name="connsiteX78" fmla="*/ 5134428 w 9085704"/>
              <a:gd name="connsiteY78" fmla="*/ 4375843 h 6858000"/>
              <a:gd name="connsiteX79" fmla="*/ 4986598 w 9085704"/>
              <a:gd name="connsiteY79" fmla="*/ 4456897 h 6858000"/>
              <a:gd name="connsiteX80" fmla="*/ 4860343 w 9085704"/>
              <a:gd name="connsiteY80" fmla="*/ 4375843 h 6858000"/>
              <a:gd name="connsiteX81" fmla="*/ 6585913 w 9085704"/>
              <a:gd name="connsiteY81" fmla="*/ 4375552 h 6858000"/>
              <a:gd name="connsiteX82" fmla="*/ 6447120 w 9085704"/>
              <a:gd name="connsiteY82" fmla="*/ 4451649 h 6858000"/>
              <a:gd name="connsiteX83" fmla="*/ 6447120 w 9085704"/>
              <a:gd name="connsiteY83" fmla="*/ 4383133 h 6858000"/>
              <a:gd name="connsiteX84" fmla="*/ 6378599 w 9085704"/>
              <a:gd name="connsiteY84" fmla="*/ 4383133 h 6858000"/>
              <a:gd name="connsiteX85" fmla="*/ 6378599 w 9085704"/>
              <a:gd name="connsiteY85" fmla="*/ 4814935 h 6858000"/>
              <a:gd name="connsiteX86" fmla="*/ 6447120 w 9085704"/>
              <a:gd name="connsiteY86" fmla="*/ 4814935 h 6858000"/>
              <a:gd name="connsiteX87" fmla="*/ 6447120 w 9085704"/>
              <a:gd name="connsiteY87" fmla="*/ 4553113 h 6858000"/>
              <a:gd name="connsiteX88" fmla="*/ 6567835 w 9085704"/>
              <a:gd name="connsiteY88" fmla="*/ 4435030 h 6858000"/>
              <a:gd name="connsiteX89" fmla="*/ 6669304 w 9085704"/>
              <a:gd name="connsiteY89" fmla="*/ 4544949 h 6858000"/>
              <a:gd name="connsiteX90" fmla="*/ 6669304 w 9085704"/>
              <a:gd name="connsiteY90" fmla="*/ 4814935 h 6858000"/>
              <a:gd name="connsiteX91" fmla="*/ 6737825 w 9085704"/>
              <a:gd name="connsiteY91" fmla="*/ 4814935 h 6858000"/>
              <a:gd name="connsiteX92" fmla="*/ 6737825 w 9085704"/>
              <a:gd name="connsiteY92" fmla="*/ 4549906 h 6858000"/>
              <a:gd name="connsiteX93" fmla="*/ 6585913 w 9085704"/>
              <a:gd name="connsiteY93" fmla="*/ 4375552 h 6858000"/>
              <a:gd name="connsiteX94" fmla="*/ 6086144 w 9085704"/>
              <a:gd name="connsiteY94" fmla="*/ 4375552 h 6858000"/>
              <a:gd name="connsiteX95" fmla="*/ 5915279 w 9085704"/>
              <a:gd name="connsiteY95" fmla="*/ 4510253 h 6858000"/>
              <a:gd name="connsiteX96" fmla="*/ 5983800 w 9085704"/>
              <a:gd name="connsiteY96" fmla="*/ 4510253 h 6858000"/>
              <a:gd name="connsiteX97" fmla="*/ 6082938 w 9085704"/>
              <a:gd name="connsiteY97" fmla="*/ 4432698 h 6858000"/>
              <a:gd name="connsiteX98" fmla="*/ 6175368 w 9085704"/>
              <a:gd name="connsiteY98" fmla="*/ 4530079 h 6858000"/>
              <a:gd name="connsiteX99" fmla="*/ 6175368 w 9085704"/>
              <a:gd name="connsiteY99" fmla="*/ 4561568 h 6858000"/>
              <a:gd name="connsiteX100" fmla="*/ 6113553 w 9085704"/>
              <a:gd name="connsiteY100" fmla="*/ 4561568 h 6858000"/>
              <a:gd name="connsiteX101" fmla="*/ 5897201 w 9085704"/>
              <a:gd name="connsiteY101" fmla="*/ 4695394 h 6858000"/>
              <a:gd name="connsiteX102" fmla="*/ 6040658 w 9085704"/>
              <a:gd name="connsiteY102" fmla="*/ 4822224 h 6858000"/>
              <a:gd name="connsiteX103" fmla="*/ 6175368 w 9085704"/>
              <a:gd name="connsiteY103" fmla="*/ 4760413 h 6858000"/>
              <a:gd name="connsiteX104" fmla="*/ 6175368 w 9085704"/>
              <a:gd name="connsiteY104" fmla="*/ 4814935 h 6858000"/>
              <a:gd name="connsiteX105" fmla="*/ 6243889 w 9085704"/>
              <a:gd name="connsiteY105" fmla="*/ 4814935 h 6858000"/>
              <a:gd name="connsiteX106" fmla="*/ 6243889 w 9085704"/>
              <a:gd name="connsiteY106" fmla="*/ 4530079 h 6858000"/>
              <a:gd name="connsiteX107" fmla="*/ 6086144 w 9085704"/>
              <a:gd name="connsiteY107" fmla="*/ 4375552 h 6858000"/>
              <a:gd name="connsiteX108" fmla="*/ 5629239 w 9085704"/>
              <a:gd name="connsiteY108" fmla="*/ 4375552 h 6858000"/>
              <a:gd name="connsiteX109" fmla="*/ 5483157 w 9085704"/>
              <a:gd name="connsiteY109" fmla="*/ 4455731 h 6858000"/>
              <a:gd name="connsiteX110" fmla="*/ 5483157 w 9085704"/>
              <a:gd name="connsiteY110" fmla="*/ 4383133 h 6858000"/>
              <a:gd name="connsiteX111" fmla="*/ 5414636 w 9085704"/>
              <a:gd name="connsiteY111" fmla="*/ 4383133 h 6858000"/>
              <a:gd name="connsiteX112" fmla="*/ 5414636 w 9085704"/>
              <a:gd name="connsiteY112" fmla="*/ 4965380 h 6858000"/>
              <a:gd name="connsiteX113" fmla="*/ 5483157 w 9085704"/>
              <a:gd name="connsiteY113" fmla="*/ 4965380 h 6858000"/>
              <a:gd name="connsiteX114" fmla="*/ 5483157 w 9085704"/>
              <a:gd name="connsiteY114" fmla="*/ 4744085 h 6858000"/>
              <a:gd name="connsiteX115" fmla="*/ 5629239 w 9085704"/>
              <a:gd name="connsiteY115" fmla="*/ 4822515 h 6858000"/>
              <a:gd name="connsiteX116" fmla="*/ 5825764 w 9085704"/>
              <a:gd name="connsiteY116" fmla="*/ 4599471 h 6858000"/>
              <a:gd name="connsiteX117" fmla="*/ 5825764 w 9085704"/>
              <a:gd name="connsiteY117" fmla="*/ 4592765 h 6858000"/>
              <a:gd name="connsiteX118" fmla="*/ 5629239 w 9085704"/>
              <a:gd name="connsiteY118" fmla="*/ 4375552 h 6858000"/>
              <a:gd name="connsiteX119" fmla="*/ 4344247 w 9085704"/>
              <a:gd name="connsiteY119" fmla="*/ 4375552 h 6858000"/>
              <a:gd name="connsiteX120" fmla="*/ 4131977 w 9085704"/>
              <a:gd name="connsiteY120" fmla="*/ 4595972 h 6858000"/>
              <a:gd name="connsiteX121" fmla="*/ 4131977 w 9085704"/>
              <a:gd name="connsiteY121" fmla="*/ 4602678 h 6858000"/>
              <a:gd name="connsiteX122" fmla="*/ 4343372 w 9085704"/>
              <a:gd name="connsiteY122" fmla="*/ 4822515 h 6858000"/>
              <a:gd name="connsiteX123" fmla="*/ 4556517 w 9085704"/>
              <a:gd name="connsiteY123" fmla="*/ 4602095 h 6858000"/>
              <a:gd name="connsiteX124" fmla="*/ 4556517 w 9085704"/>
              <a:gd name="connsiteY124" fmla="*/ 4595389 h 6858000"/>
              <a:gd name="connsiteX125" fmla="*/ 4344247 w 9085704"/>
              <a:gd name="connsiteY125" fmla="*/ 4375552 h 6858000"/>
              <a:gd name="connsiteX126" fmla="*/ 3871012 w 9085704"/>
              <a:gd name="connsiteY126" fmla="*/ 4375552 h 6858000"/>
              <a:gd name="connsiteX127" fmla="*/ 3661075 w 9085704"/>
              <a:gd name="connsiteY127" fmla="*/ 4596847 h 6858000"/>
              <a:gd name="connsiteX128" fmla="*/ 3661075 w 9085704"/>
              <a:gd name="connsiteY128" fmla="*/ 4603553 h 6858000"/>
              <a:gd name="connsiteX129" fmla="*/ 3872470 w 9085704"/>
              <a:gd name="connsiteY129" fmla="*/ 4822224 h 6858000"/>
              <a:gd name="connsiteX130" fmla="*/ 4060831 w 9085704"/>
              <a:gd name="connsiteY130" fmla="*/ 4659532 h 6858000"/>
              <a:gd name="connsiteX131" fmla="*/ 3997267 w 9085704"/>
              <a:gd name="connsiteY131" fmla="*/ 4659532 h 6858000"/>
              <a:gd name="connsiteX132" fmla="*/ 3873345 w 9085704"/>
              <a:gd name="connsiteY132" fmla="*/ 4765369 h 6858000"/>
              <a:gd name="connsiteX133" fmla="*/ 3732221 w 9085704"/>
              <a:gd name="connsiteY133" fmla="*/ 4603553 h 6858000"/>
              <a:gd name="connsiteX134" fmla="*/ 3732221 w 9085704"/>
              <a:gd name="connsiteY134" fmla="*/ 4596847 h 6858000"/>
              <a:gd name="connsiteX135" fmla="*/ 3871012 w 9085704"/>
              <a:gd name="connsiteY135" fmla="*/ 4432406 h 6858000"/>
              <a:gd name="connsiteX136" fmla="*/ 3990852 w 9085704"/>
              <a:gd name="connsiteY136" fmla="*/ 4526581 h 6858000"/>
              <a:gd name="connsiteX137" fmla="*/ 4058498 w 9085704"/>
              <a:gd name="connsiteY137" fmla="*/ 4526581 h 6858000"/>
              <a:gd name="connsiteX138" fmla="*/ 3871012 w 9085704"/>
              <a:gd name="connsiteY138" fmla="*/ 4375552 h 6858000"/>
              <a:gd name="connsiteX139" fmla="*/ 188944 w 9085704"/>
              <a:gd name="connsiteY139" fmla="*/ 4375552 h 6858000"/>
              <a:gd name="connsiteX140" fmla="*/ 346688 w 9085704"/>
              <a:gd name="connsiteY140" fmla="*/ 4530079 h 6858000"/>
              <a:gd name="connsiteX141" fmla="*/ 346688 w 9085704"/>
              <a:gd name="connsiteY141" fmla="*/ 4814935 h 6858000"/>
              <a:gd name="connsiteX142" fmla="*/ 278167 w 9085704"/>
              <a:gd name="connsiteY142" fmla="*/ 4814935 h 6858000"/>
              <a:gd name="connsiteX143" fmla="*/ 278167 w 9085704"/>
              <a:gd name="connsiteY143" fmla="*/ 4760413 h 6858000"/>
              <a:gd name="connsiteX144" fmla="*/ 143457 w 9085704"/>
              <a:gd name="connsiteY144" fmla="*/ 4822224 h 6858000"/>
              <a:gd name="connsiteX145" fmla="*/ 0 w 9085704"/>
              <a:gd name="connsiteY145" fmla="*/ 4695394 h 6858000"/>
              <a:gd name="connsiteX146" fmla="*/ 216352 w 9085704"/>
              <a:gd name="connsiteY146" fmla="*/ 4561568 h 6858000"/>
              <a:gd name="connsiteX147" fmla="*/ 278167 w 9085704"/>
              <a:gd name="connsiteY147" fmla="*/ 4561568 h 6858000"/>
              <a:gd name="connsiteX148" fmla="*/ 278167 w 9085704"/>
              <a:gd name="connsiteY148" fmla="*/ 4530079 h 6858000"/>
              <a:gd name="connsiteX149" fmla="*/ 185736 w 9085704"/>
              <a:gd name="connsiteY149" fmla="*/ 4432698 h 6858000"/>
              <a:gd name="connsiteX150" fmla="*/ 86599 w 9085704"/>
              <a:gd name="connsiteY150" fmla="*/ 4510253 h 6858000"/>
              <a:gd name="connsiteX151" fmla="*/ 18078 w 9085704"/>
              <a:gd name="connsiteY151" fmla="*/ 4510253 h 6858000"/>
              <a:gd name="connsiteX152" fmla="*/ 188944 w 9085704"/>
              <a:gd name="connsiteY152" fmla="*/ 4375552 h 6858000"/>
              <a:gd name="connsiteX153" fmla="*/ 2777589 w 9085704"/>
              <a:gd name="connsiteY153" fmla="*/ 4374094 h 6858000"/>
              <a:gd name="connsiteX154" fmla="*/ 2662998 w 9085704"/>
              <a:gd name="connsiteY154" fmla="*/ 4402667 h 6858000"/>
              <a:gd name="connsiteX155" fmla="*/ 2583396 w 9085704"/>
              <a:gd name="connsiteY155" fmla="*/ 4483721 h 6858000"/>
              <a:gd name="connsiteX156" fmla="*/ 2555405 w 9085704"/>
              <a:gd name="connsiteY156" fmla="*/ 4593639 h 6858000"/>
              <a:gd name="connsiteX157" fmla="*/ 2583396 w 9085704"/>
              <a:gd name="connsiteY157" fmla="*/ 4719594 h 6858000"/>
              <a:gd name="connsiteX158" fmla="*/ 2665330 w 9085704"/>
              <a:gd name="connsiteY158" fmla="*/ 4798023 h 6858000"/>
              <a:gd name="connsiteX159" fmla="*/ 2778463 w 9085704"/>
              <a:gd name="connsiteY159" fmla="*/ 4824847 h 6858000"/>
              <a:gd name="connsiteX160" fmla="*/ 2937666 w 9085704"/>
              <a:gd name="connsiteY160" fmla="*/ 4760412 h 6858000"/>
              <a:gd name="connsiteX161" fmla="*/ 3000939 w 9085704"/>
              <a:gd name="connsiteY161" fmla="*/ 4598304 h 6858000"/>
              <a:gd name="connsiteX162" fmla="*/ 2938249 w 9085704"/>
              <a:gd name="connsiteY162" fmla="*/ 4437654 h 6858000"/>
              <a:gd name="connsiteX163" fmla="*/ 2777589 w 9085704"/>
              <a:gd name="connsiteY163" fmla="*/ 4374094 h 6858000"/>
              <a:gd name="connsiteX164" fmla="*/ 3443265 w 9085704"/>
              <a:gd name="connsiteY164" fmla="*/ 4281377 h 6858000"/>
              <a:gd name="connsiteX165" fmla="*/ 3454637 w 9085704"/>
              <a:gd name="connsiteY165" fmla="*/ 4281377 h 6858000"/>
              <a:gd name="connsiteX166" fmla="*/ 3464842 w 9085704"/>
              <a:gd name="connsiteY166" fmla="*/ 4282252 h 6858000"/>
              <a:gd name="connsiteX167" fmla="*/ 3469216 w 9085704"/>
              <a:gd name="connsiteY167" fmla="*/ 4285459 h 6858000"/>
              <a:gd name="connsiteX168" fmla="*/ 3470674 w 9085704"/>
              <a:gd name="connsiteY168" fmla="*/ 4290415 h 6858000"/>
              <a:gd name="connsiteX169" fmla="*/ 3467467 w 9085704"/>
              <a:gd name="connsiteY169" fmla="*/ 4297413 h 6858000"/>
              <a:gd name="connsiteX170" fmla="*/ 3455512 w 9085704"/>
              <a:gd name="connsiteY170" fmla="*/ 4300037 h 6858000"/>
              <a:gd name="connsiteX171" fmla="*/ 3443265 w 9085704"/>
              <a:gd name="connsiteY171" fmla="*/ 4300037 h 6858000"/>
              <a:gd name="connsiteX172" fmla="*/ 3433060 w 9085704"/>
              <a:gd name="connsiteY172" fmla="*/ 4272630 h 6858000"/>
              <a:gd name="connsiteX173" fmla="*/ 3433060 w 9085704"/>
              <a:gd name="connsiteY173" fmla="*/ 4334733 h 6858000"/>
              <a:gd name="connsiteX174" fmla="*/ 3442974 w 9085704"/>
              <a:gd name="connsiteY174" fmla="*/ 4334733 h 6858000"/>
              <a:gd name="connsiteX175" fmla="*/ 3442974 w 9085704"/>
              <a:gd name="connsiteY175" fmla="*/ 4308492 h 6858000"/>
              <a:gd name="connsiteX176" fmla="*/ 3448805 w 9085704"/>
              <a:gd name="connsiteY176" fmla="*/ 4308492 h 6858000"/>
              <a:gd name="connsiteX177" fmla="*/ 3456969 w 9085704"/>
              <a:gd name="connsiteY177" fmla="*/ 4310533 h 6858000"/>
              <a:gd name="connsiteX178" fmla="*/ 3467467 w 9085704"/>
              <a:gd name="connsiteY178" fmla="*/ 4325111 h 6858000"/>
              <a:gd name="connsiteX179" fmla="*/ 3473006 w 9085704"/>
              <a:gd name="connsiteY179" fmla="*/ 4335024 h 6858000"/>
              <a:gd name="connsiteX180" fmla="*/ 3485253 w 9085704"/>
              <a:gd name="connsiteY180" fmla="*/ 4335024 h 6858000"/>
              <a:gd name="connsiteX181" fmla="*/ 3477672 w 9085704"/>
              <a:gd name="connsiteY181" fmla="*/ 4322779 h 6858000"/>
              <a:gd name="connsiteX182" fmla="*/ 3468341 w 9085704"/>
              <a:gd name="connsiteY182" fmla="*/ 4310533 h 6858000"/>
              <a:gd name="connsiteX183" fmla="*/ 3463093 w 9085704"/>
              <a:gd name="connsiteY183" fmla="*/ 4307326 h 6858000"/>
              <a:gd name="connsiteX184" fmla="*/ 3475922 w 9085704"/>
              <a:gd name="connsiteY184" fmla="*/ 4301786 h 6858000"/>
              <a:gd name="connsiteX185" fmla="*/ 3480879 w 9085704"/>
              <a:gd name="connsiteY185" fmla="*/ 4289832 h 6858000"/>
              <a:gd name="connsiteX186" fmla="*/ 3477963 w 9085704"/>
              <a:gd name="connsiteY186" fmla="*/ 4280794 h 6858000"/>
              <a:gd name="connsiteX187" fmla="*/ 3470091 w 9085704"/>
              <a:gd name="connsiteY187" fmla="*/ 4274671 h 6858000"/>
              <a:gd name="connsiteX188" fmla="*/ 3454346 w 9085704"/>
              <a:gd name="connsiteY188" fmla="*/ 4272922 h 6858000"/>
              <a:gd name="connsiteX189" fmla="*/ 3454346 w 9085704"/>
              <a:gd name="connsiteY189" fmla="*/ 4272630 h 6858000"/>
              <a:gd name="connsiteX190" fmla="*/ 3458427 w 9085704"/>
              <a:gd name="connsiteY190" fmla="*/ 4254845 h 6858000"/>
              <a:gd name="connsiteX191" fmla="*/ 3482046 w 9085704"/>
              <a:gd name="connsiteY191" fmla="*/ 4260968 h 6858000"/>
              <a:gd name="connsiteX192" fmla="*/ 3500123 w 9085704"/>
              <a:gd name="connsiteY192" fmla="*/ 4278753 h 6858000"/>
              <a:gd name="connsiteX193" fmla="*/ 3506538 w 9085704"/>
              <a:gd name="connsiteY193" fmla="*/ 4302953 h 6858000"/>
              <a:gd name="connsiteX194" fmla="*/ 3500123 w 9085704"/>
              <a:gd name="connsiteY194" fmla="*/ 4326861 h 6858000"/>
              <a:gd name="connsiteX195" fmla="*/ 3482337 w 9085704"/>
              <a:gd name="connsiteY195" fmla="*/ 4344646 h 6858000"/>
              <a:gd name="connsiteX196" fmla="*/ 3458427 w 9085704"/>
              <a:gd name="connsiteY196" fmla="*/ 4351060 h 6858000"/>
              <a:gd name="connsiteX197" fmla="*/ 3434518 w 9085704"/>
              <a:gd name="connsiteY197" fmla="*/ 4344646 h 6858000"/>
              <a:gd name="connsiteX198" fmla="*/ 3416732 w 9085704"/>
              <a:gd name="connsiteY198" fmla="*/ 4326861 h 6858000"/>
              <a:gd name="connsiteX199" fmla="*/ 3410317 w 9085704"/>
              <a:gd name="connsiteY199" fmla="*/ 4302953 h 6858000"/>
              <a:gd name="connsiteX200" fmla="*/ 3416732 w 9085704"/>
              <a:gd name="connsiteY200" fmla="*/ 4278753 h 6858000"/>
              <a:gd name="connsiteX201" fmla="*/ 3434810 w 9085704"/>
              <a:gd name="connsiteY201" fmla="*/ 4260968 h 6858000"/>
              <a:gd name="connsiteX202" fmla="*/ 3458427 w 9085704"/>
              <a:gd name="connsiteY202" fmla="*/ 4254845 h 6858000"/>
              <a:gd name="connsiteX203" fmla="*/ 3458427 w 9085704"/>
              <a:gd name="connsiteY203" fmla="*/ 4245224 h 6858000"/>
              <a:gd name="connsiteX204" fmla="*/ 3430144 w 9085704"/>
              <a:gd name="connsiteY204" fmla="*/ 4252804 h 6858000"/>
              <a:gd name="connsiteX205" fmla="*/ 3408567 w 9085704"/>
              <a:gd name="connsiteY205" fmla="*/ 4274088 h 6858000"/>
              <a:gd name="connsiteX206" fmla="*/ 3400695 w 9085704"/>
              <a:gd name="connsiteY206" fmla="*/ 4302953 h 6858000"/>
              <a:gd name="connsiteX207" fmla="*/ 3408276 w 9085704"/>
              <a:gd name="connsiteY207" fmla="*/ 4331526 h 6858000"/>
              <a:gd name="connsiteX208" fmla="*/ 3429561 w 9085704"/>
              <a:gd name="connsiteY208" fmla="*/ 4352809 h 6858000"/>
              <a:gd name="connsiteX209" fmla="*/ 3458427 w 9085704"/>
              <a:gd name="connsiteY209" fmla="*/ 4360390 h 6858000"/>
              <a:gd name="connsiteX210" fmla="*/ 3487294 w 9085704"/>
              <a:gd name="connsiteY210" fmla="*/ 4352809 h 6858000"/>
              <a:gd name="connsiteX211" fmla="*/ 3508579 w 9085704"/>
              <a:gd name="connsiteY211" fmla="*/ 4331526 h 6858000"/>
              <a:gd name="connsiteX212" fmla="*/ 3516160 w 9085704"/>
              <a:gd name="connsiteY212" fmla="*/ 4302953 h 6858000"/>
              <a:gd name="connsiteX213" fmla="*/ 3508288 w 9085704"/>
              <a:gd name="connsiteY213" fmla="*/ 4274088 h 6858000"/>
              <a:gd name="connsiteX214" fmla="*/ 3486711 w 9085704"/>
              <a:gd name="connsiteY214" fmla="*/ 4252804 h 6858000"/>
              <a:gd name="connsiteX215" fmla="*/ 3458427 w 9085704"/>
              <a:gd name="connsiteY215" fmla="*/ 4245224 h 6858000"/>
              <a:gd name="connsiteX216" fmla="*/ 6415 w 9085704"/>
              <a:gd name="connsiteY216" fmla="*/ 2062597 h 6858000"/>
              <a:gd name="connsiteX217" fmla="*/ 604445 w 9085704"/>
              <a:gd name="connsiteY217" fmla="*/ 2062597 h 6858000"/>
              <a:gd name="connsiteX218" fmla="*/ 604445 w 9085704"/>
              <a:gd name="connsiteY218" fmla="*/ 3361794 h 6858000"/>
              <a:gd name="connsiteX219" fmla="*/ 1486182 w 9085704"/>
              <a:gd name="connsiteY219" fmla="*/ 3361794 h 6858000"/>
              <a:gd name="connsiteX220" fmla="*/ 1486182 w 9085704"/>
              <a:gd name="connsiteY220" fmla="*/ 3855407 h 6858000"/>
              <a:gd name="connsiteX221" fmla="*/ 6415 w 9085704"/>
              <a:gd name="connsiteY221" fmla="*/ 3855407 h 6858000"/>
              <a:gd name="connsiteX222" fmla="*/ 6418254 w 9085704"/>
              <a:gd name="connsiteY222" fmla="*/ 2061139 h 6858000"/>
              <a:gd name="connsiteX223" fmla="*/ 6342734 w 9085704"/>
              <a:gd name="connsiteY223" fmla="*/ 2093211 h 6858000"/>
              <a:gd name="connsiteX224" fmla="*/ 5884371 w 9085704"/>
              <a:gd name="connsiteY224" fmla="*/ 2579243 h 6858000"/>
              <a:gd name="connsiteX225" fmla="*/ 5845299 w 9085704"/>
              <a:gd name="connsiteY225" fmla="*/ 2618604 h 6858000"/>
              <a:gd name="connsiteX226" fmla="*/ 5845299 w 9085704"/>
              <a:gd name="connsiteY226" fmla="*/ 2062888 h 6858000"/>
              <a:gd name="connsiteX227" fmla="*/ 5246686 w 9085704"/>
              <a:gd name="connsiteY227" fmla="*/ 2062888 h 6858000"/>
              <a:gd name="connsiteX228" fmla="*/ 5246686 w 9085704"/>
              <a:gd name="connsiteY228" fmla="*/ 3855407 h 6858000"/>
              <a:gd name="connsiteX229" fmla="*/ 5846174 w 9085704"/>
              <a:gd name="connsiteY229" fmla="*/ 3855407 h 6858000"/>
              <a:gd name="connsiteX230" fmla="*/ 5846174 w 9085704"/>
              <a:gd name="connsiteY230" fmla="*/ 3115424 h 6858000"/>
              <a:gd name="connsiteX231" fmla="*/ 5859295 w 9085704"/>
              <a:gd name="connsiteY231" fmla="*/ 3130294 h 6858000"/>
              <a:gd name="connsiteX232" fmla="*/ 5966013 w 9085704"/>
              <a:gd name="connsiteY232" fmla="*/ 3253041 h 6858000"/>
              <a:gd name="connsiteX233" fmla="*/ 6480943 w 9085704"/>
              <a:gd name="connsiteY233" fmla="*/ 3846660 h 6858000"/>
              <a:gd name="connsiteX234" fmla="*/ 6502812 w 9085704"/>
              <a:gd name="connsiteY234" fmla="*/ 3856573 h 6858000"/>
              <a:gd name="connsiteX235" fmla="*/ 7223889 w 9085704"/>
              <a:gd name="connsiteY235" fmla="*/ 3856281 h 6858000"/>
              <a:gd name="connsiteX236" fmla="*/ 7238176 w 9085704"/>
              <a:gd name="connsiteY236" fmla="*/ 3856281 h 6858000"/>
              <a:gd name="connsiteX237" fmla="*/ 6330197 w 9085704"/>
              <a:gd name="connsiteY237" fmla="*/ 2879843 h 6858000"/>
              <a:gd name="connsiteX238" fmla="*/ 7155368 w 9085704"/>
              <a:gd name="connsiteY238" fmla="*/ 2062014 h 6858000"/>
              <a:gd name="connsiteX239" fmla="*/ 7127668 w 9085704"/>
              <a:gd name="connsiteY239" fmla="*/ 2062014 h 6858000"/>
              <a:gd name="connsiteX240" fmla="*/ 2174311 w 9085704"/>
              <a:gd name="connsiteY240" fmla="*/ 2061139 h 6858000"/>
              <a:gd name="connsiteX241" fmla="*/ 2753097 w 9085704"/>
              <a:gd name="connsiteY241" fmla="*/ 2061431 h 6858000"/>
              <a:gd name="connsiteX242" fmla="*/ 2765051 w 9085704"/>
              <a:gd name="connsiteY242" fmla="*/ 2062305 h 6858000"/>
              <a:gd name="connsiteX243" fmla="*/ 2247206 w 9085704"/>
              <a:gd name="connsiteY243" fmla="*/ 3855698 h 6858000"/>
              <a:gd name="connsiteX244" fmla="*/ 1644510 w 9085704"/>
              <a:gd name="connsiteY244" fmla="*/ 3855698 h 6858000"/>
              <a:gd name="connsiteX245" fmla="*/ 1686790 w 9085704"/>
              <a:gd name="connsiteY245" fmla="*/ 3709043 h 6858000"/>
              <a:gd name="connsiteX246" fmla="*/ 1988574 w 9085704"/>
              <a:gd name="connsiteY246" fmla="*/ 2664671 h 6858000"/>
              <a:gd name="connsiteX247" fmla="*/ 2158274 w 9085704"/>
              <a:gd name="connsiteY247" fmla="*/ 2074842 h 6858000"/>
              <a:gd name="connsiteX248" fmla="*/ 2174311 w 9085704"/>
              <a:gd name="connsiteY248" fmla="*/ 2061139 h 6858000"/>
              <a:gd name="connsiteX249" fmla="*/ 3600940 w 9085704"/>
              <a:gd name="connsiteY249" fmla="*/ 0 h 6858000"/>
              <a:gd name="connsiteX250" fmla="*/ 9085704 w 9085704"/>
              <a:gd name="connsiteY250" fmla="*/ 0 h 6858000"/>
              <a:gd name="connsiteX251" fmla="*/ 9085704 w 9085704"/>
              <a:gd name="connsiteY251" fmla="*/ 6858000 h 6858000"/>
              <a:gd name="connsiteX252" fmla="*/ 1622047 w 9085704"/>
              <a:gd name="connsiteY252" fmla="*/ 6858000 h 6858000"/>
              <a:gd name="connsiteX253" fmla="*/ 2211265 w 9085704"/>
              <a:gd name="connsiteY253" fmla="*/ 4818924 h 6858000"/>
              <a:gd name="connsiteX254" fmla="*/ 2189235 w 9085704"/>
              <a:gd name="connsiteY254" fmla="*/ 4816456 h 6858000"/>
              <a:gd name="connsiteX255" fmla="*/ 2266741 w 9085704"/>
              <a:gd name="connsiteY255" fmla="*/ 4825139 h 6858000"/>
              <a:gd name="connsiteX256" fmla="*/ 2411948 w 9085704"/>
              <a:gd name="connsiteY256" fmla="*/ 4797440 h 6858000"/>
              <a:gd name="connsiteX257" fmla="*/ 2521582 w 9085704"/>
              <a:gd name="connsiteY257" fmla="*/ 4733005 h 6858000"/>
              <a:gd name="connsiteX258" fmla="*/ 2521582 w 9085704"/>
              <a:gd name="connsiteY258" fmla="*/ 4495966 h 6858000"/>
              <a:gd name="connsiteX259" fmla="*/ 2304588 w 9085704"/>
              <a:gd name="connsiteY259" fmla="*/ 4495966 h 6858000"/>
              <a:gd name="connsiteX260" fmla="*/ 2349489 w 9085704"/>
              <a:gd name="connsiteY260" fmla="*/ 4340581 h 6858000"/>
              <a:gd name="connsiteX261" fmla="*/ 2346925 w 9085704"/>
              <a:gd name="connsiteY261" fmla="*/ 4337940 h 6858000"/>
              <a:gd name="connsiteX262" fmla="*/ 2394161 w 9085704"/>
              <a:gd name="connsiteY262" fmla="*/ 4407040 h 6858000"/>
              <a:gd name="connsiteX263" fmla="*/ 2513709 w 9085704"/>
              <a:gd name="connsiteY263" fmla="*/ 4384590 h 6858000"/>
              <a:gd name="connsiteX264" fmla="*/ 2433525 w 9085704"/>
              <a:gd name="connsiteY264" fmla="*/ 4256011 h 6858000"/>
              <a:gd name="connsiteX265" fmla="*/ 2381000 w 9085704"/>
              <a:gd name="connsiteY265" fmla="*/ 4231534 h 6858000"/>
              <a:gd name="connsiteX266" fmla="*/ 2488057 w 9085704"/>
              <a:gd name="connsiteY266" fmla="*/ 3861048 h 6858000"/>
              <a:gd name="connsiteX267" fmla="*/ 3094243 w 9085704"/>
              <a:gd name="connsiteY267" fmla="*/ 3864641 h 6858000"/>
              <a:gd name="connsiteX268" fmla="*/ 3382324 w 9085704"/>
              <a:gd name="connsiteY268" fmla="*/ 2776339 h 6858000"/>
              <a:gd name="connsiteX269" fmla="*/ 3391071 w 9085704"/>
              <a:gd name="connsiteY269" fmla="*/ 2790626 h 6858000"/>
              <a:gd name="connsiteX270" fmla="*/ 3656701 w 9085704"/>
              <a:gd name="connsiteY270" fmla="*/ 3290070 h 6858000"/>
              <a:gd name="connsiteX271" fmla="*/ 3949447 w 9085704"/>
              <a:gd name="connsiteY271" fmla="*/ 3840829 h 6858000"/>
              <a:gd name="connsiteX272" fmla="*/ 3974814 w 9085704"/>
              <a:gd name="connsiteY272" fmla="*/ 3855990 h 6858000"/>
              <a:gd name="connsiteX273" fmla="*/ 4555058 w 9085704"/>
              <a:gd name="connsiteY273" fmla="*/ 3855699 h 6858000"/>
              <a:gd name="connsiteX274" fmla="*/ 4572844 w 9085704"/>
              <a:gd name="connsiteY274" fmla="*/ 3855699 h 6858000"/>
              <a:gd name="connsiteX275" fmla="*/ 5091857 w 9085704"/>
              <a:gd name="connsiteY275" fmla="*/ 2061140 h 6858000"/>
              <a:gd name="connsiteX276" fmla="*/ 5073778 w 9085704"/>
              <a:gd name="connsiteY276" fmla="*/ 2061140 h 6858000"/>
              <a:gd name="connsiteX277" fmla="*/ 4494992 w 9085704"/>
              <a:gd name="connsiteY277" fmla="*/ 2060848 h 6858000"/>
              <a:gd name="connsiteX278" fmla="*/ 4473707 w 9085704"/>
              <a:gd name="connsiteY278" fmla="*/ 2077467 h 6858000"/>
              <a:gd name="connsiteX279" fmla="*/ 4373404 w 9085704"/>
              <a:gd name="connsiteY279" fmla="*/ 2453581 h 6858000"/>
              <a:gd name="connsiteX280" fmla="*/ 4198164 w 9085704"/>
              <a:gd name="connsiteY280" fmla="*/ 3108136 h 6858000"/>
              <a:gd name="connsiteX281" fmla="*/ 4186501 w 9085704"/>
              <a:gd name="connsiteY281" fmla="*/ 3150121 h 6858000"/>
              <a:gd name="connsiteX282" fmla="*/ 4176587 w 9085704"/>
              <a:gd name="connsiteY282" fmla="*/ 3131461 h 6858000"/>
              <a:gd name="connsiteX283" fmla="*/ 4105442 w 9085704"/>
              <a:gd name="connsiteY283" fmla="*/ 2996759 h 6858000"/>
              <a:gd name="connsiteX284" fmla="*/ 3620545 w 9085704"/>
              <a:gd name="connsiteY284" fmla="*/ 2073677 h 6858000"/>
              <a:gd name="connsiteX285" fmla="*/ 3599259 w 9085704"/>
              <a:gd name="connsiteY285" fmla="*/ 2061431 h 6858000"/>
              <a:gd name="connsiteX286" fmla="*/ 3458651 w 9085704"/>
              <a:gd name="connsiteY286" fmla="*/ 2061503 h 6858000"/>
              <a:gd name="connsiteX287" fmla="*/ 3453704 w 9085704"/>
              <a:gd name="connsiteY287" fmla="*/ 2061141 h 6858000"/>
              <a:gd name="connsiteX288" fmla="*/ 3007993 w 9085704"/>
              <a:gd name="connsiteY288" fmla="*/ 20609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Lst>
            <a:rect l="l" t="t" r="r" b="b"/>
            <a:pathLst>
              <a:path w="9085704" h="6858000">
                <a:moveTo>
                  <a:pt x="2183293" y="4704511"/>
                </a:moveTo>
                <a:lnTo>
                  <a:pt x="2189728" y="4709207"/>
                </a:lnTo>
                <a:lnTo>
                  <a:pt x="2183293" y="4704511"/>
                </a:lnTo>
                <a:close/>
                <a:moveTo>
                  <a:pt x="6115886" y="4610259"/>
                </a:moveTo>
                <a:lnTo>
                  <a:pt x="6175368" y="4610259"/>
                </a:lnTo>
                <a:lnTo>
                  <a:pt x="6175368" y="4663906"/>
                </a:lnTo>
                <a:cubicBezTo>
                  <a:pt x="6175368" y="4730673"/>
                  <a:pt x="6119968" y="4767993"/>
                  <a:pt x="6047073" y="4767993"/>
                </a:cubicBezTo>
                <a:cubicBezTo>
                  <a:pt x="5987007" y="4767993"/>
                  <a:pt x="5965431" y="4740003"/>
                  <a:pt x="5965431" y="4695394"/>
                </a:cubicBezTo>
                <a:cubicBezTo>
                  <a:pt x="5965431" y="4631834"/>
                  <a:pt x="6029286" y="4610259"/>
                  <a:pt x="6115886" y="4610259"/>
                </a:cubicBezTo>
                <a:close/>
                <a:moveTo>
                  <a:pt x="218976" y="4610259"/>
                </a:moveTo>
                <a:cubicBezTo>
                  <a:pt x="132377" y="4610259"/>
                  <a:pt x="68521" y="4631834"/>
                  <a:pt x="68521" y="4695394"/>
                </a:cubicBezTo>
                <a:cubicBezTo>
                  <a:pt x="68521" y="4740003"/>
                  <a:pt x="90098" y="4767993"/>
                  <a:pt x="150164" y="4767993"/>
                </a:cubicBezTo>
                <a:cubicBezTo>
                  <a:pt x="223059" y="4767993"/>
                  <a:pt x="278459" y="4730673"/>
                  <a:pt x="278459" y="4663906"/>
                </a:cubicBezTo>
                <a:lnTo>
                  <a:pt x="278459" y="4610259"/>
                </a:lnTo>
                <a:close/>
                <a:moveTo>
                  <a:pt x="2275606" y="4596263"/>
                </a:moveTo>
                <a:lnTo>
                  <a:pt x="2399993" y="4596263"/>
                </a:lnTo>
                <a:lnTo>
                  <a:pt x="2399993" y="4671777"/>
                </a:lnTo>
                <a:cubicBezTo>
                  <a:pt x="2381623" y="4685772"/>
                  <a:pt x="2360046" y="4697726"/>
                  <a:pt x="2334679" y="4707639"/>
                </a:cubicBezTo>
                <a:cubicBezTo>
                  <a:pt x="2309311" y="4717553"/>
                  <a:pt x="2283944" y="4722509"/>
                  <a:pt x="2258868" y="4722509"/>
                </a:cubicBezTo>
                <a:lnTo>
                  <a:pt x="2240166" y="4718911"/>
                </a:lnTo>
                <a:close/>
                <a:moveTo>
                  <a:pt x="2778172" y="4467101"/>
                </a:moveTo>
                <a:cubicBezTo>
                  <a:pt x="2807913" y="4467101"/>
                  <a:pt x="2832989" y="4478472"/>
                  <a:pt x="2853108" y="4501214"/>
                </a:cubicBezTo>
                <a:cubicBezTo>
                  <a:pt x="2873227" y="4523956"/>
                  <a:pt x="2883432" y="4556319"/>
                  <a:pt x="2883432" y="4598596"/>
                </a:cubicBezTo>
                <a:cubicBezTo>
                  <a:pt x="2883432" y="4642038"/>
                  <a:pt x="2873227" y="4674985"/>
                  <a:pt x="2853108" y="4697726"/>
                </a:cubicBezTo>
                <a:cubicBezTo>
                  <a:pt x="2832989" y="4720468"/>
                  <a:pt x="2807913" y="4731839"/>
                  <a:pt x="2778172" y="4731839"/>
                </a:cubicBezTo>
                <a:cubicBezTo>
                  <a:pt x="2748431" y="4731839"/>
                  <a:pt x="2723355" y="4720468"/>
                  <a:pt x="2702944" y="4697726"/>
                </a:cubicBezTo>
                <a:cubicBezTo>
                  <a:pt x="2682534" y="4674985"/>
                  <a:pt x="2672328" y="4642330"/>
                  <a:pt x="2672328" y="4599470"/>
                </a:cubicBezTo>
                <a:cubicBezTo>
                  <a:pt x="2672328" y="4556611"/>
                  <a:pt x="2682534" y="4523956"/>
                  <a:pt x="2702944" y="4501214"/>
                </a:cubicBezTo>
                <a:cubicBezTo>
                  <a:pt x="2723355" y="4478472"/>
                  <a:pt x="2748431" y="4467101"/>
                  <a:pt x="2778172" y="4467101"/>
                </a:cubicBezTo>
                <a:close/>
                <a:moveTo>
                  <a:pt x="5621949" y="4432406"/>
                </a:moveTo>
                <a:cubicBezTo>
                  <a:pt x="5694553" y="4432406"/>
                  <a:pt x="5754910" y="4486928"/>
                  <a:pt x="5754910" y="4595972"/>
                </a:cubicBezTo>
                <a:lnTo>
                  <a:pt x="5754910" y="4602678"/>
                </a:lnTo>
                <a:cubicBezTo>
                  <a:pt x="5754910" y="4707640"/>
                  <a:pt x="5708840" y="4765369"/>
                  <a:pt x="5622824" y="4765369"/>
                </a:cubicBezTo>
                <a:cubicBezTo>
                  <a:pt x="5538557" y="4765369"/>
                  <a:pt x="5480825" y="4713471"/>
                  <a:pt x="5480825" y="4602678"/>
                </a:cubicBezTo>
                <a:lnTo>
                  <a:pt x="5480825" y="4595972"/>
                </a:lnTo>
                <a:cubicBezTo>
                  <a:pt x="5480825" y="4485179"/>
                  <a:pt x="5541765" y="4432406"/>
                  <a:pt x="5621949" y="4432406"/>
                </a:cubicBezTo>
                <a:close/>
                <a:moveTo>
                  <a:pt x="4344247" y="4432406"/>
                </a:moveTo>
                <a:cubicBezTo>
                  <a:pt x="4429972" y="4432406"/>
                  <a:pt x="4485372" y="4496841"/>
                  <a:pt x="4485372" y="4596847"/>
                </a:cubicBezTo>
                <a:lnTo>
                  <a:pt x="4485372" y="4602678"/>
                </a:lnTo>
                <a:cubicBezTo>
                  <a:pt x="4485372" y="4700351"/>
                  <a:pt x="4430846" y="4765369"/>
                  <a:pt x="4344247" y="4765369"/>
                </a:cubicBezTo>
                <a:cubicBezTo>
                  <a:pt x="4256773" y="4765369"/>
                  <a:pt x="4203123" y="4700934"/>
                  <a:pt x="4203123" y="4602678"/>
                </a:cubicBezTo>
                <a:lnTo>
                  <a:pt x="4203123" y="4595972"/>
                </a:lnTo>
                <a:cubicBezTo>
                  <a:pt x="4203123" y="4496841"/>
                  <a:pt x="4257648" y="4432406"/>
                  <a:pt x="4344247" y="4432406"/>
                </a:cubicBezTo>
                <a:close/>
                <a:moveTo>
                  <a:pt x="2984902" y="4383715"/>
                </a:moveTo>
                <a:lnTo>
                  <a:pt x="3158975" y="4814642"/>
                </a:lnTo>
                <a:lnTo>
                  <a:pt x="3262194" y="4814642"/>
                </a:lnTo>
                <a:lnTo>
                  <a:pt x="3433643" y="4383715"/>
                </a:lnTo>
                <a:lnTo>
                  <a:pt x="3316137" y="4383715"/>
                </a:lnTo>
                <a:lnTo>
                  <a:pt x="3233911" y="4603552"/>
                </a:lnTo>
                <a:cubicBezTo>
                  <a:pt x="3229537" y="4615798"/>
                  <a:pt x="3225455" y="4627752"/>
                  <a:pt x="3221665" y="4639997"/>
                </a:cubicBezTo>
                <a:cubicBezTo>
                  <a:pt x="3220207" y="4646120"/>
                  <a:pt x="3216125" y="4658366"/>
                  <a:pt x="3210002" y="4677026"/>
                </a:cubicBezTo>
                <a:lnTo>
                  <a:pt x="3186384" y="4603552"/>
                </a:lnTo>
                <a:lnTo>
                  <a:pt x="3105033" y="4383715"/>
                </a:lnTo>
                <a:close/>
                <a:moveTo>
                  <a:pt x="6811304" y="4382841"/>
                </a:moveTo>
                <a:lnTo>
                  <a:pt x="6980711" y="4770326"/>
                </a:lnTo>
                <a:lnTo>
                  <a:pt x="6898778" y="4965089"/>
                </a:lnTo>
                <a:lnTo>
                  <a:pt x="6968173" y="4965089"/>
                </a:lnTo>
                <a:lnTo>
                  <a:pt x="7206978" y="4382841"/>
                </a:lnTo>
                <a:lnTo>
                  <a:pt x="7136707" y="4382841"/>
                </a:lnTo>
                <a:lnTo>
                  <a:pt x="7016868" y="4692479"/>
                </a:lnTo>
                <a:lnTo>
                  <a:pt x="6884782" y="4382841"/>
                </a:lnTo>
                <a:close/>
                <a:moveTo>
                  <a:pt x="4860343" y="4375843"/>
                </a:moveTo>
                <a:cubicBezTo>
                  <a:pt x="4798237" y="4375843"/>
                  <a:pt x="4751292" y="4408789"/>
                  <a:pt x="4731465" y="4449316"/>
                </a:cubicBezTo>
                <a:lnTo>
                  <a:pt x="4731465" y="4383132"/>
                </a:lnTo>
                <a:lnTo>
                  <a:pt x="4663236" y="4383132"/>
                </a:lnTo>
                <a:lnTo>
                  <a:pt x="4663236" y="4815226"/>
                </a:lnTo>
                <a:lnTo>
                  <a:pt x="4731757" y="4815226"/>
                </a:lnTo>
                <a:lnTo>
                  <a:pt x="4731757" y="4551071"/>
                </a:lnTo>
                <a:cubicBezTo>
                  <a:pt x="4731757" y="4473225"/>
                  <a:pt x="4789489" y="4435322"/>
                  <a:pt x="4845764" y="4435322"/>
                </a:cubicBezTo>
                <a:cubicBezTo>
                  <a:pt x="4905247" y="4435322"/>
                  <a:pt x="4937321" y="4466518"/>
                  <a:pt x="4937321" y="4542616"/>
                </a:cubicBezTo>
                <a:lnTo>
                  <a:pt x="4937321" y="4815226"/>
                </a:lnTo>
                <a:lnTo>
                  <a:pt x="5005842" y="4815226"/>
                </a:lnTo>
                <a:lnTo>
                  <a:pt x="5005842" y="4551071"/>
                </a:lnTo>
                <a:cubicBezTo>
                  <a:pt x="5005842" y="4473225"/>
                  <a:pt x="5063574" y="4435322"/>
                  <a:pt x="5119849" y="4435322"/>
                </a:cubicBezTo>
                <a:cubicBezTo>
                  <a:pt x="5179332" y="4435322"/>
                  <a:pt x="5211406" y="4466518"/>
                  <a:pt x="5211406" y="4542616"/>
                </a:cubicBezTo>
                <a:lnTo>
                  <a:pt x="5211406" y="4815226"/>
                </a:lnTo>
                <a:lnTo>
                  <a:pt x="5279927" y="4815226"/>
                </a:lnTo>
                <a:lnTo>
                  <a:pt x="5279927" y="4547573"/>
                </a:lnTo>
                <a:cubicBezTo>
                  <a:pt x="5279927" y="4422201"/>
                  <a:pt x="5211989" y="4375843"/>
                  <a:pt x="5134428" y="4375843"/>
                </a:cubicBezTo>
                <a:cubicBezTo>
                  <a:pt x="5080778" y="4375843"/>
                  <a:pt x="5016339" y="4400626"/>
                  <a:pt x="4986598" y="4456897"/>
                </a:cubicBezTo>
                <a:cubicBezTo>
                  <a:pt x="4964437" y="4398876"/>
                  <a:pt x="4915744" y="4375843"/>
                  <a:pt x="4860343" y="4375843"/>
                </a:cubicBezTo>
                <a:close/>
                <a:moveTo>
                  <a:pt x="6585913" y="4375552"/>
                </a:moveTo>
                <a:cubicBezTo>
                  <a:pt x="6514767" y="4375552"/>
                  <a:pt x="6466948" y="4411122"/>
                  <a:pt x="6447120" y="4451649"/>
                </a:cubicBezTo>
                <a:lnTo>
                  <a:pt x="6447120" y="4383133"/>
                </a:lnTo>
                <a:lnTo>
                  <a:pt x="6378599" y="4383133"/>
                </a:lnTo>
                <a:lnTo>
                  <a:pt x="6378599" y="4814935"/>
                </a:lnTo>
                <a:lnTo>
                  <a:pt x="6447120" y="4814935"/>
                </a:lnTo>
                <a:lnTo>
                  <a:pt x="6447120" y="4553113"/>
                </a:lnTo>
                <a:cubicBezTo>
                  <a:pt x="6447120" y="4475557"/>
                  <a:pt x="6504270" y="4435030"/>
                  <a:pt x="6567835" y="4435030"/>
                </a:cubicBezTo>
                <a:cubicBezTo>
                  <a:pt x="6637230" y="4435030"/>
                  <a:pt x="6669304" y="4468852"/>
                  <a:pt x="6669304" y="4544949"/>
                </a:cubicBezTo>
                <a:lnTo>
                  <a:pt x="6669304" y="4814935"/>
                </a:lnTo>
                <a:lnTo>
                  <a:pt x="6737825" y="4814935"/>
                </a:lnTo>
                <a:lnTo>
                  <a:pt x="6737825" y="4549906"/>
                </a:lnTo>
                <a:cubicBezTo>
                  <a:pt x="6737825" y="4424243"/>
                  <a:pt x="6675136" y="4375552"/>
                  <a:pt x="6585913" y="4375552"/>
                </a:cubicBezTo>
                <a:close/>
                <a:moveTo>
                  <a:pt x="6086144" y="4375552"/>
                </a:moveTo>
                <a:cubicBezTo>
                  <a:pt x="6002753" y="4375552"/>
                  <a:pt x="5924318" y="4411997"/>
                  <a:pt x="5915279" y="4510253"/>
                </a:cubicBezTo>
                <a:lnTo>
                  <a:pt x="5983800" y="4510253"/>
                </a:lnTo>
                <a:cubicBezTo>
                  <a:pt x="5990507" y="4457481"/>
                  <a:pt x="6023455" y="4432698"/>
                  <a:pt x="6082938" y="4432698"/>
                </a:cubicBezTo>
                <a:cubicBezTo>
                  <a:pt x="6148834" y="4432698"/>
                  <a:pt x="6175368" y="4461563"/>
                  <a:pt x="6175368" y="4530079"/>
                </a:cubicBezTo>
                <a:lnTo>
                  <a:pt x="6175368" y="4561568"/>
                </a:lnTo>
                <a:lnTo>
                  <a:pt x="6113553" y="4561568"/>
                </a:lnTo>
                <a:cubicBezTo>
                  <a:pt x="6003044" y="4561568"/>
                  <a:pt x="5897201" y="4595389"/>
                  <a:pt x="5897201" y="4695394"/>
                </a:cubicBezTo>
                <a:cubicBezTo>
                  <a:pt x="5897201" y="4783738"/>
                  <a:pt x="5960765" y="4822515"/>
                  <a:pt x="6040658" y="4822224"/>
                </a:cubicBezTo>
                <a:cubicBezTo>
                  <a:pt x="6104223" y="4822224"/>
                  <a:pt x="6143294" y="4800940"/>
                  <a:pt x="6175368" y="4760413"/>
                </a:cubicBezTo>
                <a:lnTo>
                  <a:pt x="6175368" y="4814935"/>
                </a:lnTo>
                <a:lnTo>
                  <a:pt x="6243889" y="4814935"/>
                </a:lnTo>
                <a:lnTo>
                  <a:pt x="6243889" y="4530079"/>
                </a:lnTo>
                <a:cubicBezTo>
                  <a:pt x="6243889" y="4409373"/>
                  <a:pt x="6168662" y="4375552"/>
                  <a:pt x="6086144" y="4375552"/>
                </a:cubicBezTo>
                <a:close/>
                <a:moveTo>
                  <a:pt x="5629239" y="4375552"/>
                </a:moveTo>
                <a:cubicBezTo>
                  <a:pt x="5566549" y="4375552"/>
                  <a:pt x="5507942" y="4413746"/>
                  <a:pt x="5483157" y="4455731"/>
                </a:cubicBezTo>
                <a:lnTo>
                  <a:pt x="5483157" y="4383133"/>
                </a:lnTo>
                <a:lnTo>
                  <a:pt x="5414636" y="4383133"/>
                </a:lnTo>
                <a:lnTo>
                  <a:pt x="5414636" y="4965380"/>
                </a:lnTo>
                <a:lnTo>
                  <a:pt x="5483157" y="4965380"/>
                </a:lnTo>
                <a:lnTo>
                  <a:pt x="5483157" y="4744085"/>
                </a:lnTo>
                <a:cubicBezTo>
                  <a:pt x="5507942" y="4786945"/>
                  <a:pt x="5558093" y="4822515"/>
                  <a:pt x="5629239" y="4822515"/>
                </a:cubicBezTo>
                <a:cubicBezTo>
                  <a:pt x="5748203" y="4822515"/>
                  <a:pt x="5825764" y="4731548"/>
                  <a:pt x="5825764" y="4599471"/>
                </a:cubicBezTo>
                <a:lnTo>
                  <a:pt x="5825764" y="4592765"/>
                </a:lnTo>
                <a:cubicBezTo>
                  <a:pt x="5825764" y="4458064"/>
                  <a:pt x="5742372" y="4375552"/>
                  <a:pt x="5629239" y="4375552"/>
                </a:cubicBezTo>
                <a:close/>
                <a:moveTo>
                  <a:pt x="4344247" y="4375552"/>
                </a:moveTo>
                <a:cubicBezTo>
                  <a:pt x="4222075" y="4375552"/>
                  <a:pt x="4131977" y="4466227"/>
                  <a:pt x="4131977" y="4595972"/>
                </a:cubicBezTo>
                <a:lnTo>
                  <a:pt x="4131977" y="4602678"/>
                </a:lnTo>
                <a:cubicBezTo>
                  <a:pt x="4131977" y="4729216"/>
                  <a:pt x="4220326" y="4822515"/>
                  <a:pt x="4343372" y="4822515"/>
                </a:cubicBezTo>
                <a:cubicBezTo>
                  <a:pt x="4466419" y="4822515"/>
                  <a:pt x="4556517" y="4732714"/>
                  <a:pt x="4556517" y="4602095"/>
                </a:cubicBezTo>
                <a:lnTo>
                  <a:pt x="4556517" y="4595389"/>
                </a:lnTo>
                <a:cubicBezTo>
                  <a:pt x="4556517" y="4465644"/>
                  <a:pt x="4466419" y="4375552"/>
                  <a:pt x="4344247" y="4375552"/>
                </a:cubicBezTo>
                <a:close/>
                <a:moveTo>
                  <a:pt x="3871012" y="4375552"/>
                </a:moveTo>
                <a:cubicBezTo>
                  <a:pt x="3755255" y="4375552"/>
                  <a:pt x="3661075" y="4464770"/>
                  <a:pt x="3661075" y="4596847"/>
                </a:cubicBezTo>
                <a:lnTo>
                  <a:pt x="3661075" y="4603553"/>
                </a:lnTo>
                <a:cubicBezTo>
                  <a:pt x="3661075" y="4737379"/>
                  <a:pt x="3752048" y="4822515"/>
                  <a:pt x="3872470" y="4822224"/>
                </a:cubicBezTo>
                <a:cubicBezTo>
                  <a:pt x="3976565" y="4822224"/>
                  <a:pt x="4051792" y="4752832"/>
                  <a:pt x="4060831" y="4659532"/>
                </a:cubicBezTo>
                <a:lnTo>
                  <a:pt x="3997267" y="4659532"/>
                </a:lnTo>
                <a:cubicBezTo>
                  <a:pt x="3989686" y="4729799"/>
                  <a:pt x="3934577" y="4765369"/>
                  <a:pt x="3873345" y="4765369"/>
                </a:cubicBezTo>
                <a:cubicBezTo>
                  <a:pt x="3789953" y="4765369"/>
                  <a:pt x="3732221" y="4709390"/>
                  <a:pt x="3732221" y="4603553"/>
                </a:cubicBezTo>
                <a:lnTo>
                  <a:pt x="3732221" y="4596847"/>
                </a:lnTo>
                <a:cubicBezTo>
                  <a:pt x="3732221" y="4495092"/>
                  <a:pt x="3792578" y="4432406"/>
                  <a:pt x="3871012" y="4432406"/>
                </a:cubicBezTo>
                <a:cubicBezTo>
                  <a:pt x="3930495" y="4432406"/>
                  <a:pt x="3980063" y="4458064"/>
                  <a:pt x="3990852" y="4526581"/>
                </a:cubicBezTo>
                <a:lnTo>
                  <a:pt x="4058498" y="4526581"/>
                </a:lnTo>
                <a:cubicBezTo>
                  <a:pt x="4045377" y="4416954"/>
                  <a:pt x="3961111" y="4375552"/>
                  <a:pt x="3871012" y="4375552"/>
                </a:cubicBezTo>
                <a:close/>
                <a:moveTo>
                  <a:pt x="188944" y="4375552"/>
                </a:moveTo>
                <a:cubicBezTo>
                  <a:pt x="271461" y="4375552"/>
                  <a:pt x="346688" y="4409373"/>
                  <a:pt x="346688" y="4530079"/>
                </a:cubicBezTo>
                <a:lnTo>
                  <a:pt x="346688" y="4814935"/>
                </a:lnTo>
                <a:lnTo>
                  <a:pt x="278167" y="4814935"/>
                </a:lnTo>
                <a:lnTo>
                  <a:pt x="278167" y="4760413"/>
                </a:lnTo>
                <a:cubicBezTo>
                  <a:pt x="246093" y="4800940"/>
                  <a:pt x="207022" y="4822224"/>
                  <a:pt x="143457" y="4822224"/>
                </a:cubicBezTo>
                <a:cubicBezTo>
                  <a:pt x="63564" y="4822515"/>
                  <a:pt x="0" y="4783738"/>
                  <a:pt x="0" y="4695394"/>
                </a:cubicBezTo>
                <a:cubicBezTo>
                  <a:pt x="0" y="4595389"/>
                  <a:pt x="105843" y="4561568"/>
                  <a:pt x="216352" y="4561568"/>
                </a:cubicBezTo>
                <a:lnTo>
                  <a:pt x="278167" y="4561568"/>
                </a:lnTo>
                <a:lnTo>
                  <a:pt x="278167" y="4530079"/>
                </a:lnTo>
                <a:cubicBezTo>
                  <a:pt x="278167" y="4461563"/>
                  <a:pt x="251633" y="4432698"/>
                  <a:pt x="185736" y="4432698"/>
                </a:cubicBezTo>
                <a:cubicBezTo>
                  <a:pt x="126254" y="4432698"/>
                  <a:pt x="93306" y="4457481"/>
                  <a:pt x="86599" y="4510253"/>
                </a:cubicBezTo>
                <a:lnTo>
                  <a:pt x="18078" y="4510253"/>
                </a:lnTo>
                <a:cubicBezTo>
                  <a:pt x="27117" y="4411997"/>
                  <a:pt x="105552" y="4375552"/>
                  <a:pt x="188944" y="4375552"/>
                </a:cubicBezTo>
                <a:close/>
                <a:moveTo>
                  <a:pt x="2777589" y="4374094"/>
                </a:moveTo>
                <a:cubicBezTo>
                  <a:pt x="2735310" y="4374094"/>
                  <a:pt x="2697113" y="4383423"/>
                  <a:pt x="2662998" y="4402667"/>
                </a:cubicBezTo>
                <a:cubicBezTo>
                  <a:pt x="2628591" y="4421326"/>
                  <a:pt x="2602058" y="4448442"/>
                  <a:pt x="2583396" y="4483721"/>
                </a:cubicBezTo>
                <a:cubicBezTo>
                  <a:pt x="2564735" y="4518999"/>
                  <a:pt x="2555405" y="4555736"/>
                  <a:pt x="2555405" y="4593639"/>
                </a:cubicBezTo>
                <a:cubicBezTo>
                  <a:pt x="2555405" y="4643205"/>
                  <a:pt x="2564735" y="4685189"/>
                  <a:pt x="2583396" y="4719594"/>
                </a:cubicBezTo>
                <a:cubicBezTo>
                  <a:pt x="2602058" y="4753998"/>
                  <a:pt x="2629466" y="4780238"/>
                  <a:pt x="2665330" y="4798023"/>
                </a:cubicBezTo>
                <a:cubicBezTo>
                  <a:pt x="2701195" y="4815809"/>
                  <a:pt x="2738809" y="4824847"/>
                  <a:pt x="2778463" y="4824847"/>
                </a:cubicBezTo>
                <a:cubicBezTo>
                  <a:pt x="2842320" y="4824847"/>
                  <a:pt x="2895387" y="4803272"/>
                  <a:pt x="2937666" y="4760412"/>
                </a:cubicBezTo>
                <a:cubicBezTo>
                  <a:pt x="2979945" y="4717553"/>
                  <a:pt x="3000939" y="4663614"/>
                  <a:pt x="3000939" y="4598304"/>
                </a:cubicBezTo>
                <a:cubicBezTo>
                  <a:pt x="3000939" y="4533577"/>
                  <a:pt x="2979945" y="4479930"/>
                  <a:pt x="2938249" y="4437654"/>
                </a:cubicBezTo>
                <a:cubicBezTo>
                  <a:pt x="2896553" y="4395378"/>
                  <a:pt x="2842903" y="4374094"/>
                  <a:pt x="2777589" y="4374094"/>
                </a:cubicBezTo>
                <a:close/>
                <a:moveTo>
                  <a:pt x="3443265" y="4281377"/>
                </a:moveTo>
                <a:lnTo>
                  <a:pt x="3454637" y="4281377"/>
                </a:lnTo>
                <a:cubicBezTo>
                  <a:pt x="3459302" y="4281377"/>
                  <a:pt x="3462801" y="4281669"/>
                  <a:pt x="3464842" y="4282252"/>
                </a:cubicBezTo>
                <a:cubicBezTo>
                  <a:pt x="3466883" y="4282835"/>
                  <a:pt x="3468341" y="4284001"/>
                  <a:pt x="3469216" y="4285459"/>
                </a:cubicBezTo>
                <a:cubicBezTo>
                  <a:pt x="3470091" y="4286917"/>
                  <a:pt x="3470674" y="4288666"/>
                  <a:pt x="3470674" y="4290415"/>
                </a:cubicBezTo>
                <a:cubicBezTo>
                  <a:pt x="3470674" y="4293331"/>
                  <a:pt x="3469508" y="4295664"/>
                  <a:pt x="3467467" y="4297413"/>
                </a:cubicBezTo>
                <a:cubicBezTo>
                  <a:pt x="3465425" y="4299162"/>
                  <a:pt x="3461343" y="4300037"/>
                  <a:pt x="3455512" y="4300037"/>
                </a:cubicBezTo>
                <a:lnTo>
                  <a:pt x="3443265" y="4300037"/>
                </a:lnTo>
                <a:close/>
                <a:moveTo>
                  <a:pt x="3433060" y="4272630"/>
                </a:moveTo>
                <a:lnTo>
                  <a:pt x="3433060" y="4334733"/>
                </a:lnTo>
                <a:lnTo>
                  <a:pt x="3442974" y="4334733"/>
                </a:lnTo>
                <a:lnTo>
                  <a:pt x="3442974" y="4308492"/>
                </a:lnTo>
                <a:lnTo>
                  <a:pt x="3448805" y="4308492"/>
                </a:lnTo>
                <a:cubicBezTo>
                  <a:pt x="3452304" y="4308492"/>
                  <a:pt x="3455220" y="4309075"/>
                  <a:pt x="3456969" y="4310533"/>
                </a:cubicBezTo>
                <a:cubicBezTo>
                  <a:pt x="3459594" y="4312574"/>
                  <a:pt x="3463093" y="4317531"/>
                  <a:pt x="3467467" y="4325111"/>
                </a:cubicBezTo>
                <a:lnTo>
                  <a:pt x="3473006" y="4335024"/>
                </a:lnTo>
                <a:lnTo>
                  <a:pt x="3485253" y="4335024"/>
                </a:lnTo>
                <a:lnTo>
                  <a:pt x="3477672" y="4322779"/>
                </a:lnTo>
                <a:cubicBezTo>
                  <a:pt x="3473881" y="4317239"/>
                  <a:pt x="3470965" y="4312866"/>
                  <a:pt x="3468341" y="4310533"/>
                </a:cubicBezTo>
                <a:cubicBezTo>
                  <a:pt x="3467175" y="4309367"/>
                  <a:pt x="3465134" y="4308201"/>
                  <a:pt x="3463093" y="4307326"/>
                </a:cubicBezTo>
                <a:cubicBezTo>
                  <a:pt x="3468341" y="4307035"/>
                  <a:pt x="3472715" y="4305285"/>
                  <a:pt x="3475922" y="4301786"/>
                </a:cubicBezTo>
                <a:cubicBezTo>
                  <a:pt x="3479130" y="4298288"/>
                  <a:pt x="3480879" y="4294497"/>
                  <a:pt x="3480879" y="4289832"/>
                </a:cubicBezTo>
                <a:cubicBezTo>
                  <a:pt x="3480879" y="4286625"/>
                  <a:pt x="3480004" y="4283710"/>
                  <a:pt x="3477963" y="4280794"/>
                </a:cubicBezTo>
                <a:cubicBezTo>
                  <a:pt x="3475922" y="4277878"/>
                  <a:pt x="3473298" y="4275837"/>
                  <a:pt x="3470091" y="4274671"/>
                </a:cubicBezTo>
                <a:cubicBezTo>
                  <a:pt x="3466883" y="4273505"/>
                  <a:pt x="3461635" y="4272922"/>
                  <a:pt x="3454346" y="4272922"/>
                </a:cubicBezTo>
                <a:lnTo>
                  <a:pt x="3454346" y="4272630"/>
                </a:lnTo>
                <a:close/>
                <a:moveTo>
                  <a:pt x="3458427" y="4254845"/>
                </a:moveTo>
                <a:cubicBezTo>
                  <a:pt x="3466592" y="4254845"/>
                  <a:pt x="3474464" y="4256886"/>
                  <a:pt x="3482046" y="4260968"/>
                </a:cubicBezTo>
                <a:cubicBezTo>
                  <a:pt x="3489918" y="4265050"/>
                  <a:pt x="3495750" y="4270881"/>
                  <a:pt x="3500123" y="4278753"/>
                </a:cubicBezTo>
                <a:cubicBezTo>
                  <a:pt x="3504497" y="4286625"/>
                  <a:pt x="3506538" y="4294497"/>
                  <a:pt x="3506538" y="4302953"/>
                </a:cubicBezTo>
                <a:cubicBezTo>
                  <a:pt x="3506538" y="4311408"/>
                  <a:pt x="3504497" y="4319280"/>
                  <a:pt x="3500123" y="4326861"/>
                </a:cubicBezTo>
                <a:cubicBezTo>
                  <a:pt x="3496041" y="4334441"/>
                  <a:pt x="3489918" y="4340272"/>
                  <a:pt x="3482337" y="4344646"/>
                </a:cubicBezTo>
                <a:cubicBezTo>
                  <a:pt x="3474756" y="4349019"/>
                  <a:pt x="3466883" y="4351060"/>
                  <a:pt x="3458427" y="4351060"/>
                </a:cubicBezTo>
                <a:cubicBezTo>
                  <a:pt x="3450263" y="4351060"/>
                  <a:pt x="3442099" y="4349019"/>
                  <a:pt x="3434518" y="4344646"/>
                </a:cubicBezTo>
                <a:cubicBezTo>
                  <a:pt x="3426937" y="4340564"/>
                  <a:pt x="3421105" y="4334441"/>
                  <a:pt x="3416732" y="4326861"/>
                </a:cubicBezTo>
                <a:cubicBezTo>
                  <a:pt x="3412358" y="4319280"/>
                  <a:pt x="3410317" y="4311408"/>
                  <a:pt x="3410317" y="4302953"/>
                </a:cubicBezTo>
                <a:cubicBezTo>
                  <a:pt x="3410317" y="4294497"/>
                  <a:pt x="3412358" y="4286334"/>
                  <a:pt x="3416732" y="4278753"/>
                </a:cubicBezTo>
                <a:cubicBezTo>
                  <a:pt x="3421105" y="4271172"/>
                  <a:pt x="3427228" y="4265050"/>
                  <a:pt x="3434810" y="4260968"/>
                </a:cubicBezTo>
                <a:cubicBezTo>
                  <a:pt x="3442391" y="4256886"/>
                  <a:pt x="3450263" y="4254845"/>
                  <a:pt x="3458427" y="4254845"/>
                </a:cubicBezTo>
                <a:close/>
                <a:moveTo>
                  <a:pt x="3458427" y="4245224"/>
                </a:moveTo>
                <a:cubicBezTo>
                  <a:pt x="3448805" y="4245224"/>
                  <a:pt x="3439183" y="4247847"/>
                  <a:pt x="3430144" y="4252804"/>
                </a:cubicBezTo>
                <a:cubicBezTo>
                  <a:pt x="3421105" y="4257761"/>
                  <a:pt x="3413816" y="4264758"/>
                  <a:pt x="3408567" y="4274088"/>
                </a:cubicBezTo>
                <a:cubicBezTo>
                  <a:pt x="3403319" y="4283126"/>
                  <a:pt x="3400695" y="4293039"/>
                  <a:pt x="3400695" y="4302953"/>
                </a:cubicBezTo>
                <a:cubicBezTo>
                  <a:pt x="3400695" y="4312866"/>
                  <a:pt x="3403027" y="4322487"/>
                  <a:pt x="3408276" y="4331526"/>
                </a:cubicBezTo>
                <a:cubicBezTo>
                  <a:pt x="3413233" y="4340564"/>
                  <a:pt x="3420522" y="4347853"/>
                  <a:pt x="3429561" y="4352809"/>
                </a:cubicBezTo>
                <a:cubicBezTo>
                  <a:pt x="3438892" y="4357766"/>
                  <a:pt x="3448514" y="4360390"/>
                  <a:pt x="3458427" y="4360390"/>
                </a:cubicBezTo>
                <a:cubicBezTo>
                  <a:pt x="3468633" y="4360390"/>
                  <a:pt x="3478255" y="4357766"/>
                  <a:pt x="3487294" y="4352809"/>
                </a:cubicBezTo>
                <a:cubicBezTo>
                  <a:pt x="3496333" y="4347853"/>
                  <a:pt x="3503622" y="4340564"/>
                  <a:pt x="3508579" y="4331526"/>
                </a:cubicBezTo>
                <a:cubicBezTo>
                  <a:pt x="3513536" y="4322487"/>
                  <a:pt x="3516160" y="4312866"/>
                  <a:pt x="3516160" y="4302953"/>
                </a:cubicBezTo>
                <a:cubicBezTo>
                  <a:pt x="3516160" y="4293039"/>
                  <a:pt x="3513536" y="4283418"/>
                  <a:pt x="3508288" y="4274088"/>
                </a:cubicBezTo>
                <a:cubicBezTo>
                  <a:pt x="3503039" y="4264758"/>
                  <a:pt x="3496041" y="4257761"/>
                  <a:pt x="3486711" y="4252804"/>
                </a:cubicBezTo>
                <a:cubicBezTo>
                  <a:pt x="3477672" y="4247847"/>
                  <a:pt x="3468050" y="4245224"/>
                  <a:pt x="3458427" y="4245224"/>
                </a:cubicBezTo>
                <a:close/>
                <a:moveTo>
                  <a:pt x="6415" y="2062597"/>
                </a:moveTo>
                <a:lnTo>
                  <a:pt x="604445" y="2062597"/>
                </a:lnTo>
                <a:lnTo>
                  <a:pt x="604445" y="3361794"/>
                </a:lnTo>
                <a:lnTo>
                  <a:pt x="1486182" y="3361794"/>
                </a:lnTo>
                <a:lnTo>
                  <a:pt x="1486182" y="3855407"/>
                </a:lnTo>
                <a:lnTo>
                  <a:pt x="6415" y="3855407"/>
                </a:lnTo>
                <a:close/>
                <a:moveTo>
                  <a:pt x="6418254" y="2061139"/>
                </a:moveTo>
                <a:cubicBezTo>
                  <a:pt x="6386180" y="2060847"/>
                  <a:pt x="6364895" y="2069594"/>
                  <a:pt x="6342734" y="2093211"/>
                </a:cubicBezTo>
                <a:lnTo>
                  <a:pt x="5884371" y="2579243"/>
                </a:lnTo>
                <a:cubicBezTo>
                  <a:pt x="5872416" y="2591489"/>
                  <a:pt x="5860170" y="2603443"/>
                  <a:pt x="5845299" y="2618604"/>
                </a:cubicBezTo>
                <a:lnTo>
                  <a:pt x="5845299" y="2062888"/>
                </a:lnTo>
                <a:lnTo>
                  <a:pt x="5246686" y="2062888"/>
                </a:lnTo>
                <a:lnTo>
                  <a:pt x="5246686" y="3855407"/>
                </a:lnTo>
                <a:lnTo>
                  <a:pt x="5846174" y="3855407"/>
                </a:lnTo>
                <a:lnTo>
                  <a:pt x="5846174" y="3115424"/>
                </a:lnTo>
                <a:cubicBezTo>
                  <a:pt x="5852297" y="3122713"/>
                  <a:pt x="5855796" y="3126504"/>
                  <a:pt x="5859295" y="3130294"/>
                </a:cubicBezTo>
                <a:lnTo>
                  <a:pt x="5966013" y="3253041"/>
                </a:lnTo>
                <a:lnTo>
                  <a:pt x="6480943" y="3846660"/>
                </a:lnTo>
                <a:cubicBezTo>
                  <a:pt x="6487358" y="3853949"/>
                  <a:pt x="6493482" y="3856573"/>
                  <a:pt x="6502812" y="3856573"/>
                </a:cubicBezTo>
                <a:lnTo>
                  <a:pt x="7223889" y="3856281"/>
                </a:lnTo>
                <a:lnTo>
                  <a:pt x="7238176" y="3856281"/>
                </a:lnTo>
                <a:lnTo>
                  <a:pt x="6330197" y="2879843"/>
                </a:lnTo>
                <a:lnTo>
                  <a:pt x="7155368" y="2062014"/>
                </a:lnTo>
                <a:lnTo>
                  <a:pt x="7127668" y="2062014"/>
                </a:lnTo>
                <a:close/>
                <a:moveTo>
                  <a:pt x="2174311" y="2061139"/>
                </a:moveTo>
                <a:lnTo>
                  <a:pt x="2753097" y="2061431"/>
                </a:lnTo>
                <a:cubicBezTo>
                  <a:pt x="2756304" y="2061431"/>
                  <a:pt x="2759803" y="2062014"/>
                  <a:pt x="2765051" y="2062305"/>
                </a:cubicBezTo>
                <a:lnTo>
                  <a:pt x="2247206" y="3855698"/>
                </a:lnTo>
                <a:lnTo>
                  <a:pt x="1644510" y="3855698"/>
                </a:lnTo>
                <a:cubicBezTo>
                  <a:pt x="1658797" y="3806133"/>
                  <a:pt x="1672793" y="3757734"/>
                  <a:pt x="1686790" y="3709043"/>
                </a:cubicBezTo>
                <a:lnTo>
                  <a:pt x="1988574" y="2664671"/>
                </a:lnTo>
                <a:lnTo>
                  <a:pt x="2158274" y="2074842"/>
                </a:lnTo>
                <a:cubicBezTo>
                  <a:pt x="2160607" y="2066387"/>
                  <a:pt x="2163231" y="2061139"/>
                  <a:pt x="2174311" y="2061139"/>
                </a:cubicBezTo>
                <a:close/>
                <a:moveTo>
                  <a:pt x="3600940" y="0"/>
                </a:moveTo>
                <a:lnTo>
                  <a:pt x="9085704" y="0"/>
                </a:lnTo>
                <a:lnTo>
                  <a:pt x="9085704" y="6858000"/>
                </a:lnTo>
                <a:lnTo>
                  <a:pt x="1622047" y="6858000"/>
                </a:lnTo>
                <a:lnTo>
                  <a:pt x="2211265" y="4818924"/>
                </a:lnTo>
                <a:lnTo>
                  <a:pt x="2189235" y="4816456"/>
                </a:lnTo>
                <a:lnTo>
                  <a:pt x="2266741" y="4825139"/>
                </a:lnTo>
                <a:cubicBezTo>
                  <a:pt x="2315726" y="4825139"/>
                  <a:pt x="2364129" y="4816100"/>
                  <a:pt x="2411948" y="4797440"/>
                </a:cubicBezTo>
                <a:cubicBezTo>
                  <a:pt x="2459767" y="4778780"/>
                  <a:pt x="2496506" y="4757497"/>
                  <a:pt x="2521582" y="4733005"/>
                </a:cubicBezTo>
                <a:lnTo>
                  <a:pt x="2521582" y="4495966"/>
                </a:lnTo>
                <a:lnTo>
                  <a:pt x="2304588" y="4495966"/>
                </a:lnTo>
                <a:lnTo>
                  <a:pt x="2349489" y="4340581"/>
                </a:lnTo>
                <a:lnTo>
                  <a:pt x="2346925" y="4337940"/>
                </a:lnTo>
                <a:cubicBezTo>
                  <a:pt x="2369960" y="4354850"/>
                  <a:pt x="2385705" y="4377884"/>
                  <a:pt x="2394161" y="4407040"/>
                </a:cubicBezTo>
                <a:lnTo>
                  <a:pt x="2513709" y="4384590"/>
                </a:lnTo>
                <a:cubicBezTo>
                  <a:pt x="2501754" y="4329776"/>
                  <a:pt x="2475220" y="4286917"/>
                  <a:pt x="2433525" y="4256011"/>
                </a:cubicBezTo>
                <a:lnTo>
                  <a:pt x="2381000" y="4231534"/>
                </a:lnTo>
                <a:lnTo>
                  <a:pt x="2488057" y="3861048"/>
                </a:lnTo>
                <a:lnTo>
                  <a:pt x="3094243" y="3864641"/>
                </a:lnTo>
                <a:lnTo>
                  <a:pt x="3382324" y="2776339"/>
                </a:lnTo>
                <a:cubicBezTo>
                  <a:pt x="3386698" y="2783337"/>
                  <a:pt x="3389030" y="2786835"/>
                  <a:pt x="3391071" y="2790626"/>
                </a:cubicBezTo>
                <a:lnTo>
                  <a:pt x="3656701" y="3290070"/>
                </a:lnTo>
                <a:lnTo>
                  <a:pt x="3949447" y="3840829"/>
                </a:lnTo>
                <a:cubicBezTo>
                  <a:pt x="3955570" y="3851908"/>
                  <a:pt x="3961693" y="3855990"/>
                  <a:pt x="3974814" y="3855990"/>
                </a:cubicBezTo>
                <a:lnTo>
                  <a:pt x="4555058" y="3855699"/>
                </a:lnTo>
                <a:lnTo>
                  <a:pt x="4572844" y="3855699"/>
                </a:lnTo>
                <a:lnTo>
                  <a:pt x="5091857" y="2061140"/>
                </a:lnTo>
                <a:lnTo>
                  <a:pt x="5073778" y="2061140"/>
                </a:lnTo>
                <a:lnTo>
                  <a:pt x="4494992" y="2060848"/>
                </a:lnTo>
                <a:cubicBezTo>
                  <a:pt x="4481580" y="2060848"/>
                  <a:pt x="4476915" y="2065513"/>
                  <a:pt x="4473707" y="2077467"/>
                </a:cubicBezTo>
                <a:cubicBezTo>
                  <a:pt x="4440759" y="2202838"/>
                  <a:pt x="4406935" y="2328210"/>
                  <a:pt x="4373404" y="2453581"/>
                </a:cubicBezTo>
                <a:lnTo>
                  <a:pt x="4198164" y="3108136"/>
                </a:lnTo>
                <a:cubicBezTo>
                  <a:pt x="4194665" y="3120965"/>
                  <a:pt x="4191166" y="3133502"/>
                  <a:pt x="4186501" y="3150121"/>
                </a:cubicBezTo>
                <a:lnTo>
                  <a:pt x="4176587" y="3131461"/>
                </a:lnTo>
                <a:lnTo>
                  <a:pt x="4105442" y="2996759"/>
                </a:lnTo>
                <a:lnTo>
                  <a:pt x="3620545" y="2073677"/>
                </a:lnTo>
                <a:cubicBezTo>
                  <a:pt x="3615296" y="2064055"/>
                  <a:pt x="3609756" y="2061431"/>
                  <a:pt x="3599259" y="2061431"/>
                </a:cubicBezTo>
                <a:lnTo>
                  <a:pt x="3458651" y="2061503"/>
                </a:lnTo>
                <a:lnTo>
                  <a:pt x="3453704" y="2061141"/>
                </a:lnTo>
                <a:lnTo>
                  <a:pt x="3007993" y="2060916"/>
                </a:lnTo>
                <a:close/>
              </a:path>
            </a:pathLst>
          </a:custGeom>
          <a:solidFill>
            <a:schemeClr val="accent1">
              <a:lumMod val="20000"/>
              <a:lumOff val="80000"/>
            </a:schemeClr>
          </a:solidFill>
        </p:spPr>
        <p:txBody>
          <a:bodyPr wrap="square">
            <a:noAutofit/>
          </a:bodyPr>
          <a:lstStyle/>
          <a:p>
            <a:r>
              <a:rPr lang="de-DE"/>
              <a:t>Bild durch Klicken auf Symbol hinzufügen</a:t>
            </a:r>
          </a:p>
        </p:txBody>
      </p:sp>
      <p:sp>
        <p:nvSpPr>
          <p:cNvPr id="5" name="Freihandform 4">
            <a:extLst>
              <a:ext uri="{FF2B5EF4-FFF2-40B4-BE49-F238E27FC236}">
                <a16:creationId xmlns:a16="http://schemas.microsoft.com/office/drawing/2014/main" id="{A6D38892-3ECF-F3FF-F74F-B3F7585A86E3}"/>
              </a:ext>
            </a:extLst>
          </p:cNvPr>
          <p:cNvSpPr/>
          <p:nvPr userDrawn="1"/>
        </p:nvSpPr>
        <p:spPr>
          <a:xfrm>
            <a:off x="3701992" y="4209653"/>
            <a:ext cx="2920463" cy="615485"/>
          </a:xfrm>
          <a:custGeom>
            <a:avLst/>
            <a:gdLst>
              <a:gd name="connsiteX0" fmla="*/ 2858940 w 2920463"/>
              <a:gd name="connsiteY0" fmla="*/ 71724 h 615485"/>
              <a:gd name="connsiteX1" fmla="*/ 2847568 w 2920463"/>
              <a:gd name="connsiteY1" fmla="*/ 71724 h 615485"/>
              <a:gd name="connsiteX2" fmla="*/ 2847568 w 2920463"/>
              <a:gd name="connsiteY2" fmla="*/ 90384 h 615485"/>
              <a:gd name="connsiteX3" fmla="*/ 2859815 w 2920463"/>
              <a:gd name="connsiteY3" fmla="*/ 90384 h 615485"/>
              <a:gd name="connsiteX4" fmla="*/ 2871770 w 2920463"/>
              <a:gd name="connsiteY4" fmla="*/ 87760 h 615485"/>
              <a:gd name="connsiteX5" fmla="*/ 2874977 w 2920463"/>
              <a:gd name="connsiteY5" fmla="*/ 80762 h 615485"/>
              <a:gd name="connsiteX6" fmla="*/ 2873519 w 2920463"/>
              <a:gd name="connsiteY6" fmla="*/ 75806 h 615485"/>
              <a:gd name="connsiteX7" fmla="*/ 2869145 w 2920463"/>
              <a:gd name="connsiteY7" fmla="*/ 72599 h 615485"/>
              <a:gd name="connsiteX8" fmla="*/ 2858940 w 2920463"/>
              <a:gd name="connsiteY8" fmla="*/ 71724 h 615485"/>
              <a:gd name="connsiteX9" fmla="*/ 2858649 w 2920463"/>
              <a:gd name="connsiteY9" fmla="*/ 63269 h 615485"/>
              <a:gd name="connsiteX10" fmla="*/ 2874394 w 2920463"/>
              <a:gd name="connsiteY10" fmla="*/ 65018 h 615485"/>
              <a:gd name="connsiteX11" fmla="*/ 2882266 w 2920463"/>
              <a:gd name="connsiteY11" fmla="*/ 71141 h 615485"/>
              <a:gd name="connsiteX12" fmla="*/ 2885182 w 2920463"/>
              <a:gd name="connsiteY12" fmla="*/ 80179 h 615485"/>
              <a:gd name="connsiteX13" fmla="*/ 2880225 w 2920463"/>
              <a:gd name="connsiteY13" fmla="*/ 92133 h 615485"/>
              <a:gd name="connsiteX14" fmla="*/ 2867396 w 2920463"/>
              <a:gd name="connsiteY14" fmla="*/ 97673 h 615485"/>
              <a:gd name="connsiteX15" fmla="*/ 2872644 w 2920463"/>
              <a:gd name="connsiteY15" fmla="*/ 100880 h 615485"/>
              <a:gd name="connsiteX16" fmla="*/ 2881975 w 2920463"/>
              <a:gd name="connsiteY16" fmla="*/ 113126 h 615485"/>
              <a:gd name="connsiteX17" fmla="*/ 2889556 w 2920463"/>
              <a:gd name="connsiteY17" fmla="*/ 125371 h 615485"/>
              <a:gd name="connsiteX18" fmla="*/ 2877309 w 2920463"/>
              <a:gd name="connsiteY18" fmla="*/ 125371 h 615485"/>
              <a:gd name="connsiteX19" fmla="*/ 2871770 w 2920463"/>
              <a:gd name="connsiteY19" fmla="*/ 115458 h 615485"/>
              <a:gd name="connsiteX20" fmla="*/ 2861272 w 2920463"/>
              <a:gd name="connsiteY20" fmla="*/ 100880 h 615485"/>
              <a:gd name="connsiteX21" fmla="*/ 2853108 w 2920463"/>
              <a:gd name="connsiteY21" fmla="*/ 98839 h 615485"/>
              <a:gd name="connsiteX22" fmla="*/ 2847277 w 2920463"/>
              <a:gd name="connsiteY22" fmla="*/ 98839 h 615485"/>
              <a:gd name="connsiteX23" fmla="*/ 2847277 w 2920463"/>
              <a:gd name="connsiteY23" fmla="*/ 125080 h 615485"/>
              <a:gd name="connsiteX24" fmla="*/ 2837363 w 2920463"/>
              <a:gd name="connsiteY24" fmla="*/ 125080 h 615485"/>
              <a:gd name="connsiteX25" fmla="*/ 2837363 w 2920463"/>
              <a:gd name="connsiteY25" fmla="*/ 62977 h 615485"/>
              <a:gd name="connsiteX26" fmla="*/ 2858649 w 2920463"/>
              <a:gd name="connsiteY26" fmla="*/ 62977 h 615485"/>
              <a:gd name="connsiteX27" fmla="*/ 2862730 w 2920463"/>
              <a:gd name="connsiteY27" fmla="*/ 45192 h 615485"/>
              <a:gd name="connsiteX28" fmla="*/ 2839113 w 2920463"/>
              <a:gd name="connsiteY28" fmla="*/ 51315 h 615485"/>
              <a:gd name="connsiteX29" fmla="*/ 2821035 w 2920463"/>
              <a:gd name="connsiteY29" fmla="*/ 69100 h 615485"/>
              <a:gd name="connsiteX30" fmla="*/ 2814620 w 2920463"/>
              <a:gd name="connsiteY30" fmla="*/ 93300 h 615485"/>
              <a:gd name="connsiteX31" fmla="*/ 2821035 w 2920463"/>
              <a:gd name="connsiteY31" fmla="*/ 117208 h 615485"/>
              <a:gd name="connsiteX32" fmla="*/ 2838821 w 2920463"/>
              <a:gd name="connsiteY32" fmla="*/ 134993 h 615485"/>
              <a:gd name="connsiteX33" fmla="*/ 2862730 w 2920463"/>
              <a:gd name="connsiteY33" fmla="*/ 141407 h 615485"/>
              <a:gd name="connsiteX34" fmla="*/ 2886640 w 2920463"/>
              <a:gd name="connsiteY34" fmla="*/ 134993 h 615485"/>
              <a:gd name="connsiteX35" fmla="*/ 2904426 w 2920463"/>
              <a:gd name="connsiteY35" fmla="*/ 117208 h 615485"/>
              <a:gd name="connsiteX36" fmla="*/ 2910841 w 2920463"/>
              <a:gd name="connsiteY36" fmla="*/ 93300 h 615485"/>
              <a:gd name="connsiteX37" fmla="*/ 2904426 w 2920463"/>
              <a:gd name="connsiteY37" fmla="*/ 69100 h 615485"/>
              <a:gd name="connsiteX38" fmla="*/ 2886349 w 2920463"/>
              <a:gd name="connsiteY38" fmla="*/ 51315 h 615485"/>
              <a:gd name="connsiteX39" fmla="*/ 2862730 w 2920463"/>
              <a:gd name="connsiteY39" fmla="*/ 45192 h 615485"/>
              <a:gd name="connsiteX40" fmla="*/ 2862730 w 2920463"/>
              <a:gd name="connsiteY40" fmla="*/ 35571 h 615485"/>
              <a:gd name="connsiteX41" fmla="*/ 2891014 w 2920463"/>
              <a:gd name="connsiteY41" fmla="*/ 43151 h 615485"/>
              <a:gd name="connsiteX42" fmla="*/ 2912591 w 2920463"/>
              <a:gd name="connsiteY42" fmla="*/ 64435 h 615485"/>
              <a:gd name="connsiteX43" fmla="*/ 2920463 w 2920463"/>
              <a:gd name="connsiteY43" fmla="*/ 93300 h 615485"/>
              <a:gd name="connsiteX44" fmla="*/ 2912882 w 2920463"/>
              <a:gd name="connsiteY44" fmla="*/ 121873 h 615485"/>
              <a:gd name="connsiteX45" fmla="*/ 2891597 w 2920463"/>
              <a:gd name="connsiteY45" fmla="*/ 143156 h 615485"/>
              <a:gd name="connsiteX46" fmla="*/ 2862730 w 2920463"/>
              <a:gd name="connsiteY46" fmla="*/ 150737 h 615485"/>
              <a:gd name="connsiteX47" fmla="*/ 2833864 w 2920463"/>
              <a:gd name="connsiteY47" fmla="*/ 143156 h 615485"/>
              <a:gd name="connsiteX48" fmla="*/ 2812579 w 2920463"/>
              <a:gd name="connsiteY48" fmla="*/ 121873 h 615485"/>
              <a:gd name="connsiteX49" fmla="*/ 2804998 w 2920463"/>
              <a:gd name="connsiteY49" fmla="*/ 93300 h 615485"/>
              <a:gd name="connsiteX50" fmla="*/ 2812870 w 2920463"/>
              <a:gd name="connsiteY50" fmla="*/ 64435 h 615485"/>
              <a:gd name="connsiteX51" fmla="*/ 2834447 w 2920463"/>
              <a:gd name="connsiteY51" fmla="*/ 43151 h 615485"/>
              <a:gd name="connsiteX52" fmla="*/ 2862730 w 2920463"/>
              <a:gd name="connsiteY52" fmla="*/ 35571 h 615485"/>
              <a:gd name="connsiteX53" fmla="*/ 2182475 w 2920463"/>
              <a:gd name="connsiteY53" fmla="*/ 257448 h 615485"/>
              <a:gd name="connsiteX54" fmla="*/ 2107247 w 2920463"/>
              <a:gd name="connsiteY54" fmla="*/ 291561 h 615485"/>
              <a:gd name="connsiteX55" fmla="*/ 2076631 w 2920463"/>
              <a:gd name="connsiteY55" fmla="*/ 389817 h 615485"/>
              <a:gd name="connsiteX56" fmla="*/ 2107247 w 2920463"/>
              <a:gd name="connsiteY56" fmla="*/ 488073 h 615485"/>
              <a:gd name="connsiteX57" fmla="*/ 2182475 w 2920463"/>
              <a:gd name="connsiteY57" fmla="*/ 522186 h 615485"/>
              <a:gd name="connsiteX58" fmla="*/ 2257411 w 2920463"/>
              <a:gd name="connsiteY58" fmla="*/ 488073 h 615485"/>
              <a:gd name="connsiteX59" fmla="*/ 2287735 w 2920463"/>
              <a:gd name="connsiteY59" fmla="*/ 388943 h 615485"/>
              <a:gd name="connsiteX60" fmla="*/ 2257411 w 2920463"/>
              <a:gd name="connsiteY60" fmla="*/ 291561 h 615485"/>
              <a:gd name="connsiteX61" fmla="*/ 2182475 w 2920463"/>
              <a:gd name="connsiteY61" fmla="*/ 257448 h 615485"/>
              <a:gd name="connsiteX62" fmla="*/ 667426 w 2920463"/>
              <a:gd name="connsiteY62" fmla="*/ 257448 h 615485"/>
              <a:gd name="connsiteX63" fmla="*/ 592199 w 2920463"/>
              <a:gd name="connsiteY63" fmla="*/ 291561 h 615485"/>
              <a:gd name="connsiteX64" fmla="*/ 561583 w 2920463"/>
              <a:gd name="connsiteY64" fmla="*/ 389817 h 615485"/>
              <a:gd name="connsiteX65" fmla="*/ 592199 w 2920463"/>
              <a:gd name="connsiteY65" fmla="*/ 488073 h 615485"/>
              <a:gd name="connsiteX66" fmla="*/ 667426 w 2920463"/>
              <a:gd name="connsiteY66" fmla="*/ 522186 h 615485"/>
              <a:gd name="connsiteX67" fmla="*/ 742362 w 2920463"/>
              <a:gd name="connsiteY67" fmla="*/ 488073 h 615485"/>
              <a:gd name="connsiteX68" fmla="*/ 772686 w 2920463"/>
              <a:gd name="connsiteY68" fmla="*/ 388943 h 615485"/>
              <a:gd name="connsiteX69" fmla="*/ 742362 w 2920463"/>
              <a:gd name="connsiteY69" fmla="*/ 291561 h 615485"/>
              <a:gd name="connsiteX70" fmla="*/ 667426 w 2920463"/>
              <a:gd name="connsiteY70" fmla="*/ 257448 h 615485"/>
              <a:gd name="connsiteX71" fmla="*/ 2509336 w 2920463"/>
              <a:gd name="connsiteY71" fmla="*/ 174062 h 615485"/>
              <a:gd name="connsiteX72" fmla="*/ 2590687 w 2920463"/>
              <a:gd name="connsiteY72" fmla="*/ 393899 h 615485"/>
              <a:gd name="connsiteX73" fmla="*/ 2614305 w 2920463"/>
              <a:gd name="connsiteY73" fmla="*/ 467373 h 615485"/>
              <a:gd name="connsiteX74" fmla="*/ 2625968 w 2920463"/>
              <a:gd name="connsiteY74" fmla="*/ 430344 h 615485"/>
              <a:gd name="connsiteX75" fmla="*/ 2638214 w 2920463"/>
              <a:gd name="connsiteY75" fmla="*/ 393899 h 615485"/>
              <a:gd name="connsiteX76" fmla="*/ 2720440 w 2920463"/>
              <a:gd name="connsiteY76" fmla="*/ 174062 h 615485"/>
              <a:gd name="connsiteX77" fmla="*/ 2837946 w 2920463"/>
              <a:gd name="connsiteY77" fmla="*/ 174062 h 615485"/>
              <a:gd name="connsiteX78" fmla="*/ 2666497 w 2920463"/>
              <a:gd name="connsiteY78" fmla="*/ 604989 h 615485"/>
              <a:gd name="connsiteX79" fmla="*/ 2563278 w 2920463"/>
              <a:gd name="connsiteY79" fmla="*/ 604989 h 615485"/>
              <a:gd name="connsiteX80" fmla="*/ 2389205 w 2920463"/>
              <a:gd name="connsiteY80" fmla="*/ 174062 h 615485"/>
              <a:gd name="connsiteX81" fmla="*/ 2509336 w 2920463"/>
              <a:gd name="connsiteY81" fmla="*/ 174062 h 615485"/>
              <a:gd name="connsiteX82" fmla="*/ 140833 w 2920463"/>
              <a:gd name="connsiteY82" fmla="*/ 10205 h 615485"/>
              <a:gd name="connsiteX83" fmla="*/ 281083 w 2920463"/>
              <a:gd name="connsiteY83" fmla="*/ 245495 h 615485"/>
              <a:gd name="connsiteX84" fmla="*/ 418417 w 2920463"/>
              <a:gd name="connsiteY84" fmla="*/ 10205 h 615485"/>
              <a:gd name="connsiteX85" fmla="*/ 557209 w 2920463"/>
              <a:gd name="connsiteY85" fmla="*/ 10205 h 615485"/>
              <a:gd name="connsiteX86" fmla="*/ 338233 w 2920463"/>
              <a:gd name="connsiteY86" fmla="*/ 355413 h 615485"/>
              <a:gd name="connsiteX87" fmla="*/ 338233 w 2920463"/>
              <a:gd name="connsiteY87" fmla="*/ 604989 h 615485"/>
              <a:gd name="connsiteX88" fmla="*/ 218393 w 2920463"/>
              <a:gd name="connsiteY88" fmla="*/ 604989 h 615485"/>
              <a:gd name="connsiteX89" fmla="*/ 218393 w 2920463"/>
              <a:gd name="connsiteY89" fmla="*/ 354538 h 615485"/>
              <a:gd name="connsiteX90" fmla="*/ 0 w 2920463"/>
              <a:gd name="connsiteY90" fmla="*/ 9913 h 615485"/>
              <a:gd name="connsiteX91" fmla="*/ 140833 w 2920463"/>
              <a:gd name="connsiteY91" fmla="*/ 9913 h 615485"/>
              <a:gd name="connsiteX92" fmla="*/ 2181892 w 2920463"/>
              <a:gd name="connsiteY92" fmla="*/ 164441 h 615485"/>
              <a:gd name="connsiteX93" fmla="*/ 2342552 w 2920463"/>
              <a:gd name="connsiteY93" fmla="*/ 228001 h 615485"/>
              <a:gd name="connsiteX94" fmla="*/ 2405242 w 2920463"/>
              <a:gd name="connsiteY94" fmla="*/ 388651 h 615485"/>
              <a:gd name="connsiteX95" fmla="*/ 2341969 w 2920463"/>
              <a:gd name="connsiteY95" fmla="*/ 550759 h 615485"/>
              <a:gd name="connsiteX96" fmla="*/ 2182766 w 2920463"/>
              <a:gd name="connsiteY96" fmla="*/ 615194 h 615485"/>
              <a:gd name="connsiteX97" fmla="*/ 2069633 w 2920463"/>
              <a:gd name="connsiteY97" fmla="*/ 588370 h 615485"/>
              <a:gd name="connsiteX98" fmla="*/ 1987699 w 2920463"/>
              <a:gd name="connsiteY98" fmla="*/ 509941 h 615485"/>
              <a:gd name="connsiteX99" fmla="*/ 1959708 w 2920463"/>
              <a:gd name="connsiteY99" fmla="*/ 383986 h 615485"/>
              <a:gd name="connsiteX100" fmla="*/ 1987699 w 2920463"/>
              <a:gd name="connsiteY100" fmla="*/ 274068 h 615485"/>
              <a:gd name="connsiteX101" fmla="*/ 2067301 w 2920463"/>
              <a:gd name="connsiteY101" fmla="*/ 193014 h 615485"/>
              <a:gd name="connsiteX102" fmla="*/ 2181892 w 2920463"/>
              <a:gd name="connsiteY102" fmla="*/ 164441 h 615485"/>
              <a:gd name="connsiteX103" fmla="*/ 667135 w 2920463"/>
              <a:gd name="connsiteY103" fmla="*/ 164441 h 615485"/>
              <a:gd name="connsiteX104" fmla="*/ 827795 w 2920463"/>
              <a:gd name="connsiteY104" fmla="*/ 228001 h 615485"/>
              <a:gd name="connsiteX105" fmla="*/ 890485 w 2920463"/>
              <a:gd name="connsiteY105" fmla="*/ 388651 h 615485"/>
              <a:gd name="connsiteX106" fmla="*/ 827212 w 2920463"/>
              <a:gd name="connsiteY106" fmla="*/ 550759 h 615485"/>
              <a:gd name="connsiteX107" fmla="*/ 668009 w 2920463"/>
              <a:gd name="connsiteY107" fmla="*/ 615194 h 615485"/>
              <a:gd name="connsiteX108" fmla="*/ 554876 w 2920463"/>
              <a:gd name="connsiteY108" fmla="*/ 588370 h 615485"/>
              <a:gd name="connsiteX109" fmla="*/ 472942 w 2920463"/>
              <a:gd name="connsiteY109" fmla="*/ 509941 h 615485"/>
              <a:gd name="connsiteX110" fmla="*/ 444951 w 2920463"/>
              <a:gd name="connsiteY110" fmla="*/ 383986 h 615485"/>
              <a:gd name="connsiteX111" fmla="*/ 472942 w 2920463"/>
              <a:gd name="connsiteY111" fmla="*/ 274068 h 615485"/>
              <a:gd name="connsiteX112" fmla="*/ 552544 w 2920463"/>
              <a:gd name="connsiteY112" fmla="*/ 193014 h 615485"/>
              <a:gd name="connsiteX113" fmla="*/ 667135 w 2920463"/>
              <a:gd name="connsiteY113" fmla="*/ 164441 h 615485"/>
              <a:gd name="connsiteX114" fmla="*/ 1041523 w 2920463"/>
              <a:gd name="connsiteY114" fmla="*/ 174062 h 615485"/>
              <a:gd name="connsiteX115" fmla="*/ 1041523 w 2920463"/>
              <a:gd name="connsiteY115" fmla="*/ 372032 h 615485"/>
              <a:gd name="connsiteX116" fmla="*/ 1047938 w 2920463"/>
              <a:gd name="connsiteY116" fmla="*/ 483408 h 615485"/>
              <a:gd name="connsiteX117" fmla="*/ 1070973 w 2920463"/>
              <a:gd name="connsiteY117" fmla="*/ 515772 h 615485"/>
              <a:gd name="connsiteX118" fmla="*/ 1113252 w 2920463"/>
              <a:gd name="connsiteY118" fmla="*/ 527726 h 615485"/>
              <a:gd name="connsiteX119" fmla="*/ 1165736 w 2920463"/>
              <a:gd name="connsiteY119" fmla="*/ 511690 h 615485"/>
              <a:gd name="connsiteX120" fmla="*/ 1197518 w 2920463"/>
              <a:gd name="connsiteY120" fmla="*/ 472038 h 615485"/>
              <a:gd name="connsiteX121" fmla="*/ 1205974 w 2920463"/>
              <a:gd name="connsiteY121" fmla="*/ 355705 h 615485"/>
              <a:gd name="connsiteX122" fmla="*/ 1205974 w 2920463"/>
              <a:gd name="connsiteY122" fmla="*/ 173770 h 615485"/>
              <a:gd name="connsiteX123" fmla="*/ 1320273 w 2920463"/>
              <a:gd name="connsiteY123" fmla="*/ 173770 h 615485"/>
              <a:gd name="connsiteX124" fmla="*/ 1320273 w 2920463"/>
              <a:gd name="connsiteY124" fmla="*/ 604698 h 615485"/>
              <a:gd name="connsiteX125" fmla="*/ 1214138 w 2920463"/>
              <a:gd name="connsiteY125" fmla="*/ 604698 h 615485"/>
              <a:gd name="connsiteX126" fmla="*/ 1214138 w 2920463"/>
              <a:gd name="connsiteY126" fmla="*/ 540263 h 615485"/>
              <a:gd name="connsiteX127" fmla="*/ 1152032 w 2920463"/>
              <a:gd name="connsiteY127" fmla="*/ 594493 h 615485"/>
              <a:gd name="connsiteX128" fmla="*/ 1070973 w 2920463"/>
              <a:gd name="connsiteY128" fmla="*/ 614319 h 615485"/>
              <a:gd name="connsiteX129" fmla="*/ 992829 w 2920463"/>
              <a:gd name="connsiteY129" fmla="*/ 595368 h 615485"/>
              <a:gd name="connsiteX130" fmla="*/ 942969 w 2920463"/>
              <a:gd name="connsiteY130" fmla="*/ 541721 h 615485"/>
              <a:gd name="connsiteX131" fmla="*/ 927515 w 2920463"/>
              <a:gd name="connsiteY131" fmla="*/ 446380 h 615485"/>
              <a:gd name="connsiteX132" fmla="*/ 927515 w 2920463"/>
              <a:gd name="connsiteY132" fmla="*/ 173770 h 615485"/>
              <a:gd name="connsiteX133" fmla="*/ 1041523 w 2920463"/>
              <a:gd name="connsiteY133" fmla="*/ 173770 h 615485"/>
              <a:gd name="connsiteX134" fmla="*/ 1664338 w 2920463"/>
              <a:gd name="connsiteY134" fmla="*/ 0 h 615485"/>
              <a:gd name="connsiteX135" fmla="*/ 1837828 w 2920463"/>
              <a:gd name="connsiteY135" fmla="*/ 46358 h 615485"/>
              <a:gd name="connsiteX136" fmla="*/ 1918012 w 2920463"/>
              <a:gd name="connsiteY136" fmla="*/ 174937 h 615485"/>
              <a:gd name="connsiteX137" fmla="*/ 1798464 w 2920463"/>
              <a:gd name="connsiteY137" fmla="*/ 197387 h 615485"/>
              <a:gd name="connsiteX138" fmla="*/ 1751228 w 2920463"/>
              <a:gd name="connsiteY138" fmla="*/ 128287 h 615485"/>
              <a:gd name="connsiteX139" fmla="*/ 1664338 w 2920463"/>
              <a:gd name="connsiteY139" fmla="*/ 102921 h 615485"/>
              <a:gd name="connsiteX140" fmla="*/ 1538958 w 2920463"/>
              <a:gd name="connsiteY140" fmla="*/ 152778 h 615485"/>
              <a:gd name="connsiteX141" fmla="*/ 1492305 w 2920463"/>
              <a:gd name="connsiteY141" fmla="*/ 300891 h 615485"/>
              <a:gd name="connsiteX142" fmla="*/ 1539541 w 2920463"/>
              <a:gd name="connsiteY142" fmla="*/ 459792 h 615485"/>
              <a:gd name="connsiteX143" fmla="*/ 1663171 w 2920463"/>
              <a:gd name="connsiteY143" fmla="*/ 512856 h 615485"/>
              <a:gd name="connsiteX144" fmla="*/ 1738982 w 2920463"/>
              <a:gd name="connsiteY144" fmla="*/ 497986 h 615485"/>
              <a:gd name="connsiteX145" fmla="*/ 1804296 w 2920463"/>
              <a:gd name="connsiteY145" fmla="*/ 462124 h 615485"/>
              <a:gd name="connsiteX146" fmla="*/ 1804296 w 2920463"/>
              <a:gd name="connsiteY146" fmla="*/ 386610 h 615485"/>
              <a:gd name="connsiteX147" fmla="*/ 1666379 w 2920463"/>
              <a:gd name="connsiteY147" fmla="*/ 386610 h 615485"/>
              <a:gd name="connsiteX148" fmla="*/ 1666379 w 2920463"/>
              <a:gd name="connsiteY148" fmla="*/ 286313 h 615485"/>
              <a:gd name="connsiteX149" fmla="*/ 1925885 w 2920463"/>
              <a:gd name="connsiteY149" fmla="*/ 286313 h 615485"/>
              <a:gd name="connsiteX150" fmla="*/ 1925885 w 2920463"/>
              <a:gd name="connsiteY150" fmla="*/ 523352 h 615485"/>
              <a:gd name="connsiteX151" fmla="*/ 1816251 w 2920463"/>
              <a:gd name="connsiteY151" fmla="*/ 587787 h 615485"/>
              <a:gd name="connsiteX152" fmla="*/ 1671044 w 2920463"/>
              <a:gd name="connsiteY152" fmla="*/ 615486 h 615485"/>
              <a:gd name="connsiteX153" fmla="*/ 1508051 w 2920463"/>
              <a:gd name="connsiteY153" fmla="*/ 576417 h 615485"/>
              <a:gd name="connsiteX154" fmla="*/ 1403665 w 2920463"/>
              <a:gd name="connsiteY154" fmla="*/ 464457 h 615485"/>
              <a:gd name="connsiteX155" fmla="*/ 1368676 w 2920463"/>
              <a:gd name="connsiteY155" fmla="*/ 305848 h 615485"/>
              <a:gd name="connsiteX156" fmla="*/ 1407747 w 2920463"/>
              <a:gd name="connsiteY156" fmla="*/ 140824 h 615485"/>
              <a:gd name="connsiteX157" fmla="*/ 1522047 w 2920463"/>
              <a:gd name="connsiteY157" fmla="*/ 30031 h 615485"/>
              <a:gd name="connsiteX158" fmla="*/ 1664338 w 2920463"/>
              <a:gd name="connsiteY158" fmla="*/ 0 h 61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920463" h="615485">
                <a:moveTo>
                  <a:pt x="2858940" y="71724"/>
                </a:moveTo>
                <a:lnTo>
                  <a:pt x="2847568" y="71724"/>
                </a:lnTo>
                <a:lnTo>
                  <a:pt x="2847568" y="90384"/>
                </a:lnTo>
                <a:lnTo>
                  <a:pt x="2859815" y="90384"/>
                </a:lnTo>
                <a:cubicBezTo>
                  <a:pt x="2865646" y="90384"/>
                  <a:pt x="2869728" y="89509"/>
                  <a:pt x="2871770" y="87760"/>
                </a:cubicBezTo>
                <a:cubicBezTo>
                  <a:pt x="2873811" y="86011"/>
                  <a:pt x="2874977" y="83678"/>
                  <a:pt x="2874977" y="80762"/>
                </a:cubicBezTo>
                <a:cubicBezTo>
                  <a:pt x="2874977" y="79013"/>
                  <a:pt x="2874394" y="77264"/>
                  <a:pt x="2873519" y="75806"/>
                </a:cubicBezTo>
                <a:cubicBezTo>
                  <a:pt x="2872644" y="74348"/>
                  <a:pt x="2871186" y="73182"/>
                  <a:pt x="2869145" y="72599"/>
                </a:cubicBezTo>
                <a:cubicBezTo>
                  <a:pt x="2867104" y="72016"/>
                  <a:pt x="2863605" y="71724"/>
                  <a:pt x="2858940" y="71724"/>
                </a:cubicBezTo>
                <a:close/>
                <a:moveTo>
                  <a:pt x="2858649" y="63269"/>
                </a:moveTo>
                <a:cubicBezTo>
                  <a:pt x="2865938" y="63269"/>
                  <a:pt x="2871186" y="63852"/>
                  <a:pt x="2874394" y="65018"/>
                </a:cubicBezTo>
                <a:cubicBezTo>
                  <a:pt x="2877601" y="66184"/>
                  <a:pt x="2880225" y="68225"/>
                  <a:pt x="2882266" y="71141"/>
                </a:cubicBezTo>
                <a:cubicBezTo>
                  <a:pt x="2884307" y="74057"/>
                  <a:pt x="2885182" y="76972"/>
                  <a:pt x="2885182" y="80179"/>
                </a:cubicBezTo>
                <a:cubicBezTo>
                  <a:pt x="2885182" y="84844"/>
                  <a:pt x="2883433" y="88635"/>
                  <a:pt x="2880225" y="92133"/>
                </a:cubicBezTo>
                <a:cubicBezTo>
                  <a:pt x="2877018" y="95632"/>
                  <a:pt x="2872644" y="97382"/>
                  <a:pt x="2867396" y="97673"/>
                </a:cubicBezTo>
                <a:cubicBezTo>
                  <a:pt x="2869437" y="98548"/>
                  <a:pt x="2871478" y="99714"/>
                  <a:pt x="2872644" y="100880"/>
                </a:cubicBezTo>
                <a:cubicBezTo>
                  <a:pt x="2875268" y="103213"/>
                  <a:pt x="2878184" y="107586"/>
                  <a:pt x="2881975" y="113126"/>
                </a:cubicBezTo>
                <a:lnTo>
                  <a:pt x="2889556" y="125371"/>
                </a:lnTo>
                <a:lnTo>
                  <a:pt x="2877309" y="125371"/>
                </a:lnTo>
                <a:lnTo>
                  <a:pt x="2871770" y="115458"/>
                </a:lnTo>
                <a:cubicBezTo>
                  <a:pt x="2867396" y="107878"/>
                  <a:pt x="2863897" y="102921"/>
                  <a:pt x="2861272" y="100880"/>
                </a:cubicBezTo>
                <a:cubicBezTo>
                  <a:pt x="2859523" y="99422"/>
                  <a:pt x="2856607" y="98839"/>
                  <a:pt x="2853108" y="98839"/>
                </a:cubicBezTo>
                <a:lnTo>
                  <a:pt x="2847277" y="98839"/>
                </a:lnTo>
                <a:lnTo>
                  <a:pt x="2847277" y="125080"/>
                </a:lnTo>
                <a:lnTo>
                  <a:pt x="2837363" y="125080"/>
                </a:lnTo>
                <a:lnTo>
                  <a:pt x="2837363" y="62977"/>
                </a:lnTo>
                <a:lnTo>
                  <a:pt x="2858649" y="62977"/>
                </a:lnTo>
                <a:close/>
                <a:moveTo>
                  <a:pt x="2862730" y="45192"/>
                </a:moveTo>
                <a:cubicBezTo>
                  <a:pt x="2854566" y="45192"/>
                  <a:pt x="2846694" y="47233"/>
                  <a:pt x="2839113" y="51315"/>
                </a:cubicBezTo>
                <a:cubicBezTo>
                  <a:pt x="2831531" y="55397"/>
                  <a:pt x="2825408" y="61519"/>
                  <a:pt x="2821035" y="69100"/>
                </a:cubicBezTo>
                <a:cubicBezTo>
                  <a:pt x="2816661" y="76681"/>
                  <a:pt x="2814620" y="84844"/>
                  <a:pt x="2814620" y="93300"/>
                </a:cubicBezTo>
                <a:cubicBezTo>
                  <a:pt x="2814620" y="101755"/>
                  <a:pt x="2816661" y="109627"/>
                  <a:pt x="2821035" y="117208"/>
                </a:cubicBezTo>
                <a:cubicBezTo>
                  <a:pt x="2825408" y="124788"/>
                  <a:pt x="2831240" y="130911"/>
                  <a:pt x="2838821" y="134993"/>
                </a:cubicBezTo>
                <a:cubicBezTo>
                  <a:pt x="2846402" y="139366"/>
                  <a:pt x="2854566" y="141407"/>
                  <a:pt x="2862730" y="141407"/>
                </a:cubicBezTo>
                <a:cubicBezTo>
                  <a:pt x="2871186" y="141407"/>
                  <a:pt x="2879059" y="139366"/>
                  <a:pt x="2886640" y="134993"/>
                </a:cubicBezTo>
                <a:cubicBezTo>
                  <a:pt x="2894221" y="130619"/>
                  <a:pt x="2900344" y="124788"/>
                  <a:pt x="2904426" y="117208"/>
                </a:cubicBezTo>
                <a:cubicBezTo>
                  <a:pt x="2908800" y="109627"/>
                  <a:pt x="2910841" y="101755"/>
                  <a:pt x="2910841" y="93300"/>
                </a:cubicBezTo>
                <a:cubicBezTo>
                  <a:pt x="2910841" y="84844"/>
                  <a:pt x="2908800" y="76972"/>
                  <a:pt x="2904426" y="69100"/>
                </a:cubicBezTo>
                <a:cubicBezTo>
                  <a:pt x="2900053" y="61228"/>
                  <a:pt x="2894221" y="55397"/>
                  <a:pt x="2886349" y="51315"/>
                </a:cubicBezTo>
                <a:cubicBezTo>
                  <a:pt x="2878767" y="47233"/>
                  <a:pt x="2870895" y="45192"/>
                  <a:pt x="2862730" y="45192"/>
                </a:cubicBezTo>
                <a:close/>
                <a:moveTo>
                  <a:pt x="2862730" y="35571"/>
                </a:moveTo>
                <a:cubicBezTo>
                  <a:pt x="2872353" y="35571"/>
                  <a:pt x="2881975" y="38194"/>
                  <a:pt x="2891014" y="43151"/>
                </a:cubicBezTo>
                <a:cubicBezTo>
                  <a:pt x="2900344" y="48108"/>
                  <a:pt x="2907342" y="55105"/>
                  <a:pt x="2912591" y="64435"/>
                </a:cubicBezTo>
                <a:cubicBezTo>
                  <a:pt x="2917839" y="73765"/>
                  <a:pt x="2920463" y="83386"/>
                  <a:pt x="2920463" y="93300"/>
                </a:cubicBezTo>
                <a:cubicBezTo>
                  <a:pt x="2920463" y="103213"/>
                  <a:pt x="2917839" y="112834"/>
                  <a:pt x="2912882" y="121873"/>
                </a:cubicBezTo>
                <a:cubicBezTo>
                  <a:pt x="2907925" y="130911"/>
                  <a:pt x="2900636" y="138200"/>
                  <a:pt x="2891597" y="143156"/>
                </a:cubicBezTo>
                <a:cubicBezTo>
                  <a:pt x="2882558" y="148113"/>
                  <a:pt x="2872936" y="150737"/>
                  <a:pt x="2862730" y="150737"/>
                </a:cubicBezTo>
                <a:cubicBezTo>
                  <a:pt x="2852817" y="150737"/>
                  <a:pt x="2843195" y="148113"/>
                  <a:pt x="2833864" y="143156"/>
                </a:cubicBezTo>
                <a:cubicBezTo>
                  <a:pt x="2824825" y="138200"/>
                  <a:pt x="2817536" y="130911"/>
                  <a:pt x="2812579" y="121873"/>
                </a:cubicBezTo>
                <a:cubicBezTo>
                  <a:pt x="2807330" y="112834"/>
                  <a:pt x="2804998" y="103213"/>
                  <a:pt x="2804998" y="93300"/>
                </a:cubicBezTo>
                <a:cubicBezTo>
                  <a:pt x="2804998" y="83386"/>
                  <a:pt x="2807622" y="73473"/>
                  <a:pt x="2812870" y="64435"/>
                </a:cubicBezTo>
                <a:cubicBezTo>
                  <a:pt x="2818119" y="55105"/>
                  <a:pt x="2825408" y="48108"/>
                  <a:pt x="2834447" y="43151"/>
                </a:cubicBezTo>
                <a:cubicBezTo>
                  <a:pt x="2843486" y="38194"/>
                  <a:pt x="2853108" y="35571"/>
                  <a:pt x="2862730" y="35571"/>
                </a:cubicBezTo>
                <a:close/>
                <a:moveTo>
                  <a:pt x="2182475" y="257448"/>
                </a:moveTo>
                <a:cubicBezTo>
                  <a:pt x="2152734" y="257448"/>
                  <a:pt x="2127658" y="268819"/>
                  <a:pt x="2107247" y="291561"/>
                </a:cubicBezTo>
                <a:cubicBezTo>
                  <a:pt x="2086837" y="314303"/>
                  <a:pt x="2076631" y="346958"/>
                  <a:pt x="2076631" y="389817"/>
                </a:cubicBezTo>
                <a:cubicBezTo>
                  <a:pt x="2076631" y="432677"/>
                  <a:pt x="2086837" y="465332"/>
                  <a:pt x="2107247" y="488073"/>
                </a:cubicBezTo>
                <a:cubicBezTo>
                  <a:pt x="2127658" y="510815"/>
                  <a:pt x="2152734" y="522186"/>
                  <a:pt x="2182475" y="522186"/>
                </a:cubicBezTo>
                <a:cubicBezTo>
                  <a:pt x="2212216" y="522186"/>
                  <a:pt x="2237292" y="510815"/>
                  <a:pt x="2257411" y="488073"/>
                </a:cubicBezTo>
                <a:cubicBezTo>
                  <a:pt x="2277530" y="465332"/>
                  <a:pt x="2287735" y="432385"/>
                  <a:pt x="2287735" y="388943"/>
                </a:cubicBezTo>
                <a:cubicBezTo>
                  <a:pt x="2287735" y="346666"/>
                  <a:pt x="2277530" y="314303"/>
                  <a:pt x="2257411" y="291561"/>
                </a:cubicBezTo>
                <a:cubicBezTo>
                  <a:pt x="2237292" y="268819"/>
                  <a:pt x="2212216" y="257448"/>
                  <a:pt x="2182475" y="257448"/>
                </a:cubicBezTo>
                <a:close/>
                <a:moveTo>
                  <a:pt x="667426" y="257448"/>
                </a:moveTo>
                <a:cubicBezTo>
                  <a:pt x="637685" y="257448"/>
                  <a:pt x="612609" y="268819"/>
                  <a:pt x="592199" y="291561"/>
                </a:cubicBezTo>
                <a:cubicBezTo>
                  <a:pt x="571788" y="314303"/>
                  <a:pt x="561583" y="346958"/>
                  <a:pt x="561583" y="389817"/>
                </a:cubicBezTo>
                <a:cubicBezTo>
                  <a:pt x="561583" y="432677"/>
                  <a:pt x="571788" y="465332"/>
                  <a:pt x="592199" y="488073"/>
                </a:cubicBezTo>
                <a:cubicBezTo>
                  <a:pt x="612609" y="510815"/>
                  <a:pt x="637685" y="522186"/>
                  <a:pt x="667426" y="522186"/>
                </a:cubicBezTo>
                <a:cubicBezTo>
                  <a:pt x="697167" y="522186"/>
                  <a:pt x="722243" y="510815"/>
                  <a:pt x="742362" y="488073"/>
                </a:cubicBezTo>
                <a:cubicBezTo>
                  <a:pt x="762481" y="465332"/>
                  <a:pt x="772686" y="432385"/>
                  <a:pt x="772686" y="388943"/>
                </a:cubicBezTo>
                <a:cubicBezTo>
                  <a:pt x="772686" y="346666"/>
                  <a:pt x="762481" y="314303"/>
                  <a:pt x="742362" y="291561"/>
                </a:cubicBezTo>
                <a:cubicBezTo>
                  <a:pt x="722243" y="268819"/>
                  <a:pt x="697459" y="257448"/>
                  <a:pt x="667426" y="257448"/>
                </a:cubicBezTo>
                <a:close/>
                <a:moveTo>
                  <a:pt x="2509336" y="174062"/>
                </a:moveTo>
                <a:lnTo>
                  <a:pt x="2590687" y="393899"/>
                </a:lnTo>
                <a:lnTo>
                  <a:pt x="2614305" y="467373"/>
                </a:lnTo>
                <a:cubicBezTo>
                  <a:pt x="2620428" y="448713"/>
                  <a:pt x="2624510" y="436467"/>
                  <a:pt x="2625968" y="430344"/>
                </a:cubicBezTo>
                <a:cubicBezTo>
                  <a:pt x="2629758" y="418099"/>
                  <a:pt x="2633840" y="406145"/>
                  <a:pt x="2638214" y="393899"/>
                </a:cubicBezTo>
                <a:lnTo>
                  <a:pt x="2720440" y="174062"/>
                </a:lnTo>
                <a:lnTo>
                  <a:pt x="2837946" y="174062"/>
                </a:lnTo>
                <a:lnTo>
                  <a:pt x="2666497" y="604989"/>
                </a:lnTo>
                <a:lnTo>
                  <a:pt x="2563278" y="604989"/>
                </a:lnTo>
                <a:lnTo>
                  <a:pt x="2389205" y="174062"/>
                </a:lnTo>
                <a:lnTo>
                  <a:pt x="2509336" y="174062"/>
                </a:lnTo>
                <a:close/>
                <a:moveTo>
                  <a:pt x="140833" y="10205"/>
                </a:moveTo>
                <a:lnTo>
                  <a:pt x="281083" y="245495"/>
                </a:lnTo>
                <a:lnTo>
                  <a:pt x="418417" y="10205"/>
                </a:lnTo>
                <a:lnTo>
                  <a:pt x="557209" y="10205"/>
                </a:lnTo>
                <a:lnTo>
                  <a:pt x="338233" y="355413"/>
                </a:lnTo>
                <a:lnTo>
                  <a:pt x="338233" y="604989"/>
                </a:lnTo>
                <a:lnTo>
                  <a:pt x="218393" y="604989"/>
                </a:lnTo>
                <a:lnTo>
                  <a:pt x="218393" y="354538"/>
                </a:lnTo>
                <a:lnTo>
                  <a:pt x="0" y="9913"/>
                </a:lnTo>
                <a:lnTo>
                  <a:pt x="140833" y="9913"/>
                </a:lnTo>
                <a:close/>
                <a:moveTo>
                  <a:pt x="2181892" y="164441"/>
                </a:moveTo>
                <a:cubicBezTo>
                  <a:pt x="2247206" y="164441"/>
                  <a:pt x="2300856" y="185725"/>
                  <a:pt x="2342552" y="228001"/>
                </a:cubicBezTo>
                <a:cubicBezTo>
                  <a:pt x="2384248" y="270277"/>
                  <a:pt x="2405242" y="323924"/>
                  <a:pt x="2405242" y="388651"/>
                </a:cubicBezTo>
                <a:cubicBezTo>
                  <a:pt x="2405242" y="453961"/>
                  <a:pt x="2384248" y="507900"/>
                  <a:pt x="2341969" y="550759"/>
                </a:cubicBezTo>
                <a:cubicBezTo>
                  <a:pt x="2299690" y="593619"/>
                  <a:pt x="2246623" y="615194"/>
                  <a:pt x="2182766" y="615194"/>
                </a:cubicBezTo>
                <a:cubicBezTo>
                  <a:pt x="2143112" y="615194"/>
                  <a:pt x="2105498" y="606156"/>
                  <a:pt x="2069633" y="588370"/>
                </a:cubicBezTo>
                <a:cubicBezTo>
                  <a:pt x="2033769" y="570585"/>
                  <a:pt x="2006361" y="544345"/>
                  <a:pt x="1987699" y="509941"/>
                </a:cubicBezTo>
                <a:cubicBezTo>
                  <a:pt x="1969038" y="475536"/>
                  <a:pt x="1959708" y="433552"/>
                  <a:pt x="1959708" y="383986"/>
                </a:cubicBezTo>
                <a:cubicBezTo>
                  <a:pt x="1959708" y="346083"/>
                  <a:pt x="1969038" y="309346"/>
                  <a:pt x="1987699" y="274068"/>
                </a:cubicBezTo>
                <a:cubicBezTo>
                  <a:pt x="2006361" y="238789"/>
                  <a:pt x="2032894" y="211673"/>
                  <a:pt x="2067301" y="193014"/>
                </a:cubicBezTo>
                <a:cubicBezTo>
                  <a:pt x="2101416" y="173770"/>
                  <a:pt x="2139613" y="164441"/>
                  <a:pt x="2181892" y="164441"/>
                </a:cubicBezTo>
                <a:close/>
                <a:moveTo>
                  <a:pt x="667135" y="164441"/>
                </a:moveTo>
                <a:cubicBezTo>
                  <a:pt x="732449" y="164441"/>
                  <a:pt x="786099" y="185725"/>
                  <a:pt x="827795" y="228001"/>
                </a:cubicBezTo>
                <a:cubicBezTo>
                  <a:pt x="869491" y="270277"/>
                  <a:pt x="890485" y="323924"/>
                  <a:pt x="890485" y="388651"/>
                </a:cubicBezTo>
                <a:cubicBezTo>
                  <a:pt x="890485" y="453961"/>
                  <a:pt x="869491" y="507900"/>
                  <a:pt x="827212" y="550759"/>
                </a:cubicBezTo>
                <a:cubicBezTo>
                  <a:pt x="784933" y="593619"/>
                  <a:pt x="732157" y="615194"/>
                  <a:pt x="668009" y="615194"/>
                </a:cubicBezTo>
                <a:cubicBezTo>
                  <a:pt x="628354" y="615194"/>
                  <a:pt x="590741" y="606156"/>
                  <a:pt x="554876" y="588370"/>
                </a:cubicBezTo>
                <a:cubicBezTo>
                  <a:pt x="519012" y="570585"/>
                  <a:pt x="491604" y="544345"/>
                  <a:pt x="472942" y="509941"/>
                </a:cubicBezTo>
                <a:cubicBezTo>
                  <a:pt x="454281" y="475536"/>
                  <a:pt x="444951" y="433552"/>
                  <a:pt x="444951" y="383986"/>
                </a:cubicBezTo>
                <a:cubicBezTo>
                  <a:pt x="444951" y="346083"/>
                  <a:pt x="454281" y="309346"/>
                  <a:pt x="472942" y="274068"/>
                </a:cubicBezTo>
                <a:cubicBezTo>
                  <a:pt x="491604" y="238789"/>
                  <a:pt x="518137" y="211673"/>
                  <a:pt x="552544" y="193014"/>
                </a:cubicBezTo>
                <a:cubicBezTo>
                  <a:pt x="586659" y="173770"/>
                  <a:pt x="624856" y="164441"/>
                  <a:pt x="667135" y="164441"/>
                </a:cubicBezTo>
                <a:close/>
                <a:moveTo>
                  <a:pt x="1041523" y="174062"/>
                </a:moveTo>
                <a:lnTo>
                  <a:pt x="1041523" y="372032"/>
                </a:lnTo>
                <a:cubicBezTo>
                  <a:pt x="1041523" y="432677"/>
                  <a:pt x="1043564" y="469705"/>
                  <a:pt x="1047938" y="483408"/>
                </a:cubicBezTo>
                <a:cubicBezTo>
                  <a:pt x="1052020" y="497112"/>
                  <a:pt x="1059893" y="507900"/>
                  <a:pt x="1070973" y="515772"/>
                </a:cubicBezTo>
                <a:cubicBezTo>
                  <a:pt x="1082053" y="523644"/>
                  <a:pt x="1096048" y="527726"/>
                  <a:pt x="1113252" y="527726"/>
                </a:cubicBezTo>
                <a:cubicBezTo>
                  <a:pt x="1132788" y="527726"/>
                  <a:pt x="1150282" y="522478"/>
                  <a:pt x="1165736" y="511690"/>
                </a:cubicBezTo>
                <a:cubicBezTo>
                  <a:pt x="1181190" y="500902"/>
                  <a:pt x="1191687" y="487782"/>
                  <a:pt x="1197518" y="472038"/>
                </a:cubicBezTo>
                <a:cubicBezTo>
                  <a:pt x="1203350" y="456293"/>
                  <a:pt x="1205974" y="417516"/>
                  <a:pt x="1205974" y="355705"/>
                </a:cubicBezTo>
                <a:lnTo>
                  <a:pt x="1205974" y="173770"/>
                </a:lnTo>
                <a:lnTo>
                  <a:pt x="1320273" y="173770"/>
                </a:lnTo>
                <a:lnTo>
                  <a:pt x="1320273" y="604698"/>
                </a:lnTo>
                <a:lnTo>
                  <a:pt x="1214138" y="604698"/>
                </a:lnTo>
                <a:lnTo>
                  <a:pt x="1214138" y="540263"/>
                </a:lnTo>
                <a:cubicBezTo>
                  <a:pt x="1198393" y="563296"/>
                  <a:pt x="1177691" y="581373"/>
                  <a:pt x="1152032" y="594493"/>
                </a:cubicBezTo>
                <a:cubicBezTo>
                  <a:pt x="1126373" y="607614"/>
                  <a:pt x="1099256" y="614319"/>
                  <a:pt x="1070973" y="614319"/>
                </a:cubicBezTo>
                <a:cubicBezTo>
                  <a:pt x="1042106" y="614319"/>
                  <a:pt x="1015864" y="607905"/>
                  <a:pt x="992829" y="595368"/>
                </a:cubicBezTo>
                <a:cubicBezTo>
                  <a:pt x="969794" y="582539"/>
                  <a:pt x="953174" y="564754"/>
                  <a:pt x="942969" y="541721"/>
                </a:cubicBezTo>
                <a:cubicBezTo>
                  <a:pt x="932764" y="518687"/>
                  <a:pt x="927515" y="486907"/>
                  <a:pt x="927515" y="446380"/>
                </a:cubicBezTo>
                <a:lnTo>
                  <a:pt x="927515" y="173770"/>
                </a:lnTo>
                <a:lnTo>
                  <a:pt x="1041523" y="173770"/>
                </a:lnTo>
                <a:close/>
                <a:moveTo>
                  <a:pt x="1664338" y="0"/>
                </a:moveTo>
                <a:cubicBezTo>
                  <a:pt x="1738399" y="0"/>
                  <a:pt x="1796132" y="15453"/>
                  <a:pt x="1837828" y="46358"/>
                </a:cubicBezTo>
                <a:cubicBezTo>
                  <a:pt x="1879523" y="77264"/>
                  <a:pt x="1906057" y="120123"/>
                  <a:pt x="1918012" y="174937"/>
                </a:cubicBezTo>
                <a:lnTo>
                  <a:pt x="1798464" y="197387"/>
                </a:lnTo>
                <a:cubicBezTo>
                  <a:pt x="1790008" y="168231"/>
                  <a:pt x="1774263" y="145197"/>
                  <a:pt x="1751228" y="128287"/>
                </a:cubicBezTo>
                <a:cubicBezTo>
                  <a:pt x="1728193" y="111376"/>
                  <a:pt x="1699035" y="102921"/>
                  <a:pt x="1664338" y="102921"/>
                </a:cubicBezTo>
                <a:cubicBezTo>
                  <a:pt x="1611853" y="102921"/>
                  <a:pt x="1569866" y="119540"/>
                  <a:pt x="1538958" y="152778"/>
                </a:cubicBezTo>
                <a:cubicBezTo>
                  <a:pt x="1508051" y="186016"/>
                  <a:pt x="1492305" y="235290"/>
                  <a:pt x="1492305" y="300891"/>
                </a:cubicBezTo>
                <a:cubicBezTo>
                  <a:pt x="1492305" y="371449"/>
                  <a:pt x="1508051" y="424513"/>
                  <a:pt x="1539541" y="459792"/>
                </a:cubicBezTo>
                <a:cubicBezTo>
                  <a:pt x="1571032" y="495071"/>
                  <a:pt x="1612145" y="512856"/>
                  <a:pt x="1663171" y="512856"/>
                </a:cubicBezTo>
                <a:cubicBezTo>
                  <a:pt x="1688247" y="512856"/>
                  <a:pt x="1713614" y="507900"/>
                  <a:pt x="1738982" y="497986"/>
                </a:cubicBezTo>
                <a:cubicBezTo>
                  <a:pt x="1764349" y="488073"/>
                  <a:pt x="1785926" y="476119"/>
                  <a:pt x="1804296" y="462124"/>
                </a:cubicBezTo>
                <a:lnTo>
                  <a:pt x="1804296" y="386610"/>
                </a:lnTo>
                <a:lnTo>
                  <a:pt x="1666379" y="386610"/>
                </a:lnTo>
                <a:lnTo>
                  <a:pt x="1666379" y="286313"/>
                </a:lnTo>
                <a:lnTo>
                  <a:pt x="1925885" y="286313"/>
                </a:lnTo>
                <a:lnTo>
                  <a:pt x="1925885" y="523352"/>
                </a:lnTo>
                <a:cubicBezTo>
                  <a:pt x="1900809" y="547844"/>
                  <a:pt x="1864070" y="569127"/>
                  <a:pt x="1816251" y="587787"/>
                </a:cubicBezTo>
                <a:cubicBezTo>
                  <a:pt x="1768432" y="606447"/>
                  <a:pt x="1720029" y="615486"/>
                  <a:pt x="1671044" y="615486"/>
                </a:cubicBezTo>
                <a:cubicBezTo>
                  <a:pt x="1608646" y="615486"/>
                  <a:pt x="1554412" y="602365"/>
                  <a:pt x="1508051" y="576417"/>
                </a:cubicBezTo>
                <a:cubicBezTo>
                  <a:pt x="1461690" y="550176"/>
                  <a:pt x="1426992" y="513148"/>
                  <a:pt x="1403665" y="464457"/>
                </a:cubicBezTo>
                <a:cubicBezTo>
                  <a:pt x="1380339" y="415766"/>
                  <a:pt x="1368676" y="362994"/>
                  <a:pt x="1368676" y="305848"/>
                </a:cubicBezTo>
                <a:cubicBezTo>
                  <a:pt x="1368676" y="244037"/>
                  <a:pt x="1381797" y="188932"/>
                  <a:pt x="1407747" y="140824"/>
                </a:cubicBezTo>
                <a:cubicBezTo>
                  <a:pt x="1433698" y="92716"/>
                  <a:pt x="1471895" y="55688"/>
                  <a:pt x="1522047" y="30031"/>
                </a:cubicBezTo>
                <a:cubicBezTo>
                  <a:pt x="1559952" y="9913"/>
                  <a:pt x="1607480" y="0"/>
                  <a:pt x="1664338" y="0"/>
                </a:cubicBezTo>
                <a:close/>
              </a:path>
            </a:pathLst>
          </a:custGeom>
          <a:solidFill>
            <a:srgbClr val="FF412C"/>
          </a:solidFill>
          <a:ln w="2914" cap="flat">
            <a:noFill/>
            <a:prstDash val="solid"/>
            <a:miter/>
          </a:ln>
        </p:spPr>
        <p:txBody>
          <a:bodyPr rtlCol="0" anchor="ctr"/>
          <a:lstStyle/>
          <a:p>
            <a:endParaRPr lang="de-DE"/>
          </a:p>
        </p:txBody>
      </p:sp>
    </p:spTree>
    <p:extLst>
      <p:ext uri="{BB962C8B-B14F-4D97-AF65-F5344CB8AC3E}">
        <p14:creationId xmlns:p14="http://schemas.microsoft.com/office/powerpoint/2010/main" val="4081153659"/>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sights Bericht | ohne Inhal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47ED4A4-B179-4448-886B-FC43DD42B3D0}"/>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de-CH" noProof="0" dirty="0"/>
              <a:t>Insights Bericht</a:t>
            </a:r>
            <a:endParaRPr lang="de-DE" dirty="0"/>
          </a:p>
        </p:txBody>
      </p:sp>
      <p:sp>
        <p:nvSpPr>
          <p:cNvPr id="15" name="Footer Placeholder 2">
            <a:extLst>
              <a:ext uri="{FF2B5EF4-FFF2-40B4-BE49-F238E27FC236}">
                <a16:creationId xmlns:a16="http://schemas.microsoft.com/office/drawing/2014/main" id="{21EFA0AF-A388-5B42-A3FD-02C57D5F68C8}"/>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17" name="Slide Number Placeholder 3">
            <a:extLst>
              <a:ext uri="{FF2B5EF4-FFF2-40B4-BE49-F238E27FC236}">
                <a16:creationId xmlns:a16="http://schemas.microsoft.com/office/drawing/2014/main" id="{809D7491-35F1-F54C-B72B-4AE2AF18CF3D}"/>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10" name="Inhaltsplatzhalter 26">
            <a:extLst>
              <a:ext uri="{FF2B5EF4-FFF2-40B4-BE49-F238E27FC236}">
                <a16:creationId xmlns:a16="http://schemas.microsoft.com/office/drawing/2014/main" id="{8D559D6E-3A51-F44D-BD41-53F5EF111D88}"/>
              </a:ext>
            </a:extLst>
          </p:cNvPr>
          <p:cNvSpPr>
            <a:spLocks noGrp="1"/>
          </p:cNvSpPr>
          <p:nvPr>
            <p:ph sz="quarter" idx="24" hasCustomPrompt="1"/>
          </p:nvPr>
        </p:nvSpPr>
        <p:spPr>
          <a:xfrm>
            <a:off x="304800" y="6034485"/>
            <a:ext cx="11569800" cy="418851"/>
          </a:xfrm>
          <a:prstGeom prst="rect">
            <a:avLst/>
          </a:prstGeom>
        </p:spPr>
        <p:txBody>
          <a:bodyPr anchor="b">
            <a:noAutofit/>
          </a:bodyPr>
          <a:lstStyle>
            <a:lvl1pPr marL="0" indent="0">
              <a:spcBef>
                <a:spcPts val="0"/>
              </a:spcBef>
              <a:buNone/>
              <a:defRPr sz="800">
                <a:solidFill>
                  <a:schemeClr val="tx2"/>
                </a:solidFill>
              </a:defRPr>
            </a:lvl1pPr>
          </a:lstStyle>
          <a:p>
            <a:r>
              <a:rPr lang="de-CH" dirty="0"/>
              <a:t>Fragenummer: Fragetext</a:t>
            </a:r>
          </a:p>
        </p:txBody>
      </p:sp>
      <p:sp>
        <p:nvSpPr>
          <p:cNvPr id="3" name="Text Placeholder 2">
            <a:extLst>
              <a:ext uri="{FF2B5EF4-FFF2-40B4-BE49-F238E27FC236}">
                <a16:creationId xmlns:a16="http://schemas.microsoft.com/office/drawing/2014/main" id="{A7212B7B-DEFA-42D4-98BC-4456C9997B42}"/>
              </a:ext>
            </a:extLst>
          </p:cNvPr>
          <p:cNvSpPr>
            <a:spLocks noGrp="1"/>
          </p:cNvSpPr>
          <p:nvPr>
            <p:ph type="body" sz="quarter" idx="25" hasCustomPrompt="1"/>
          </p:nvPr>
        </p:nvSpPr>
        <p:spPr>
          <a:xfrm>
            <a:off x="304800" y="972000"/>
            <a:ext cx="11581200" cy="277200"/>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de-CH" dirty="0"/>
              <a:t>Untertitel</a:t>
            </a:r>
            <a:endParaRPr lang="de-DE" dirty="0"/>
          </a:p>
        </p:txBody>
      </p:sp>
    </p:spTree>
    <p:extLst>
      <p:ext uri="{BB962C8B-B14F-4D97-AF65-F5344CB8AC3E}">
        <p14:creationId xmlns:p14="http://schemas.microsoft.com/office/powerpoint/2010/main" val="143909224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Daten Bericht | Inhalt mit Frage">
    <p:spTree>
      <p:nvGrpSpPr>
        <p:cNvPr id="1" name=""/>
        <p:cNvGrpSpPr/>
        <p:nvPr/>
      </p:nvGrpSpPr>
      <p:grpSpPr>
        <a:xfrm>
          <a:off x="0" y="0"/>
          <a:ext cx="0" cy="0"/>
          <a:chOff x="0" y="0"/>
          <a:chExt cx="0" cy="0"/>
        </a:xfrm>
      </p:grpSpPr>
      <p:sp>
        <p:nvSpPr>
          <p:cNvPr id="7" name="Inhaltsplatzhalter 10">
            <a:extLst>
              <a:ext uri="{FF2B5EF4-FFF2-40B4-BE49-F238E27FC236}">
                <a16:creationId xmlns:a16="http://schemas.microsoft.com/office/drawing/2014/main" id="{F368137C-B12A-4454-81D9-A0EA0EF36ACD}"/>
              </a:ext>
            </a:extLst>
          </p:cNvPr>
          <p:cNvSpPr>
            <a:spLocks noGrp="1"/>
          </p:cNvSpPr>
          <p:nvPr>
            <p:ph sz="quarter" idx="22"/>
          </p:nvPr>
        </p:nvSpPr>
        <p:spPr>
          <a:xfrm>
            <a:off x="306000" y="1440000"/>
            <a:ext cx="11576100" cy="4655773"/>
          </a:xfrm>
          <a:prstGeom prst="rect">
            <a:avLst/>
          </a:prstGeom>
        </p:spPr>
        <p:txBody>
          <a:bodyPr>
            <a:normAutofit/>
          </a:bodyPr>
          <a:lstStyle>
            <a:lvl1pPr marL="285750" indent="-285750" algn="l" defTabSz="653164" rtl="0" eaLnBrk="1" latinLnBrk="0" hangingPunct="1">
              <a:lnSpc>
                <a:spcPct val="150000"/>
              </a:lnSpc>
              <a:buClr>
                <a:schemeClr val="accent1"/>
              </a:buClr>
              <a:buFontTx/>
              <a:buNone/>
              <a:tabLst/>
              <a:defRPr lang="de-DE" sz="1400" kern="1200" noProof="0" dirty="0">
                <a:solidFill>
                  <a:schemeClr val="tx1"/>
                </a:solidFill>
                <a:latin typeface="+mn-lt"/>
                <a:ea typeface="+mn-ea"/>
                <a:cs typeface="+mn-cs"/>
              </a:defRPr>
            </a:lvl1pPr>
            <a:lvl2pPr marL="349250" indent="-169863" algn="l" defTabSz="653164" rtl="0" eaLnBrk="1" latinLnBrk="0" hangingPunct="1">
              <a:lnSpc>
                <a:spcPct val="150000"/>
              </a:lnSpc>
              <a:buClr>
                <a:schemeClr val="accent1"/>
              </a:buClr>
              <a:buFont typeface="Wingdings" panose="05000000000000000000" pitchFamily="2" charset="2"/>
              <a:buChar char="§"/>
              <a:defRPr lang="de-DE" sz="1400" kern="1200" dirty="0">
                <a:solidFill>
                  <a:schemeClr val="tx1"/>
                </a:solidFill>
                <a:latin typeface="+mn-lt"/>
                <a:ea typeface="+mn-ea"/>
                <a:cs typeface="+mn-cs"/>
              </a:defRPr>
            </a:lvl2pPr>
            <a:lvl3pPr marL="661988" indent="-285750" algn="l" defTabSz="653164" rtl="0" eaLnBrk="1" latinLnBrk="0" hangingPunct="1">
              <a:lnSpc>
                <a:spcPct val="150000"/>
              </a:lnSpc>
              <a:buClr>
                <a:schemeClr val="accent1"/>
              </a:buClr>
              <a:buFont typeface="Wingdings" panose="05000000000000000000" pitchFamily="2" charset="2"/>
              <a:buChar char="§"/>
              <a:defRPr lang="de-DE" sz="1400" kern="1200" dirty="0">
                <a:solidFill>
                  <a:schemeClr val="tx1"/>
                </a:solidFill>
                <a:latin typeface="+mn-lt"/>
                <a:ea typeface="+mn-ea"/>
                <a:cs typeface="+mn-cs"/>
              </a:defRPr>
            </a:lvl3pPr>
            <a:lvl4pPr algn="l" defTabSz="653164" rtl="0" eaLnBrk="1" latinLnBrk="0" hangingPunct="1">
              <a:lnSpc>
                <a:spcPct val="150000"/>
              </a:lnSpc>
              <a:buClr>
                <a:schemeClr val="accent1"/>
              </a:buClr>
              <a:buFont typeface="Wingdings" panose="05000000000000000000" pitchFamily="2" charset="2"/>
              <a:buChar char="§"/>
              <a:defRPr lang="de-DE" sz="1400" kern="1200" noProof="0" dirty="0">
                <a:solidFill>
                  <a:schemeClr val="tx1"/>
                </a:solidFill>
                <a:latin typeface="+mn-lt"/>
                <a:ea typeface="+mn-ea"/>
                <a:cs typeface="+mn-cs"/>
              </a:defRPr>
            </a:lvl4pPr>
            <a:lvl5pPr algn="l" defTabSz="653164" rtl="0" eaLnBrk="1" latinLnBrk="0" hangingPunct="1">
              <a:lnSpc>
                <a:spcPct val="150000"/>
              </a:lnSpc>
              <a:buClr>
                <a:schemeClr val="accent1"/>
              </a:buClr>
              <a:buFont typeface="Wingdings" panose="05000000000000000000" pitchFamily="2" charset="2"/>
              <a:buChar char="§"/>
              <a:defRPr lang="en-GB" sz="1400" kern="1200" noProof="0" dirty="0">
                <a:solidFill>
                  <a:schemeClr val="tx1"/>
                </a:solidFill>
                <a:latin typeface="+mn-lt"/>
                <a:ea typeface="+mn-ea"/>
                <a:cs typeface="+mn-cs"/>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itle 1">
            <a:extLst>
              <a:ext uri="{FF2B5EF4-FFF2-40B4-BE49-F238E27FC236}">
                <a16:creationId xmlns:a16="http://schemas.microsoft.com/office/drawing/2014/main" id="{5F239397-7B01-F847-826D-8106DD244F27}"/>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de-DE" noProof="0"/>
              <a:t>Daten Bericht</a:t>
            </a:r>
          </a:p>
        </p:txBody>
      </p:sp>
      <p:sp>
        <p:nvSpPr>
          <p:cNvPr id="15" name="Footer Placeholder 2">
            <a:extLst>
              <a:ext uri="{FF2B5EF4-FFF2-40B4-BE49-F238E27FC236}">
                <a16:creationId xmlns:a16="http://schemas.microsoft.com/office/drawing/2014/main" id="{66BE2B4D-BBC8-7F4A-BAE1-699AD74CD528}"/>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16" name="Slide Number Placeholder 3">
            <a:extLst>
              <a:ext uri="{FF2B5EF4-FFF2-40B4-BE49-F238E27FC236}">
                <a16:creationId xmlns:a16="http://schemas.microsoft.com/office/drawing/2014/main" id="{E962D80C-B0D4-E246-B877-020E157FBF24}"/>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10" name="Inhaltsplatzhalter 26">
            <a:extLst>
              <a:ext uri="{FF2B5EF4-FFF2-40B4-BE49-F238E27FC236}">
                <a16:creationId xmlns:a16="http://schemas.microsoft.com/office/drawing/2014/main" id="{92228026-CC11-9545-9127-D6D827908F8A}"/>
              </a:ext>
            </a:extLst>
          </p:cNvPr>
          <p:cNvSpPr>
            <a:spLocks noGrp="1"/>
          </p:cNvSpPr>
          <p:nvPr>
            <p:ph sz="quarter" idx="24" hasCustomPrompt="1"/>
          </p:nvPr>
        </p:nvSpPr>
        <p:spPr>
          <a:xfrm>
            <a:off x="304800" y="6034485"/>
            <a:ext cx="11569800" cy="418851"/>
          </a:xfrm>
          <a:prstGeom prst="rect">
            <a:avLst/>
          </a:prstGeom>
        </p:spPr>
        <p:txBody>
          <a:bodyPr anchor="b">
            <a:noAutofit/>
          </a:bodyPr>
          <a:lstStyle>
            <a:lvl1pPr marL="0" indent="0">
              <a:spcBef>
                <a:spcPts val="0"/>
              </a:spcBef>
              <a:buNone/>
              <a:defRPr sz="800">
                <a:solidFill>
                  <a:schemeClr val="tx2"/>
                </a:solidFill>
              </a:defRPr>
            </a:lvl1pPr>
          </a:lstStyle>
          <a:p>
            <a:r>
              <a:rPr lang="de-CH" dirty="0"/>
              <a:t>Fragenummer: Fragetext</a:t>
            </a:r>
          </a:p>
        </p:txBody>
      </p:sp>
      <p:sp>
        <p:nvSpPr>
          <p:cNvPr id="3" name="Text Placeholder 2">
            <a:extLst>
              <a:ext uri="{FF2B5EF4-FFF2-40B4-BE49-F238E27FC236}">
                <a16:creationId xmlns:a16="http://schemas.microsoft.com/office/drawing/2014/main" id="{311BC5EC-A66A-4325-BCD7-6D1B75884211}"/>
              </a:ext>
            </a:extLst>
          </p:cNvPr>
          <p:cNvSpPr>
            <a:spLocks noGrp="1"/>
          </p:cNvSpPr>
          <p:nvPr>
            <p:ph type="body" sz="quarter" idx="25" hasCustomPrompt="1"/>
          </p:nvPr>
        </p:nvSpPr>
        <p:spPr>
          <a:xfrm>
            <a:off x="304800" y="972000"/>
            <a:ext cx="11581200" cy="277813"/>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de-DE" dirty="0"/>
              <a:t>Untertitel</a:t>
            </a:r>
          </a:p>
        </p:txBody>
      </p:sp>
    </p:spTree>
    <p:extLst>
      <p:ext uri="{BB962C8B-B14F-4D97-AF65-F5344CB8AC3E}">
        <p14:creationId xmlns:p14="http://schemas.microsoft.com/office/powerpoint/2010/main" val="15395963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atenbericht | 2 Inhaltte mit Frage">
    <p:spTree>
      <p:nvGrpSpPr>
        <p:cNvPr id="1" name=""/>
        <p:cNvGrpSpPr/>
        <p:nvPr/>
      </p:nvGrpSpPr>
      <p:grpSpPr>
        <a:xfrm>
          <a:off x="0" y="0"/>
          <a:ext cx="0" cy="0"/>
          <a:chOff x="0" y="0"/>
          <a:chExt cx="0" cy="0"/>
        </a:xfrm>
      </p:grpSpPr>
      <p:sp>
        <p:nvSpPr>
          <p:cNvPr id="13" name="Inhaltsplatzhalter 10">
            <a:extLst>
              <a:ext uri="{FF2B5EF4-FFF2-40B4-BE49-F238E27FC236}">
                <a16:creationId xmlns:a16="http://schemas.microsoft.com/office/drawing/2014/main" id="{27A76819-F53F-2248-ACAD-56BB93A520CE}"/>
              </a:ext>
            </a:extLst>
          </p:cNvPr>
          <p:cNvSpPr>
            <a:spLocks noGrp="1"/>
          </p:cNvSpPr>
          <p:nvPr>
            <p:ph sz="quarter" idx="22"/>
          </p:nvPr>
        </p:nvSpPr>
        <p:spPr>
          <a:xfrm>
            <a:off x="304800" y="1440000"/>
            <a:ext cx="5715000" cy="4657726"/>
          </a:xfrm>
          <a:prstGeom prst="rect">
            <a:avLst/>
          </a:prstGeom>
        </p:spPr>
        <p:txBody>
          <a:bodyPr>
            <a:normAutofit/>
          </a:bodyPr>
          <a:lstStyle>
            <a:lvl1pPr marL="285750" indent="-285750" algn="l" defTabSz="653164" rtl="0" eaLnBrk="1" latinLnBrk="0" hangingPunct="1">
              <a:lnSpc>
                <a:spcPct val="150000"/>
              </a:lnSpc>
              <a:buClr>
                <a:schemeClr val="accent1"/>
              </a:buClr>
              <a:buFontTx/>
              <a:buNone/>
              <a:tabLst/>
              <a:defRPr lang="de-DE" sz="1400" kern="1200" noProof="0" dirty="0">
                <a:solidFill>
                  <a:schemeClr val="tx1"/>
                </a:solidFill>
                <a:latin typeface="+mn-lt"/>
                <a:ea typeface="+mn-ea"/>
                <a:cs typeface="+mn-cs"/>
              </a:defRPr>
            </a:lvl1pPr>
            <a:lvl2pPr marL="349250" indent="-169863" algn="l" defTabSz="653164" rtl="0" eaLnBrk="1" latinLnBrk="0" hangingPunct="1">
              <a:lnSpc>
                <a:spcPct val="150000"/>
              </a:lnSpc>
              <a:buClr>
                <a:schemeClr val="accent1"/>
              </a:buClr>
              <a:buFont typeface="Wingdings" panose="05000000000000000000" pitchFamily="2" charset="2"/>
              <a:buChar char="§"/>
              <a:defRPr lang="de-DE" sz="1400" kern="1200" dirty="0">
                <a:solidFill>
                  <a:schemeClr val="tx1"/>
                </a:solidFill>
                <a:latin typeface="+mn-lt"/>
                <a:ea typeface="+mn-ea"/>
                <a:cs typeface="+mn-cs"/>
              </a:defRPr>
            </a:lvl2pPr>
            <a:lvl3pPr marL="661988" indent="-285750" algn="l" defTabSz="653164" rtl="0" eaLnBrk="1" latinLnBrk="0" hangingPunct="1">
              <a:lnSpc>
                <a:spcPct val="150000"/>
              </a:lnSpc>
              <a:buClr>
                <a:schemeClr val="accent1"/>
              </a:buClr>
              <a:buFont typeface="Wingdings" panose="05000000000000000000" pitchFamily="2" charset="2"/>
              <a:buChar char="§"/>
              <a:defRPr lang="de-DE" sz="1400" kern="1200" dirty="0">
                <a:solidFill>
                  <a:schemeClr val="tx1"/>
                </a:solidFill>
                <a:latin typeface="+mn-lt"/>
                <a:ea typeface="+mn-ea"/>
                <a:cs typeface="+mn-cs"/>
              </a:defRPr>
            </a:lvl3pPr>
            <a:lvl4pPr algn="l" defTabSz="653164" rtl="0" eaLnBrk="1" latinLnBrk="0" hangingPunct="1">
              <a:lnSpc>
                <a:spcPct val="150000"/>
              </a:lnSpc>
              <a:buClr>
                <a:schemeClr val="accent1"/>
              </a:buClr>
              <a:buFont typeface="Wingdings" panose="05000000000000000000" pitchFamily="2" charset="2"/>
              <a:buChar char="§"/>
              <a:defRPr lang="de-DE" sz="1400" kern="1200" noProof="0" dirty="0">
                <a:solidFill>
                  <a:schemeClr val="tx1"/>
                </a:solidFill>
                <a:latin typeface="+mn-lt"/>
                <a:ea typeface="+mn-ea"/>
                <a:cs typeface="+mn-cs"/>
              </a:defRPr>
            </a:lvl4pPr>
            <a:lvl5pPr algn="l" defTabSz="653164" rtl="0" eaLnBrk="1" latinLnBrk="0" hangingPunct="1">
              <a:lnSpc>
                <a:spcPct val="150000"/>
              </a:lnSpc>
              <a:buClr>
                <a:schemeClr val="accent1"/>
              </a:buClr>
              <a:buFont typeface="Wingdings" panose="05000000000000000000" pitchFamily="2" charset="2"/>
              <a:buChar char="§"/>
              <a:defRPr lang="en-GB" sz="1400" kern="1200" noProof="0" dirty="0">
                <a:solidFill>
                  <a:schemeClr val="tx1"/>
                </a:solidFill>
                <a:latin typeface="+mn-lt"/>
                <a:ea typeface="+mn-ea"/>
                <a:cs typeface="+mn-cs"/>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Inhaltsplatzhalter 10">
            <a:extLst>
              <a:ext uri="{FF2B5EF4-FFF2-40B4-BE49-F238E27FC236}">
                <a16:creationId xmlns:a16="http://schemas.microsoft.com/office/drawing/2014/main" id="{59730076-CBFB-4AAF-9A37-2C6EF40B200E}"/>
              </a:ext>
            </a:extLst>
          </p:cNvPr>
          <p:cNvSpPr>
            <a:spLocks noGrp="1"/>
          </p:cNvSpPr>
          <p:nvPr>
            <p:ph sz="quarter" idx="23"/>
          </p:nvPr>
        </p:nvSpPr>
        <p:spPr>
          <a:xfrm>
            <a:off x="6172200" y="1440000"/>
            <a:ext cx="5715000" cy="4657726"/>
          </a:xfrm>
          <a:prstGeom prst="rect">
            <a:avLst/>
          </a:prstGeom>
        </p:spPr>
        <p:txBody>
          <a:bodyPr>
            <a:normAutofit/>
          </a:bodyPr>
          <a:lstStyle>
            <a:lvl1pPr marL="285750" indent="-285750">
              <a:lnSpc>
                <a:spcPct val="150000"/>
              </a:lnSpc>
              <a:buFontTx/>
              <a:buNone/>
              <a:tabLst/>
              <a:defRPr lang="de-DE" sz="1400" kern="1200" noProof="0" dirty="0">
                <a:solidFill>
                  <a:schemeClr val="tx1"/>
                </a:solidFill>
                <a:latin typeface="+mn-lt"/>
                <a:ea typeface="+mn-ea"/>
                <a:cs typeface="+mn-cs"/>
              </a:defRPr>
            </a:lvl1pPr>
            <a:lvl2pPr marL="349250" indent="-169863">
              <a:lnSpc>
                <a:spcPct val="150000"/>
              </a:lnSpc>
              <a:buFont typeface="Wingdings" panose="05000000000000000000" pitchFamily="2" charset="2"/>
              <a:buChar char="§"/>
              <a:defRPr lang="de-DE" sz="1400" kern="1200" dirty="0">
                <a:solidFill>
                  <a:schemeClr val="tx1"/>
                </a:solidFill>
                <a:latin typeface="+mn-lt"/>
                <a:ea typeface="+mn-ea"/>
                <a:cs typeface="+mn-cs"/>
              </a:defRPr>
            </a:lvl2pPr>
            <a:lvl3pPr marL="661988" indent="-285750">
              <a:lnSpc>
                <a:spcPct val="150000"/>
              </a:lnSpc>
              <a:buFont typeface="Wingdings" panose="05000000000000000000" pitchFamily="2" charset="2"/>
              <a:buChar char="§"/>
              <a:defRPr lang="de-DE" sz="1400" kern="1200" dirty="0">
                <a:solidFill>
                  <a:schemeClr val="tx1"/>
                </a:solidFill>
                <a:latin typeface="+mn-lt"/>
                <a:ea typeface="+mn-ea"/>
                <a:cs typeface="+mn-cs"/>
              </a:defRPr>
            </a:lvl3pPr>
            <a:lvl4pPr>
              <a:lnSpc>
                <a:spcPct val="150000"/>
              </a:lnSpc>
              <a:buFont typeface="Wingdings" panose="05000000000000000000" pitchFamily="2" charset="2"/>
              <a:buChar char="§"/>
              <a:defRPr sz="1400">
                <a:solidFill>
                  <a:schemeClr val="tx1"/>
                </a:solidFill>
              </a:defRPr>
            </a:lvl4pPr>
            <a:lvl5pPr>
              <a:lnSpc>
                <a:spcPct val="150000"/>
              </a:lnSpc>
              <a:buFont typeface="Wingdings" panose="05000000000000000000" pitchFamily="2" charset="2"/>
              <a:buChar char="§"/>
              <a:defRPr sz="1400">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Title 1">
            <a:extLst>
              <a:ext uri="{FF2B5EF4-FFF2-40B4-BE49-F238E27FC236}">
                <a16:creationId xmlns:a16="http://schemas.microsoft.com/office/drawing/2014/main" id="{BC35F625-814E-B843-A1A3-FC33275261B8}"/>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de-DE" noProof="0"/>
              <a:t>Daten Bericht</a:t>
            </a:r>
          </a:p>
        </p:txBody>
      </p:sp>
      <p:sp>
        <p:nvSpPr>
          <p:cNvPr id="21" name="Footer Placeholder 2">
            <a:extLst>
              <a:ext uri="{FF2B5EF4-FFF2-40B4-BE49-F238E27FC236}">
                <a16:creationId xmlns:a16="http://schemas.microsoft.com/office/drawing/2014/main" id="{87ED5F22-2908-944C-998D-788BF997C68E}"/>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22" name="Slide Number Placeholder 3">
            <a:extLst>
              <a:ext uri="{FF2B5EF4-FFF2-40B4-BE49-F238E27FC236}">
                <a16:creationId xmlns:a16="http://schemas.microsoft.com/office/drawing/2014/main" id="{30F1E3AF-D64B-ED42-ABEA-58A99454DF19}"/>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10" name="Inhaltsplatzhalter 26">
            <a:extLst>
              <a:ext uri="{FF2B5EF4-FFF2-40B4-BE49-F238E27FC236}">
                <a16:creationId xmlns:a16="http://schemas.microsoft.com/office/drawing/2014/main" id="{3FD945A5-7D61-E24F-9B99-4F47E64A7397}"/>
              </a:ext>
            </a:extLst>
          </p:cNvPr>
          <p:cNvSpPr>
            <a:spLocks noGrp="1"/>
          </p:cNvSpPr>
          <p:nvPr>
            <p:ph sz="quarter" idx="14" hasCustomPrompt="1"/>
          </p:nvPr>
        </p:nvSpPr>
        <p:spPr>
          <a:xfrm>
            <a:off x="304800" y="6170519"/>
            <a:ext cx="11569800" cy="282817"/>
          </a:xfrm>
          <a:prstGeom prst="rect">
            <a:avLst/>
          </a:prstGeom>
        </p:spPr>
        <p:txBody>
          <a:bodyPr anchor="b">
            <a:noAutofit/>
          </a:bodyPr>
          <a:lstStyle>
            <a:lvl1pPr marL="0" indent="0">
              <a:spcBef>
                <a:spcPts val="0"/>
              </a:spcBef>
              <a:buNone/>
              <a:defRPr sz="800">
                <a:solidFill>
                  <a:schemeClr val="tx2"/>
                </a:solidFill>
              </a:defRPr>
            </a:lvl1pPr>
          </a:lstStyle>
          <a:p>
            <a:r>
              <a:rPr lang="de-CH" dirty="0"/>
              <a:t>Fragenummer: Fragetext</a:t>
            </a:r>
          </a:p>
        </p:txBody>
      </p:sp>
      <p:sp>
        <p:nvSpPr>
          <p:cNvPr id="3" name="Text Placeholder 2">
            <a:extLst>
              <a:ext uri="{FF2B5EF4-FFF2-40B4-BE49-F238E27FC236}">
                <a16:creationId xmlns:a16="http://schemas.microsoft.com/office/drawing/2014/main" id="{23A2EC1E-08F1-4E8D-A333-3105E7D94B15}"/>
              </a:ext>
            </a:extLst>
          </p:cNvPr>
          <p:cNvSpPr>
            <a:spLocks noGrp="1"/>
          </p:cNvSpPr>
          <p:nvPr>
            <p:ph type="body" sz="quarter" idx="24" hasCustomPrompt="1"/>
          </p:nvPr>
        </p:nvSpPr>
        <p:spPr>
          <a:xfrm>
            <a:off x="304800" y="972000"/>
            <a:ext cx="11581200" cy="277200"/>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de-CH" dirty="0"/>
              <a:t>Untertitel</a:t>
            </a:r>
            <a:endParaRPr lang="de-DE" dirty="0"/>
          </a:p>
        </p:txBody>
      </p:sp>
    </p:spTree>
    <p:extLst>
      <p:ext uri="{BB962C8B-B14F-4D97-AF65-F5344CB8AC3E}">
        <p14:creationId xmlns:p14="http://schemas.microsoft.com/office/powerpoint/2010/main" val="2708874921"/>
      </p:ext>
    </p:extLst>
  </p:cSld>
  <p:clrMapOvr>
    <a:masterClrMapping/>
  </p:clrMapOvr>
  <p:extLst>
    <p:ext uri="{DCECCB84-F9BA-43D5-87BE-67443E8EF086}">
      <p15:sldGuideLst xmlns:p15="http://schemas.microsoft.com/office/powerpoint/2012/main">
        <p15:guide id="1" orient="horz" pos="316"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tenbericht | 3 Inhalte mit Frage">
    <p:spTree>
      <p:nvGrpSpPr>
        <p:cNvPr id="1" name=""/>
        <p:cNvGrpSpPr/>
        <p:nvPr/>
      </p:nvGrpSpPr>
      <p:grpSpPr>
        <a:xfrm>
          <a:off x="0" y="0"/>
          <a:ext cx="0" cy="0"/>
          <a:chOff x="0" y="0"/>
          <a:chExt cx="0" cy="0"/>
        </a:xfrm>
      </p:grpSpPr>
      <p:sp>
        <p:nvSpPr>
          <p:cNvPr id="13" name="Inhaltsplatzhalter 10">
            <a:extLst>
              <a:ext uri="{FF2B5EF4-FFF2-40B4-BE49-F238E27FC236}">
                <a16:creationId xmlns:a16="http://schemas.microsoft.com/office/drawing/2014/main" id="{27A76819-F53F-2248-ACAD-56BB93A520CE}"/>
              </a:ext>
            </a:extLst>
          </p:cNvPr>
          <p:cNvSpPr>
            <a:spLocks noGrp="1"/>
          </p:cNvSpPr>
          <p:nvPr>
            <p:ph sz="quarter" idx="22"/>
          </p:nvPr>
        </p:nvSpPr>
        <p:spPr>
          <a:xfrm>
            <a:off x="304800" y="1440000"/>
            <a:ext cx="3657600" cy="4657726"/>
          </a:xfrm>
          <a:prstGeom prst="rect">
            <a:avLst/>
          </a:prstGeom>
        </p:spPr>
        <p:txBody>
          <a:bodyPr>
            <a:normAutofit/>
          </a:bodyPr>
          <a:lstStyle>
            <a:lvl1pPr marL="179388" indent="-179388">
              <a:lnSpc>
                <a:spcPct val="100000"/>
              </a:lnSpc>
              <a:spcBef>
                <a:spcPts val="600"/>
              </a:spcBef>
              <a:buSzPct val="100000"/>
              <a:buFont typeface="Wingdings" panose="05000000000000000000" pitchFamily="2" charset="2"/>
              <a:buChar char="§"/>
              <a:tabLst/>
              <a:defRPr lang="de-DE" sz="1400" kern="1200" noProof="0" dirty="0" smtClean="0">
                <a:solidFill>
                  <a:schemeClr val="tx1"/>
                </a:solidFill>
                <a:latin typeface="+mn-lt"/>
                <a:ea typeface="+mn-ea"/>
                <a:cs typeface="+mn-cs"/>
              </a:defRPr>
            </a:lvl1pPr>
            <a:lvl2pPr marL="358775" indent="-179388">
              <a:lnSpc>
                <a:spcPct val="100000"/>
              </a:lnSpc>
              <a:spcBef>
                <a:spcPts val="600"/>
              </a:spcBef>
              <a:buSzPct val="100000"/>
              <a:buFont typeface="Symbol" panose="05050102010706020507" pitchFamily="18" charset="2"/>
              <a:buChar char="-"/>
              <a:defRPr sz="1400">
                <a:solidFill>
                  <a:schemeClr val="tx1"/>
                </a:solidFill>
              </a:defRPr>
            </a:lvl2pPr>
            <a:lvl3pPr marL="528638" indent="-152400">
              <a:lnSpc>
                <a:spcPct val="100000"/>
              </a:lnSpc>
              <a:spcBef>
                <a:spcPts val="600"/>
              </a:spcBef>
              <a:buSzPct val="100000"/>
              <a:buFont typeface="Symbol" panose="05050102010706020507" pitchFamily="18" charset="2"/>
              <a:buChar char="-"/>
              <a:defRPr sz="1400">
                <a:solidFill>
                  <a:schemeClr val="tx1"/>
                </a:solidFill>
              </a:defRPr>
            </a:lvl3pPr>
            <a:lvl4pPr marL="815975" indent="-152400">
              <a:lnSpc>
                <a:spcPct val="100000"/>
              </a:lnSpc>
              <a:spcBef>
                <a:spcPts val="600"/>
              </a:spcBef>
              <a:buSzPct val="100000"/>
              <a:buFont typeface="Symbol" panose="05050102010706020507" pitchFamily="18" charset="2"/>
              <a:buChar char="-"/>
              <a:defRPr sz="1400">
                <a:solidFill>
                  <a:schemeClr val="tx1"/>
                </a:solidFill>
              </a:defRPr>
            </a:lvl4pPr>
            <a:lvl5pPr marL="1120775" indent="-198438">
              <a:lnSpc>
                <a:spcPct val="100000"/>
              </a:lnSpc>
              <a:spcBef>
                <a:spcPts val="600"/>
              </a:spcBef>
              <a:buSzPct val="100000"/>
              <a:buFont typeface="Symbol" panose="05050102010706020507" pitchFamily="18" charset="2"/>
              <a:buChar char="-"/>
              <a:defRPr sz="1400">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Inhaltsplatzhalter 10">
            <a:extLst>
              <a:ext uri="{FF2B5EF4-FFF2-40B4-BE49-F238E27FC236}">
                <a16:creationId xmlns:a16="http://schemas.microsoft.com/office/drawing/2014/main" id="{C8C237EA-3BB5-4040-B6E7-04CE72F5E213}"/>
              </a:ext>
            </a:extLst>
          </p:cNvPr>
          <p:cNvSpPr>
            <a:spLocks noGrp="1"/>
          </p:cNvSpPr>
          <p:nvPr>
            <p:ph sz="quarter" idx="23"/>
          </p:nvPr>
        </p:nvSpPr>
        <p:spPr>
          <a:xfrm>
            <a:off x="4265662" y="1440000"/>
            <a:ext cx="3657600" cy="4657726"/>
          </a:xfrm>
          <a:prstGeom prst="rect">
            <a:avLst/>
          </a:prstGeom>
        </p:spPr>
        <p:txBody>
          <a:bodyPr>
            <a:normAutofit/>
          </a:bodyPr>
          <a:lstStyle>
            <a:lvl1pPr marL="285750" indent="-285750">
              <a:lnSpc>
                <a:spcPct val="100000"/>
              </a:lnSpc>
              <a:spcBef>
                <a:spcPts val="600"/>
              </a:spcBef>
              <a:buFontTx/>
              <a:buNone/>
              <a:tabLst/>
              <a:defRPr lang="de-DE" sz="1400" kern="1200" noProof="0" dirty="0">
                <a:solidFill>
                  <a:schemeClr val="tx1"/>
                </a:solidFill>
                <a:latin typeface="+mn-lt"/>
                <a:ea typeface="+mn-ea"/>
                <a:cs typeface="+mn-cs"/>
              </a:defRPr>
            </a:lvl1pPr>
            <a:lvl2pPr marL="349250" indent="-169863">
              <a:lnSpc>
                <a:spcPct val="100000"/>
              </a:lnSpc>
              <a:spcBef>
                <a:spcPts val="600"/>
              </a:spcBef>
              <a:buFont typeface="Wingdings" panose="05000000000000000000" pitchFamily="2" charset="2"/>
              <a:buChar char="§"/>
              <a:defRPr lang="de-DE" sz="1400" kern="1200" dirty="0">
                <a:solidFill>
                  <a:schemeClr val="tx1"/>
                </a:solidFill>
                <a:latin typeface="+mn-lt"/>
                <a:ea typeface="+mn-ea"/>
                <a:cs typeface="+mn-cs"/>
              </a:defRPr>
            </a:lvl2pPr>
            <a:lvl3pPr>
              <a:lnSpc>
                <a:spcPct val="100000"/>
              </a:lnSpc>
              <a:spcBef>
                <a:spcPts val="600"/>
              </a:spcBef>
              <a:buFont typeface="Wingdings" panose="05000000000000000000" pitchFamily="2" charset="2"/>
              <a:buChar char="§"/>
              <a:defRPr sz="1400">
                <a:solidFill>
                  <a:schemeClr val="tx1"/>
                </a:solidFill>
              </a:defRPr>
            </a:lvl3pPr>
            <a:lvl4pPr>
              <a:lnSpc>
                <a:spcPct val="100000"/>
              </a:lnSpc>
              <a:spcBef>
                <a:spcPts val="600"/>
              </a:spcBef>
              <a:buFont typeface="Wingdings" panose="05000000000000000000" pitchFamily="2" charset="2"/>
              <a:buChar char="§"/>
              <a:defRPr sz="1400">
                <a:solidFill>
                  <a:schemeClr val="tx1"/>
                </a:solidFill>
              </a:defRPr>
            </a:lvl4pPr>
            <a:lvl5pPr>
              <a:lnSpc>
                <a:spcPct val="100000"/>
              </a:lnSpc>
              <a:spcBef>
                <a:spcPts val="600"/>
              </a:spcBef>
              <a:buFont typeface="Wingdings" panose="05000000000000000000" pitchFamily="2" charset="2"/>
              <a:buChar char="§"/>
              <a:defRPr sz="1400">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Inhaltsplatzhalter 10">
            <a:extLst>
              <a:ext uri="{FF2B5EF4-FFF2-40B4-BE49-F238E27FC236}">
                <a16:creationId xmlns:a16="http://schemas.microsoft.com/office/drawing/2014/main" id="{2404F604-9618-4A1C-AD2F-256163B186A4}"/>
              </a:ext>
            </a:extLst>
          </p:cNvPr>
          <p:cNvSpPr>
            <a:spLocks noGrp="1"/>
          </p:cNvSpPr>
          <p:nvPr>
            <p:ph sz="quarter" idx="24"/>
          </p:nvPr>
        </p:nvSpPr>
        <p:spPr>
          <a:xfrm>
            <a:off x="8226525" y="1440000"/>
            <a:ext cx="3657600" cy="4657726"/>
          </a:xfrm>
          <a:prstGeom prst="rect">
            <a:avLst/>
          </a:prstGeom>
        </p:spPr>
        <p:txBody>
          <a:bodyPr>
            <a:normAutofit/>
          </a:bodyPr>
          <a:lstStyle>
            <a:lvl1pPr marL="285750" indent="-285750">
              <a:lnSpc>
                <a:spcPct val="100000"/>
              </a:lnSpc>
              <a:spcBef>
                <a:spcPts val="600"/>
              </a:spcBef>
              <a:buFontTx/>
              <a:buNone/>
              <a:tabLst/>
              <a:defRPr lang="de-DE" sz="1400" kern="1200" noProof="0" dirty="0">
                <a:solidFill>
                  <a:schemeClr val="tx1"/>
                </a:solidFill>
                <a:latin typeface="+mn-lt"/>
                <a:ea typeface="+mn-ea"/>
                <a:cs typeface="+mn-cs"/>
              </a:defRPr>
            </a:lvl1pPr>
            <a:lvl2pPr marL="349250" indent="-169863">
              <a:lnSpc>
                <a:spcPct val="100000"/>
              </a:lnSpc>
              <a:spcBef>
                <a:spcPts val="600"/>
              </a:spcBef>
              <a:buFont typeface="Wingdings" panose="05000000000000000000" pitchFamily="2" charset="2"/>
              <a:buChar char="§"/>
              <a:defRPr lang="de-DE" sz="1400" kern="1200" dirty="0">
                <a:solidFill>
                  <a:schemeClr val="tx1"/>
                </a:solidFill>
                <a:latin typeface="+mn-lt"/>
                <a:ea typeface="+mn-ea"/>
                <a:cs typeface="+mn-cs"/>
              </a:defRPr>
            </a:lvl2pPr>
            <a:lvl3pPr>
              <a:lnSpc>
                <a:spcPct val="100000"/>
              </a:lnSpc>
              <a:spcBef>
                <a:spcPts val="600"/>
              </a:spcBef>
              <a:buFont typeface="Wingdings" panose="05000000000000000000" pitchFamily="2" charset="2"/>
              <a:buChar char="§"/>
              <a:defRPr sz="1400">
                <a:solidFill>
                  <a:schemeClr val="tx1"/>
                </a:solidFill>
              </a:defRPr>
            </a:lvl3pPr>
            <a:lvl4pPr>
              <a:lnSpc>
                <a:spcPct val="100000"/>
              </a:lnSpc>
              <a:spcBef>
                <a:spcPts val="600"/>
              </a:spcBef>
              <a:buFont typeface="Wingdings" panose="05000000000000000000" pitchFamily="2" charset="2"/>
              <a:buChar char="§"/>
              <a:defRPr sz="1400">
                <a:solidFill>
                  <a:schemeClr val="tx1"/>
                </a:solidFill>
              </a:defRPr>
            </a:lvl4pPr>
            <a:lvl5pPr>
              <a:lnSpc>
                <a:spcPct val="100000"/>
              </a:lnSpc>
              <a:spcBef>
                <a:spcPts val="600"/>
              </a:spcBef>
              <a:buFont typeface="Wingdings" panose="05000000000000000000" pitchFamily="2" charset="2"/>
              <a:buChar char="§"/>
              <a:defRPr sz="1400">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Title 1">
            <a:extLst>
              <a:ext uri="{FF2B5EF4-FFF2-40B4-BE49-F238E27FC236}">
                <a16:creationId xmlns:a16="http://schemas.microsoft.com/office/drawing/2014/main" id="{847EE14B-0249-114B-9378-223940188E11}"/>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de-DE" noProof="0"/>
              <a:t>Daten Bericht</a:t>
            </a:r>
          </a:p>
        </p:txBody>
      </p:sp>
      <p:sp>
        <p:nvSpPr>
          <p:cNvPr id="22" name="Footer Placeholder 2">
            <a:extLst>
              <a:ext uri="{FF2B5EF4-FFF2-40B4-BE49-F238E27FC236}">
                <a16:creationId xmlns:a16="http://schemas.microsoft.com/office/drawing/2014/main" id="{B74D673B-D1E2-5A4B-8549-ECC672CBEDCC}"/>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23" name="Slide Number Placeholder 3">
            <a:extLst>
              <a:ext uri="{FF2B5EF4-FFF2-40B4-BE49-F238E27FC236}">
                <a16:creationId xmlns:a16="http://schemas.microsoft.com/office/drawing/2014/main" id="{D51A1D7E-9FFB-3942-BCBC-A19AC8DC6187}"/>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11" name="Inhaltsplatzhalter 26">
            <a:extLst>
              <a:ext uri="{FF2B5EF4-FFF2-40B4-BE49-F238E27FC236}">
                <a16:creationId xmlns:a16="http://schemas.microsoft.com/office/drawing/2014/main" id="{D45CBEAC-92C4-584A-8F2D-5843A30B55D7}"/>
              </a:ext>
            </a:extLst>
          </p:cNvPr>
          <p:cNvSpPr>
            <a:spLocks noGrp="1"/>
          </p:cNvSpPr>
          <p:nvPr>
            <p:ph sz="quarter" idx="14" hasCustomPrompt="1"/>
          </p:nvPr>
        </p:nvSpPr>
        <p:spPr>
          <a:xfrm>
            <a:off x="304800" y="6170519"/>
            <a:ext cx="11569800" cy="282817"/>
          </a:xfrm>
          <a:prstGeom prst="rect">
            <a:avLst/>
          </a:prstGeom>
        </p:spPr>
        <p:txBody>
          <a:bodyPr anchor="b">
            <a:noAutofit/>
          </a:bodyPr>
          <a:lstStyle>
            <a:lvl1pPr marL="0" indent="0">
              <a:spcBef>
                <a:spcPts val="0"/>
              </a:spcBef>
              <a:buNone/>
              <a:defRPr sz="800">
                <a:solidFill>
                  <a:schemeClr val="tx2"/>
                </a:solidFill>
              </a:defRPr>
            </a:lvl1pPr>
          </a:lstStyle>
          <a:p>
            <a:r>
              <a:rPr lang="de-CH" dirty="0"/>
              <a:t>Fragenummer: Fragetext</a:t>
            </a:r>
          </a:p>
        </p:txBody>
      </p:sp>
      <p:sp>
        <p:nvSpPr>
          <p:cNvPr id="3" name="Text Placeholder 2">
            <a:extLst>
              <a:ext uri="{FF2B5EF4-FFF2-40B4-BE49-F238E27FC236}">
                <a16:creationId xmlns:a16="http://schemas.microsoft.com/office/drawing/2014/main" id="{6155FF92-5AEF-4F93-983E-742D91AFD19D}"/>
              </a:ext>
            </a:extLst>
          </p:cNvPr>
          <p:cNvSpPr>
            <a:spLocks noGrp="1"/>
          </p:cNvSpPr>
          <p:nvPr>
            <p:ph type="body" sz="quarter" idx="25" hasCustomPrompt="1"/>
          </p:nvPr>
        </p:nvSpPr>
        <p:spPr>
          <a:xfrm>
            <a:off x="304800" y="972000"/>
            <a:ext cx="11581200" cy="277200"/>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de-CH" dirty="0"/>
              <a:t>Untertitel</a:t>
            </a:r>
            <a:endParaRPr lang="de-DE" dirty="0"/>
          </a:p>
        </p:txBody>
      </p:sp>
    </p:spTree>
    <p:extLst>
      <p:ext uri="{BB962C8B-B14F-4D97-AF65-F5344CB8AC3E}">
        <p14:creationId xmlns:p14="http://schemas.microsoft.com/office/powerpoint/2010/main" val="191254900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atenbericht | 4 Inhaltte mit Frage">
    <p:spTree>
      <p:nvGrpSpPr>
        <p:cNvPr id="1" name=""/>
        <p:cNvGrpSpPr/>
        <p:nvPr/>
      </p:nvGrpSpPr>
      <p:grpSpPr>
        <a:xfrm>
          <a:off x="0" y="0"/>
          <a:ext cx="0" cy="0"/>
          <a:chOff x="0" y="0"/>
          <a:chExt cx="0" cy="0"/>
        </a:xfrm>
      </p:grpSpPr>
      <p:sp>
        <p:nvSpPr>
          <p:cNvPr id="13" name="Inhaltsplatzhalter 10">
            <a:extLst>
              <a:ext uri="{FF2B5EF4-FFF2-40B4-BE49-F238E27FC236}">
                <a16:creationId xmlns:a16="http://schemas.microsoft.com/office/drawing/2014/main" id="{27A76819-F53F-2248-ACAD-56BB93A520CE}"/>
              </a:ext>
            </a:extLst>
          </p:cNvPr>
          <p:cNvSpPr>
            <a:spLocks noGrp="1"/>
          </p:cNvSpPr>
          <p:nvPr>
            <p:ph sz="quarter" idx="22"/>
          </p:nvPr>
        </p:nvSpPr>
        <p:spPr>
          <a:xfrm>
            <a:off x="304800" y="1466850"/>
            <a:ext cx="2819400" cy="4657726"/>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Inhaltsplatzhalter 10">
            <a:extLst>
              <a:ext uri="{FF2B5EF4-FFF2-40B4-BE49-F238E27FC236}">
                <a16:creationId xmlns:a16="http://schemas.microsoft.com/office/drawing/2014/main" id="{F082E77B-CACD-4D40-BCB1-A6C1AA803667}"/>
              </a:ext>
            </a:extLst>
          </p:cNvPr>
          <p:cNvSpPr>
            <a:spLocks noGrp="1"/>
          </p:cNvSpPr>
          <p:nvPr>
            <p:ph sz="quarter" idx="23"/>
          </p:nvPr>
        </p:nvSpPr>
        <p:spPr>
          <a:xfrm>
            <a:off x="3224775" y="1466850"/>
            <a:ext cx="2819400" cy="4657726"/>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Inhaltsplatzhalter 10">
            <a:extLst>
              <a:ext uri="{FF2B5EF4-FFF2-40B4-BE49-F238E27FC236}">
                <a16:creationId xmlns:a16="http://schemas.microsoft.com/office/drawing/2014/main" id="{0D4BA6C5-B9C5-4DE2-92F9-FA336A2CDE14}"/>
              </a:ext>
            </a:extLst>
          </p:cNvPr>
          <p:cNvSpPr>
            <a:spLocks noGrp="1"/>
          </p:cNvSpPr>
          <p:nvPr>
            <p:ph sz="quarter" idx="24"/>
          </p:nvPr>
        </p:nvSpPr>
        <p:spPr>
          <a:xfrm>
            <a:off x="6144750" y="1466850"/>
            <a:ext cx="2819400" cy="4657726"/>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Inhaltsplatzhalter 10">
            <a:extLst>
              <a:ext uri="{FF2B5EF4-FFF2-40B4-BE49-F238E27FC236}">
                <a16:creationId xmlns:a16="http://schemas.microsoft.com/office/drawing/2014/main" id="{C155ED92-C045-4CD2-9B5F-469B7D1772E4}"/>
              </a:ext>
            </a:extLst>
          </p:cNvPr>
          <p:cNvSpPr>
            <a:spLocks noGrp="1"/>
          </p:cNvSpPr>
          <p:nvPr>
            <p:ph sz="quarter" idx="25"/>
          </p:nvPr>
        </p:nvSpPr>
        <p:spPr>
          <a:xfrm>
            <a:off x="9064725" y="1466850"/>
            <a:ext cx="2819400" cy="4657726"/>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Title 1">
            <a:extLst>
              <a:ext uri="{FF2B5EF4-FFF2-40B4-BE49-F238E27FC236}">
                <a16:creationId xmlns:a16="http://schemas.microsoft.com/office/drawing/2014/main" id="{13924D79-F25D-AD43-B5DD-EBF8B56F73E2}"/>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de-DE" noProof="0" dirty="0"/>
              <a:t>Daten Bericht</a:t>
            </a:r>
          </a:p>
        </p:txBody>
      </p:sp>
      <p:sp>
        <p:nvSpPr>
          <p:cNvPr id="20" name="Footer Placeholder 2">
            <a:extLst>
              <a:ext uri="{FF2B5EF4-FFF2-40B4-BE49-F238E27FC236}">
                <a16:creationId xmlns:a16="http://schemas.microsoft.com/office/drawing/2014/main" id="{C4E703A0-4D87-4842-9E29-005AAFFC8589}"/>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24" name="Slide Number Placeholder 3">
            <a:extLst>
              <a:ext uri="{FF2B5EF4-FFF2-40B4-BE49-F238E27FC236}">
                <a16:creationId xmlns:a16="http://schemas.microsoft.com/office/drawing/2014/main" id="{55112402-D7CF-C347-B87E-60BA625462EE}"/>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12" name="Inhaltsplatzhalter 26">
            <a:extLst>
              <a:ext uri="{FF2B5EF4-FFF2-40B4-BE49-F238E27FC236}">
                <a16:creationId xmlns:a16="http://schemas.microsoft.com/office/drawing/2014/main" id="{E5BDCC7C-0A79-4C4C-9EA1-1CEE8E3F7918}"/>
              </a:ext>
            </a:extLst>
          </p:cNvPr>
          <p:cNvSpPr>
            <a:spLocks noGrp="1"/>
          </p:cNvSpPr>
          <p:nvPr>
            <p:ph sz="quarter" idx="14" hasCustomPrompt="1"/>
          </p:nvPr>
        </p:nvSpPr>
        <p:spPr>
          <a:xfrm>
            <a:off x="304800" y="6170519"/>
            <a:ext cx="11569800" cy="282817"/>
          </a:xfrm>
          <a:prstGeom prst="rect">
            <a:avLst/>
          </a:prstGeom>
        </p:spPr>
        <p:txBody>
          <a:bodyPr anchor="b">
            <a:noAutofit/>
          </a:bodyPr>
          <a:lstStyle>
            <a:lvl1pPr marL="0" indent="0">
              <a:spcBef>
                <a:spcPts val="0"/>
              </a:spcBef>
              <a:buNone/>
              <a:defRPr sz="800">
                <a:solidFill>
                  <a:schemeClr val="tx2"/>
                </a:solidFill>
              </a:defRPr>
            </a:lvl1pPr>
          </a:lstStyle>
          <a:p>
            <a:r>
              <a:rPr lang="de-CH" dirty="0"/>
              <a:t>Fragenummer: Fragetext</a:t>
            </a:r>
          </a:p>
        </p:txBody>
      </p:sp>
      <p:sp>
        <p:nvSpPr>
          <p:cNvPr id="3" name="Text Placeholder 2">
            <a:extLst>
              <a:ext uri="{FF2B5EF4-FFF2-40B4-BE49-F238E27FC236}">
                <a16:creationId xmlns:a16="http://schemas.microsoft.com/office/drawing/2014/main" id="{22B9937F-4775-47D7-8D2F-3FE189FA84F8}"/>
              </a:ext>
            </a:extLst>
          </p:cNvPr>
          <p:cNvSpPr>
            <a:spLocks noGrp="1"/>
          </p:cNvSpPr>
          <p:nvPr>
            <p:ph type="body" sz="quarter" idx="26" hasCustomPrompt="1"/>
          </p:nvPr>
        </p:nvSpPr>
        <p:spPr>
          <a:xfrm>
            <a:off x="304800" y="972000"/>
            <a:ext cx="11579225" cy="277200"/>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de-CH" dirty="0"/>
              <a:t>Untertitel</a:t>
            </a:r>
            <a:endParaRPr lang="de-DE" dirty="0"/>
          </a:p>
        </p:txBody>
      </p:sp>
    </p:spTree>
    <p:extLst>
      <p:ext uri="{BB962C8B-B14F-4D97-AF65-F5344CB8AC3E}">
        <p14:creationId xmlns:p14="http://schemas.microsoft.com/office/powerpoint/2010/main" val="29193989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Datenbericht | 4 Quadranten mit Frage">
    <p:spTree>
      <p:nvGrpSpPr>
        <p:cNvPr id="1" name=""/>
        <p:cNvGrpSpPr/>
        <p:nvPr/>
      </p:nvGrpSpPr>
      <p:grpSpPr>
        <a:xfrm>
          <a:off x="0" y="0"/>
          <a:ext cx="0" cy="0"/>
          <a:chOff x="0" y="0"/>
          <a:chExt cx="0" cy="0"/>
        </a:xfrm>
      </p:grpSpPr>
      <p:sp>
        <p:nvSpPr>
          <p:cNvPr id="13" name="Inhaltsplatzhalter 10">
            <a:extLst>
              <a:ext uri="{FF2B5EF4-FFF2-40B4-BE49-F238E27FC236}">
                <a16:creationId xmlns:a16="http://schemas.microsoft.com/office/drawing/2014/main" id="{27A76819-F53F-2248-ACAD-56BB93A520CE}"/>
              </a:ext>
            </a:extLst>
          </p:cNvPr>
          <p:cNvSpPr>
            <a:spLocks noGrp="1"/>
          </p:cNvSpPr>
          <p:nvPr>
            <p:ph sz="quarter" idx="22"/>
          </p:nvPr>
        </p:nvSpPr>
        <p:spPr>
          <a:xfrm>
            <a:off x="304800" y="1466850"/>
            <a:ext cx="5715000" cy="2196403"/>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Inhaltsplatzhalter 10">
            <a:extLst>
              <a:ext uri="{FF2B5EF4-FFF2-40B4-BE49-F238E27FC236}">
                <a16:creationId xmlns:a16="http://schemas.microsoft.com/office/drawing/2014/main" id="{B6EB79FC-FDE8-4A82-A65D-6ED0EF1DC282}"/>
              </a:ext>
            </a:extLst>
          </p:cNvPr>
          <p:cNvSpPr>
            <a:spLocks noGrp="1"/>
          </p:cNvSpPr>
          <p:nvPr>
            <p:ph sz="quarter" idx="23"/>
          </p:nvPr>
        </p:nvSpPr>
        <p:spPr>
          <a:xfrm>
            <a:off x="304799" y="3857628"/>
            <a:ext cx="5714999" cy="2196403"/>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Inhaltsplatzhalter 10">
            <a:extLst>
              <a:ext uri="{FF2B5EF4-FFF2-40B4-BE49-F238E27FC236}">
                <a16:creationId xmlns:a16="http://schemas.microsoft.com/office/drawing/2014/main" id="{7D688B48-1F43-42DA-B3E9-E2065E8FB1B7}"/>
              </a:ext>
            </a:extLst>
          </p:cNvPr>
          <p:cNvSpPr>
            <a:spLocks noGrp="1"/>
          </p:cNvSpPr>
          <p:nvPr>
            <p:ph sz="quarter" idx="25"/>
          </p:nvPr>
        </p:nvSpPr>
        <p:spPr>
          <a:xfrm>
            <a:off x="6172202" y="1476375"/>
            <a:ext cx="5715000" cy="2196403"/>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Inhaltsplatzhalter 10">
            <a:extLst>
              <a:ext uri="{FF2B5EF4-FFF2-40B4-BE49-F238E27FC236}">
                <a16:creationId xmlns:a16="http://schemas.microsoft.com/office/drawing/2014/main" id="{8011108B-4200-4FF3-827C-7F1CAB2AA325}"/>
              </a:ext>
            </a:extLst>
          </p:cNvPr>
          <p:cNvSpPr>
            <a:spLocks noGrp="1"/>
          </p:cNvSpPr>
          <p:nvPr>
            <p:ph sz="quarter" idx="27"/>
          </p:nvPr>
        </p:nvSpPr>
        <p:spPr>
          <a:xfrm>
            <a:off x="6172202" y="3857624"/>
            <a:ext cx="5715000" cy="2196403"/>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Title 1">
            <a:extLst>
              <a:ext uri="{FF2B5EF4-FFF2-40B4-BE49-F238E27FC236}">
                <a16:creationId xmlns:a16="http://schemas.microsoft.com/office/drawing/2014/main" id="{410D1870-1B46-8E49-8EAD-6669D16A3E1F}"/>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de-DE" noProof="0" dirty="0"/>
              <a:t>Daten Bericht</a:t>
            </a:r>
          </a:p>
        </p:txBody>
      </p:sp>
      <p:sp>
        <p:nvSpPr>
          <p:cNvPr id="21" name="Footer Placeholder 2">
            <a:extLst>
              <a:ext uri="{FF2B5EF4-FFF2-40B4-BE49-F238E27FC236}">
                <a16:creationId xmlns:a16="http://schemas.microsoft.com/office/drawing/2014/main" id="{A1E1EAEF-D90D-6449-BA30-D71C6BDD366A}"/>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22" name="Slide Number Placeholder 3">
            <a:extLst>
              <a:ext uri="{FF2B5EF4-FFF2-40B4-BE49-F238E27FC236}">
                <a16:creationId xmlns:a16="http://schemas.microsoft.com/office/drawing/2014/main" id="{314306D9-52B0-0A40-A9CD-B033368B9777}"/>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12" name="Inhaltsplatzhalter 26">
            <a:extLst>
              <a:ext uri="{FF2B5EF4-FFF2-40B4-BE49-F238E27FC236}">
                <a16:creationId xmlns:a16="http://schemas.microsoft.com/office/drawing/2014/main" id="{D1AA89D2-6F59-0F4A-837E-7367F5955D21}"/>
              </a:ext>
            </a:extLst>
          </p:cNvPr>
          <p:cNvSpPr>
            <a:spLocks noGrp="1"/>
          </p:cNvSpPr>
          <p:nvPr>
            <p:ph sz="quarter" idx="14" hasCustomPrompt="1"/>
          </p:nvPr>
        </p:nvSpPr>
        <p:spPr>
          <a:xfrm>
            <a:off x="304800" y="6170519"/>
            <a:ext cx="11569800" cy="282817"/>
          </a:xfrm>
          <a:prstGeom prst="rect">
            <a:avLst/>
          </a:prstGeom>
        </p:spPr>
        <p:txBody>
          <a:bodyPr anchor="b">
            <a:noAutofit/>
          </a:bodyPr>
          <a:lstStyle>
            <a:lvl1pPr marL="0" indent="0">
              <a:spcBef>
                <a:spcPts val="0"/>
              </a:spcBef>
              <a:buNone/>
              <a:defRPr sz="800">
                <a:solidFill>
                  <a:schemeClr val="tx2"/>
                </a:solidFill>
              </a:defRPr>
            </a:lvl1pPr>
          </a:lstStyle>
          <a:p>
            <a:r>
              <a:rPr lang="de-CH" dirty="0"/>
              <a:t>Fragenummer: Fragetext</a:t>
            </a:r>
          </a:p>
        </p:txBody>
      </p:sp>
      <p:sp>
        <p:nvSpPr>
          <p:cNvPr id="3" name="Text Placeholder 2">
            <a:extLst>
              <a:ext uri="{FF2B5EF4-FFF2-40B4-BE49-F238E27FC236}">
                <a16:creationId xmlns:a16="http://schemas.microsoft.com/office/drawing/2014/main" id="{2BEF2018-C216-41BF-8A7D-BE174582C678}"/>
              </a:ext>
            </a:extLst>
          </p:cNvPr>
          <p:cNvSpPr>
            <a:spLocks noGrp="1"/>
          </p:cNvSpPr>
          <p:nvPr>
            <p:ph type="body" sz="quarter" idx="28" hasCustomPrompt="1"/>
          </p:nvPr>
        </p:nvSpPr>
        <p:spPr>
          <a:xfrm>
            <a:off x="304800" y="972000"/>
            <a:ext cx="11582400" cy="277200"/>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de-CH" dirty="0"/>
              <a:t>Untertitel</a:t>
            </a:r>
            <a:endParaRPr lang="de-DE" dirty="0"/>
          </a:p>
        </p:txBody>
      </p:sp>
    </p:spTree>
    <p:extLst>
      <p:ext uri="{BB962C8B-B14F-4D97-AF65-F5344CB8AC3E}">
        <p14:creationId xmlns:p14="http://schemas.microsoft.com/office/powerpoint/2010/main" val="7413182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atenbericht | 6 Quadranten mit Frage">
    <p:spTree>
      <p:nvGrpSpPr>
        <p:cNvPr id="1" name=""/>
        <p:cNvGrpSpPr/>
        <p:nvPr/>
      </p:nvGrpSpPr>
      <p:grpSpPr>
        <a:xfrm>
          <a:off x="0" y="0"/>
          <a:ext cx="0" cy="0"/>
          <a:chOff x="0" y="0"/>
          <a:chExt cx="0" cy="0"/>
        </a:xfrm>
      </p:grpSpPr>
      <p:sp>
        <p:nvSpPr>
          <p:cNvPr id="13" name="Inhaltsplatzhalter 10">
            <a:extLst>
              <a:ext uri="{FF2B5EF4-FFF2-40B4-BE49-F238E27FC236}">
                <a16:creationId xmlns:a16="http://schemas.microsoft.com/office/drawing/2014/main" id="{27A76819-F53F-2248-ACAD-56BB93A520CE}"/>
              </a:ext>
            </a:extLst>
          </p:cNvPr>
          <p:cNvSpPr>
            <a:spLocks noGrp="1"/>
          </p:cNvSpPr>
          <p:nvPr>
            <p:ph sz="quarter" idx="22"/>
          </p:nvPr>
        </p:nvSpPr>
        <p:spPr>
          <a:xfrm>
            <a:off x="304800" y="1466851"/>
            <a:ext cx="3733800" cy="2196406"/>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Inhaltsplatzhalter 10">
            <a:extLst>
              <a:ext uri="{FF2B5EF4-FFF2-40B4-BE49-F238E27FC236}">
                <a16:creationId xmlns:a16="http://schemas.microsoft.com/office/drawing/2014/main" id="{B6EB79FC-FDE8-4A82-A65D-6ED0EF1DC282}"/>
              </a:ext>
            </a:extLst>
          </p:cNvPr>
          <p:cNvSpPr>
            <a:spLocks noGrp="1"/>
          </p:cNvSpPr>
          <p:nvPr>
            <p:ph sz="quarter" idx="23"/>
          </p:nvPr>
        </p:nvSpPr>
        <p:spPr>
          <a:xfrm>
            <a:off x="304800" y="3857629"/>
            <a:ext cx="3733800" cy="2196406"/>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Inhaltsplatzhalter 10">
            <a:extLst>
              <a:ext uri="{FF2B5EF4-FFF2-40B4-BE49-F238E27FC236}">
                <a16:creationId xmlns:a16="http://schemas.microsoft.com/office/drawing/2014/main" id="{8511FB52-BAFB-40BA-A50D-EBD71B914BE5}"/>
              </a:ext>
            </a:extLst>
          </p:cNvPr>
          <p:cNvSpPr>
            <a:spLocks noGrp="1"/>
          </p:cNvSpPr>
          <p:nvPr>
            <p:ph sz="quarter" idx="24"/>
          </p:nvPr>
        </p:nvSpPr>
        <p:spPr>
          <a:xfrm>
            <a:off x="4229101" y="1465019"/>
            <a:ext cx="3733800" cy="2196406"/>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Inhaltsplatzhalter 10">
            <a:extLst>
              <a:ext uri="{FF2B5EF4-FFF2-40B4-BE49-F238E27FC236}">
                <a16:creationId xmlns:a16="http://schemas.microsoft.com/office/drawing/2014/main" id="{7D688B48-1F43-42DA-B3E9-E2065E8FB1B7}"/>
              </a:ext>
            </a:extLst>
          </p:cNvPr>
          <p:cNvSpPr>
            <a:spLocks noGrp="1"/>
          </p:cNvSpPr>
          <p:nvPr>
            <p:ph sz="quarter" idx="25"/>
          </p:nvPr>
        </p:nvSpPr>
        <p:spPr>
          <a:xfrm>
            <a:off x="8153402" y="1476376"/>
            <a:ext cx="3733800" cy="2196406"/>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Inhaltsplatzhalter 10">
            <a:extLst>
              <a:ext uri="{FF2B5EF4-FFF2-40B4-BE49-F238E27FC236}">
                <a16:creationId xmlns:a16="http://schemas.microsoft.com/office/drawing/2014/main" id="{572EBD1D-CE6F-4685-967A-BF0044F0FE9D}"/>
              </a:ext>
            </a:extLst>
          </p:cNvPr>
          <p:cNvSpPr>
            <a:spLocks noGrp="1"/>
          </p:cNvSpPr>
          <p:nvPr>
            <p:ph sz="quarter" idx="26"/>
          </p:nvPr>
        </p:nvSpPr>
        <p:spPr>
          <a:xfrm>
            <a:off x="4229101" y="3857626"/>
            <a:ext cx="3733800" cy="2196406"/>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Inhaltsplatzhalter 10">
            <a:extLst>
              <a:ext uri="{FF2B5EF4-FFF2-40B4-BE49-F238E27FC236}">
                <a16:creationId xmlns:a16="http://schemas.microsoft.com/office/drawing/2014/main" id="{8011108B-4200-4FF3-827C-7F1CAB2AA325}"/>
              </a:ext>
            </a:extLst>
          </p:cNvPr>
          <p:cNvSpPr>
            <a:spLocks noGrp="1"/>
          </p:cNvSpPr>
          <p:nvPr>
            <p:ph sz="quarter" idx="27"/>
          </p:nvPr>
        </p:nvSpPr>
        <p:spPr>
          <a:xfrm>
            <a:off x="8153402" y="3857625"/>
            <a:ext cx="3733800" cy="2196406"/>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Title 1">
            <a:extLst>
              <a:ext uri="{FF2B5EF4-FFF2-40B4-BE49-F238E27FC236}">
                <a16:creationId xmlns:a16="http://schemas.microsoft.com/office/drawing/2014/main" id="{36C11127-A1FA-F844-B53A-5C740E189875}"/>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de-DE" noProof="0"/>
              <a:t>Daten Bericht</a:t>
            </a:r>
          </a:p>
        </p:txBody>
      </p:sp>
      <p:sp>
        <p:nvSpPr>
          <p:cNvPr id="21" name="Footer Placeholder 2">
            <a:extLst>
              <a:ext uri="{FF2B5EF4-FFF2-40B4-BE49-F238E27FC236}">
                <a16:creationId xmlns:a16="http://schemas.microsoft.com/office/drawing/2014/main" id="{304D1A81-95BA-C44E-8557-AD954CD86D68}"/>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22" name="Slide Number Placeholder 3">
            <a:extLst>
              <a:ext uri="{FF2B5EF4-FFF2-40B4-BE49-F238E27FC236}">
                <a16:creationId xmlns:a16="http://schemas.microsoft.com/office/drawing/2014/main" id="{24C31BD2-D142-9446-A4FD-710472CAE851}"/>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18" name="Inhaltsplatzhalter 26">
            <a:extLst>
              <a:ext uri="{FF2B5EF4-FFF2-40B4-BE49-F238E27FC236}">
                <a16:creationId xmlns:a16="http://schemas.microsoft.com/office/drawing/2014/main" id="{B4E377C4-737F-DD40-BE85-3CA47BAE92D7}"/>
              </a:ext>
            </a:extLst>
          </p:cNvPr>
          <p:cNvSpPr>
            <a:spLocks noGrp="1"/>
          </p:cNvSpPr>
          <p:nvPr>
            <p:ph sz="quarter" idx="14" hasCustomPrompt="1"/>
          </p:nvPr>
        </p:nvSpPr>
        <p:spPr>
          <a:xfrm>
            <a:off x="304800" y="6170519"/>
            <a:ext cx="11569800" cy="282817"/>
          </a:xfrm>
          <a:prstGeom prst="rect">
            <a:avLst/>
          </a:prstGeom>
        </p:spPr>
        <p:txBody>
          <a:bodyPr anchor="b">
            <a:noAutofit/>
          </a:bodyPr>
          <a:lstStyle>
            <a:lvl1pPr marL="0" indent="0">
              <a:spcBef>
                <a:spcPts val="0"/>
              </a:spcBef>
              <a:buNone/>
              <a:defRPr sz="800">
                <a:solidFill>
                  <a:schemeClr val="tx2"/>
                </a:solidFill>
              </a:defRPr>
            </a:lvl1pPr>
          </a:lstStyle>
          <a:p>
            <a:r>
              <a:rPr lang="de-CH" dirty="0"/>
              <a:t>Fragenummer: Fragetext</a:t>
            </a:r>
          </a:p>
        </p:txBody>
      </p:sp>
      <p:sp>
        <p:nvSpPr>
          <p:cNvPr id="3" name="Text Placeholder 2">
            <a:extLst>
              <a:ext uri="{FF2B5EF4-FFF2-40B4-BE49-F238E27FC236}">
                <a16:creationId xmlns:a16="http://schemas.microsoft.com/office/drawing/2014/main" id="{A22EE15F-82BB-4F9D-9D33-643AA53E2E5E}"/>
              </a:ext>
            </a:extLst>
          </p:cNvPr>
          <p:cNvSpPr>
            <a:spLocks noGrp="1"/>
          </p:cNvSpPr>
          <p:nvPr>
            <p:ph type="body" sz="quarter" idx="28" hasCustomPrompt="1"/>
          </p:nvPr>
        </p:nvSpPr>
        <p:spPr>
          <a:xfrm>
            <a:off x="304800" y="972000"/>
            <a:ext cx="11581200" cy="277200"/>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de-CH" dirty="0"/>
              <a:t>Untertitel</a:t>
            </a:r>
            <a:endParaRPr lang="de-DE" dirty="0"/>
          </a:p>
        </p:txBody>
      </p:sp>
    </p:spTree>
    <p:extLst>
      <p:ext uri="{BB962C8B-B14F-4D97-AF65-F5344CB8AC3E}">
        <p14:creationId xmlns:p14="http://schemas.microsoft.com/office/powerpoint/2010/main" val="35754477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Daten Bericht | Inhalt mit Frage">
    <p:spTree>
      <p:nvGrpSpPr>
        <p:cNvPr id="1" name=""/>
        <p:cNvGrpSpPr/>
        <p:nvPr/>
      </p:nvGrpSpPr>
      <p:grpSpPr>
        <a:xfrm>
          <a:off x="0" y="0"/>
          <a:ext cx="0" cy="0"/>
          <a:chOff x="0" y="0"/>
          <a:chExt cx="0" cy="0"/>
        </a:xfrm>
      </p:grpSpPr>
      <p:sp>
        <p:nvSpPr>
          <p:cNvPr id="7" name="Inhaltsplatzhalter 10">
            <a:extLst>
              <a:ext uri="{FF2B5EF4-FFF2-40B4-BE49-F238E27FC236}">
                <a16:creationId xmlns:a16="http://schemas.microsoft.com/office/drawing/2014/main" id="{F368137C-B12A-4454-81D9-A0EA0EF36ACD}"/>
              </a:ext>
            </a:extLst>
          </p:cNvPr>
          <p:cNvSpPr>
            <a:spLocks noGrp="1"/>
          </p:cNvSpPr>
          <p:nvPr>
            <p:ph sz="quarter" idx="22"/>
          </p:nvPr>
        </p:nvSpPr>
        <p:spPr>
          <a:xfrm>
            <a:off x="311100" y="1468802"/>
            <a:ext cx="11576100" cy="4655773"/>
          </a:xfrm>
          <a:prstGeom prst="rect">
            <a:avLst/>
          </a:prstGeom>
        </p:spPr>
        <p:txBody>
          <a:bodyPr/>
          <a:lstStyle>
            <a:lvl1pPr marL="17010" indent="-17010">
              <a:lnSpc>
                <a:spcPct val="150000"/>
              </a:lnSpc>
              <a:buFontTx/>
              <a:buNone/>
              <a:tabLst/>
              <a:defRPr sz="1571">
                <a:solidFill>
                  <a:schemeClr val="tx1"/>
                </a:solidFill>
              </a:defRPr>
            </a:lvl1pPr>
            <a:lvl2pPr marL="349250" indent="-169863">
              <a:lnSpc>
                <a:spcPct val="150000"/>
              </a:lnSpc>
              <a:buFont typeface="Symbol" panose="05050102010706020507" pitchFamily="18" charset="2"/>
              <a:buChar char="-"/>
              <a:defRPr>
                <a:solidFill>
                  <a:schemeClr val="tx1"/>
                </a:solidFill>
              </a:defRPr>
            </a:lvl2pPr>
            <a:lvl3pPr marL="573088" indent="-204788">
              <a:lnSpc>
                <a:spcPct val="150000"/>
              </a:lnSpc>
              <a:buFont typeface="Symbol" panose="05050102010706020507" pitchFamily="18" charset="2"/>
              <a:buChar char="-"/>
              <a:defRPr>
                <a:solidFill>
                  <a:schemeClr val="tx1"/>
                </a:solidFill>
              </a:defRPr>
            </a:lvl3pPr>
            <a:lvl4pPr marL="798513" indent="-233363">
              <a:lnSpc>
                <a:spcPct val="150000"/>
              </a:lnSpc>
              <a:buFont typeface="Symbol" panose="05050102010706020507" pitchFamily="18" charset="2"/>
              <a:buChar char="-"/>
              <a:defRPr>
                <a:solidFill>
                  <a:schemeClr val="tx1"/>
                </a:solidFill>
              </a:defRPr>
            </a:lvl4pPr>
            <a:lvl5pPr marL="1066800" indent="-233363">
              <a:lnSpc>
                <a:spcPct val="150000"/>
              </a:lnSpc>
              <a:buFont typeface="Symbol" panose="05050102010706020507" pitchFamily="18" charset="2"/>
              <a:buChar char="-"/>
              <a:defRPr>
                <a:solidFill>
                  <a:schemeClr val="tx1"/>
                </a:solidFill>
              </a:defRPr>
            </a:lvl5p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itle 1">
            <a:extLst>
              <a:ext uri="{FF2B5EF4-FFF2-40B4-BE49-F238E27FC236}">
                <a16:creationId xmlns:a16="http://schemas.microsoft.com/office/drawing/2014/main" id="{5F239397-7B01-F847-826D-8106DD244F27}"/>
              </a:ext>
            </a:extLst>
          </p:cNvPr>
          <p:cNvSpPr>
            <a:spLocks noGrp="1"/>
          </p:cNvSpPr>
          <p:nvPr>
            <p:ph type="title" hasCustomPrompt="1"/>
          </p:nvPr>
        </p:nvSpPr>
        <p:spPr>
          <a:xfrm>
            <a:off x="304800" y="612000"/>
            <a:ext cx="11582400" cy="337491"/>
          </a:xfrm>
          <a:prstGeom prst="rect">
            <a:avLst/>
          </a:prstGeom>
        </p:spPr>
        <p:txBody>
          <a:bodyPr lIns="0" tIns="0" bIns="0" anchor="b"/>
          <a:lstStyle>
            <a:lvl1pPr marL="0" algn="l" defTabSz="914343" rtl="0" eaLnBrk="1" latinLnBrk="0" hangingPunct="1">
              <a:spcBef>
                <a:spcPct val="0"/>
              </a:spcBef>
              <a:buNone/>
              <a:defRPr lang="de-DE" sz="2200" b="1" i="0" kern="1200" dirty="0">
                <a:solidFill>
                  <a:schemeClr val="tx1"/>
                </a:solidFill>
                <a:latin typeface="Arial" panose="020B0604020202020204" pitchFamily="34" charset="0"/>
                <a:ea typeface="+mj-ea"/>
                <a:cs typeface="Arial" panose="020B0604020202020204" pitchFamily="34" charset="0"/>
              </a:defRPr>
            </a:lvl1pPr>
          </a:lstStyle>
          <a:p>
            <a:r>
              <a:rPr lang="de-DE" noProof="0"/>
              <a:t>Daten Bericht</a:t>
            </a:r>
          </a:p>
        </p:txBody>
      </p:sp>
      <p:sp>
        <p:nvSpPr>
          <p:cNvPr id="15" name="Footer Placeholder 2">
            <a:extLst>
              <a:ext uri="{FF2B5EF4-FFF2-40B4-BE49-F238E27FC236}">
                <a16:creationId xmlns:a16="http://schemas.microsoft.com/office/drawing/2014/main" id="{66BE2B4D-BBC8-7F4A-BAE1-699AD74CD528}"/>
              </a:ext>
            </a:extLst>
          </p:cNvPr>
          <p:cNvSpPr>
            <a:spLocks noGrp="1"/>
          </p:cNvSpPr>
          <p:nvPr>
            <p:ph type="ftr" sz="quarter" idx="10"/>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endParaRPr lang="de-CH" dirty="0"/>
          </a:p>
        </p:txBody>
      </p:sp>
      <p:sp>
        <p:nvSpPr>
          <p:cNvPr id="16" name="Slide Number Placeholder 3">
            <a:extLst>
              <a:ext uri="{FF2B5EF4-FFF2-40B4-BE49-F238E27FC236}">
                <a16:creationId xmlns:a16="http://schemas.microsoft.com/office/drawing/2014/main" id="{E962D80C-B0D4-E246-B877-020E157FBF24}"/>
              </a:ext>
            </a:extLst>
          </p:cNvPr>
          <p:cNvSpPr>
            <a:spLocks noGrp="1"/>
          </p:cNvSpPr>
          <p:nvPr>
            <p:ph type="sldNum" sz="quarter" idx="11"/>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10" name="Inhaltsplatzhalter 26">
            <a:extLst>
              <a:ext uri="{FF2B5EF4-FFF2-40B4-BE49-F238E27FC236}">
                <a16:creationId xmlns:a16="http://schemas.microsoft.com/office/drawing/2014/main" id="{92228026-CC11-9545-9127-D6D827908F8A}"/>
              </a:ext>
            </a:extLst>
          </p:cNvPr>
          <p:cNvSpPr>
            <a:spLocks noGrp="1"/>
          </p:cNvSpPr>
          <p:nvPr>
            <p:ph sz="quarter" idx="24" hasCustomPrompt="1"/>
          </p:nvPr>
        </p:nvSpPr>
        <p:spPr>
          <a:xfrm>
            <a:off x="304800" y="6034485"/>
            <a:ext cx="11569800" cy="418851"/>
          </a:xfrm>
          <a:prstGeom prst="rect">
            <a:avLst/>
          </a:prstGeom>
        </p:spPr>
        <p:txBody>
          <a:bodyPr anchor="b">
            <a:noAutofit/>
          </a:bodyPr>
          <a:lstStyle>
            <a:lvl1pPr marL="0" indent="0">
              <a:spcBef>
                <a:spcPts val="0"/>
              </a:spcBef>
              <a:buNone/>
              <a:defRPr sz="800">
                <a:solidFill>
                  <a:schemeClr val="tx2"/>
                </a:solidFill>
              </a:defRPr>
            </a:lvl1pPr>
          </a:lstStyle>
          <a:p>
            <a:r>
              <a:rPr lang="de-CH" dirty="0"/>
              <a:t>Fragenummer: Fragetext</a:t>
            </a:r>
          </a:p>
        </p:txBody>
      </p:sp>
      <p:sp>
        <p:nvSpPr>
          <p:cNvPr id="3" name="Text Placeholder 2">
            <a:extLst>
              <a:ext uri="{FF2B5EF4-FFF2-40B4-BE49-F238E27FC236}">
                <a16:creationId xmlns:a16="http://schemas.microsoft.com/office/drawing/2014/main" id="{D1C7388A-89B5-4241-9C26-5EDF550F2AB8}"/>
              </a:ext>
            </a:extLst>
          </p:cNvPr>
          <p:cNvSpPr>
            <a:spLocks noGrp="1"/>
          </p:cNvSpPr>
          <p:nvPr>
            <p:ph type="body" sz="quarter" idx="25" hasCustomPrompt="1"/>
          </p:nvPr>
        </p:nvSpPr>
        <p:spPr>
          <a:xfrm>
            <a:off x="304800" y="972000"/>
            <a:ext cx="11581200" cy="277200"/>
          </a:xfrm>
        </p:spPr>
        <p:txBody>
          <a:bodyPr>
            <a:noAutofit/>
          </a:bodyPr>
          <a:lstStyle>
            <a:lvl1pPr marL="0" indent="0">
              <a:lnSpc>
                <a:spcPct val="100000"/>
              </a:lnSpc>
              <a:buFontTx/>
              <a:buNone/>
              <a:defRPr sz="1800" b="1">
                <a:solidFill>
                  <a:schemeClr val="tx2">
                    <a:lumMod val="40000"/>
                    <a:lumOff val="60000"/>
                  </a:schemeClr>
                </a:solidFill>
              </a:defRPr>
            </a:lvl1pPr>
            <a:lvl2pPr marL="179387" indent="0">
              <a:buFontTx/>
              <a:buNone/>
              <a:defRPr sz="1800" b="1">
                <a:solidFill>
                  <a:schemeClr val="tx2">
                    <a:lumMod val="40000"/>
                    <a:lumOff val="60000"/>
                  </a:schemeClr>
                </a:solidFill>
              </a:defRPr>
            </a:lvl2pPr>
            <a:lvl3pPr marL="368300" indent="0">
              <a:buFontTx/>
              <a:buNone/>
              <a:defRPr sz="1800" b="1">
                <a:solidFill>
                  <a:schemeClr val="tx2">
                    <a:lumMod val="40000"/>
                    <a:lumOff val="60000"/>
                  </a:schemeClr>
                </a:solidFill>
              </a:defRPr>
            </a:lvl3pPr>
            <a:lvl4pPr marL="565150" indent="0">
              <a:buFontTx/>
              <a:buNone/>
              <a:defRPr sz="1800" b="1">
                <a:solidFill>
                  <a:schemeClr val="tx2">
                    <a:lumMod val="40000"/>
                    <a:lumOff val="60000"/>
                  </a:schemeClr>
                </a:solidFill>
              </a:defRPr>
            </a:lvl4pPr>
            <a:lvl5pPr marL="833437" indent="0">
              <a:buFontTx/>
              <a:buNone/>
              <a:defRPr sz="1800" b="1">
                <a:solidFill>
                  <a:schemeClr val="tx2">
                    <a:lumMod val="40000"/>
                    <a:lumOff val="60000"/>
                  </a:schemeClr>
                </a:solidFill>
              </a:defRPr>
            </a:lvl5pPr>
          </a:lstStyle>
          <a:p>
            <a:pPr lvl="0"/>
            <a:r>
              <a:rPr lang="de-CH" dirty="0"/>
              <a:t>Untertitel</a:t>
            </a:r>
            <a:endParaRPr lang="de-DE" dirty="0"/>
          </a:p>
        </p:txBody>
      </p:sp>
    </p:spTree>
    <p:extLst>
      <p:ext uri="{BB962C8B-B14F-4D97-AF65-F5344CB8AC3E}">
        <p14:creationId xmlns:p14="http://schemas.microsoft.com/office/powerpoint/2010/main" val="16460203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_3_weiss">
    <p:bg>
      <p:bgPr>
        <a:solidFill>
          <a:schemeClr val="tx1"/>
        </a:solidFill>
        <a:effectLst/>
      </p:bgPr>
    </p:bg>
    <p:spTree>
      <p:nvGrpSpPr>
        <p:cNvPr id="1" name=""/>
        <p:cNvGrpSpPr/>
        <p:nvPr/>
      </p:nvGrpSpPr>
      <p:grpSpPr>
        <a:xfrm>
          <a:off x="0" y="0"/>
          <a:ext cx="0" cy="0"/>
          <a:chOff x="0" y="0"/>
          <a:chExt cx="0" cy="0"/>
        </a:xfrm>
      </p:grpSpPr>
      <p:sp>
        <p:nvSpPr>
          <p:cNvPr id="4" name="Bildplatzhalter 9">
            <a:extLst>
              <a:ext uri="{FF2B5EF4-FFF2-40B4-BE49-F238E27FC236}">
                <a16:creationId xmlns:a16="http://schemas.microsoft.com/office/drawing/2014/main" id="{BF98AFFE-B2A4-2D61-E162-616152E2E36D}"/>
              </a:ext>
            </a:extLst>
          </p:cNvPr>
          <p:cNvSpPr>
            <a:spLocks noGrp="1"/>
          </p:cNvSpPr>
          <p:nvPr>
            <p:ph type="pic" sz="quarter" idx="10"/>
          </p:nvPr>
        </p:nvSpPr>
        <p:spPr>
          <a:xfrm>
            <a:off x="3106295" y="0"/>
            <a:ext cx="9085704" cy="6858000"/>
          </a:xfrm>
          <a:custGeom>
            <a:avLst/>
            <a:gdLst>
              <a:gd name="connsiteX0" fmla="*/ 2183293 w 9085704"/>
              <a:gd name="connsiteY0" fmla="*/ 4704511 h 6858000"/>
              <a:gd name="connsiteX1" fmla="*/ 2189728 w 9085704"/>
              <a:gd name="connsiteY1" fmla="*/ 4709207 h 6858000"/>
              <a:gd name="connsiteX2" fmla="*/ 2183293 w 9085704"/>
              <a:gd name="connsiteY2" fmla="*/ 4704511 h 6858000"/>
              <a:gd name="connsiteX3" fmla="*/ 6115886 w 9085704"/>
              <a:gd name="connsiteY3" fmla="*/ 4610259 h 6858000"/>
              <a:gd name="connsiteX4" fmla="*/ 6175368 w 9085704"/>
              <a:gd name="connsiteY4" fmla="*/ 4610259 h 6858000"/>
              <a:gd name="connsiteX5" fmla="*/ 6175368 w 9085704"/>
              <a:gd name="connsiteY5" fmla="*/ 4663906 h 6858000"/>
              <a:gd name="connsiteX6" fmla="*/ 6047073 w 9085704"/>
              <a:gd name="connsiteY6" fmla="*/ 4767993 h 6858000"/>
              <a:gd name="connsiteX7" fmla="*/ 5965431 w 9085704"/>
              <a:gd name="connsiteY7" fmla="*/ 4695394 h 6858000"/>
              <a:gd name="connsiteX8" fmla="*/ 6115886 w 9085704"/>
              <a:gd name="connsiteY8" fmla="*/ 4610259 h 6858000"/>
              <a:gd name="connsiteX9" fmla="*/ 218976 w 9085704"/>
              <a:gd name="connsiteY9" fmla="*/ 4610259 h 6858000"/>
              <a:gd name="connsiteX10" fmla="*/ 68521 w 9085704"/>
              <a:gd name="connsiteY10" fmla="*/ 4695394 h 6858000"/>
              <a:gd name="connsiteX11" fmla="*/ 150164 w 9085704"/>
              <a:gd name="connsiteY11" fmla="*/ 4767993 h 6858000"/>
              <a:gd name="connsiteX12" fmla="*/ 278459 w 9085704"/>
              <a:gd name="connsiteY12" fmla="*/ 4663906 h 6858000"/>
              <a:gd name="connsiteX13" fmla="*/ 278459 w 9085704"/>
              <a:gd name="connsiteY13" fmla="*/ 4610259 h 6858000"/>
              <a:gd name="connsiteX14" fmla="*/ 2275606 w 9085704"/>
              <a:gd name="connsiteY14" fmla="*/ 4596263 h 6858000"/>
              <a:gd name="connsiteX15" fmla="*/ 2399993 w 9085704"/>
              <a:gd name="connsiteY15" fmla="*/ 4596263 h 6858000"/>
              <a:gd name="connsiteX16" fmla="*/ 2399993 w 9085704"/>
              <a:gd name="connsiteY16" fmla="*/ 4671777 h 6858000"/>
              <a:gd name="connsiteX17" fmla="*/ 2334679 w 9085704"/>
              <a:gd name="connsiteY17" fmla="*/ 4707639 h 6858000"/>
              <a:gd name="connsiteX18" fmla="*/ 2258868 w 9085704"/>
              <a:gd name="connsiteY18" fmla="*/ 4722509 h 6858000"/>
              <a:gd name="connsiteX19" fmla="*/ 2240166 w 9085704"/>
              <a:gd name="connsiteY19" fmla="*/ 4718911 h 6858000"/>
              <a:gd name="connsiteX20" fmla="*/ 2778172 w 9085704"/>
              <a:gd name="connsiteY20" fmla="*/ 4467101 h 6858000"/>
              <a:gd name="connsiteX21" fmla="*/ 2853108 w 9085704"/>
              <a:gd name="connsiteY21" fmla="*/ 4501214 h 6858000"/>
              <a:gd name="connsiteX22" fmla="*/ 2883432 w 9085704"/>
              <a:gd name="connsiteY22" fmla="*/ 4598596 h 6858000"/>
              <a:gd name="connsiteX23" fmla="*/ 2853108 w 9085704"/>
              <a:gd name="connsiteY23" fmla="*/ 4697726 h 6858000"/>
              <a:gd name="connsiteX24" fmla="*/ 2778172 w 9085704"/>
              <a:gd name="connsiteY24" fmla="*/ 4731839 h 6858000"/>
              <a:gd name="connsiteX25" fmla="*/ 2702944 w 9085704"/>
              <a:gd name="connsiteY25" fmla="*/ 4697726 h 6858000"/>
              <a:gd name="connsiteX26" fmla="*/ 2672328 w 9085704"/>
              <a:gd name="connsiteY26" fmla="*/ 4599470 h 6858000"/>
              <a:gd name="connsiteX27" fmla="*/ 2702944 w 9085704"/>
              <a:gd name="connsiteY27" fmla="*/ 4501214 h 6858000"/>
              <a:gd name="connsiteX28" fmla="*/ 2778172 w 9085704"/>
              <a:gd name="connsiteY28" fmla="*/ 4467101 h 6858000"/>
              <a:gd name="connsiteX29" fmla="*/ 5621949 w 9085704"/>
              <a:gd name="connsiteY29" fmla="*/ 4432406 h 6858000"/>
              <a:gd name="connsiteX30" fmla="*/ 5754910 w 9085704"/>
              <a:gd name="connsiteY30" fmla="*/ 4595972 h 6858000"/>
              <a:gd name="connsiteX31" fmla="*/ 5754910 w 9085704"/>
              <a:gd name="connsiteY31" fmla="*/ 4602678 h 6858000"/>
              <a:gd name="connsiteX32" fmla="*/ 5622824 w 9085704"/>
              <a:gd name="connsiteY32" fmla="*/ 4765369 h 6858000"/>
              <a:gd name="connsiteX33" fmla="*/ 5480825 w 9085704"/>
              <a:gd name="connsiteY33" fmla="*/ 4602678 h 6858000"/>
              <a:gd name="connsiteX34" fmla="*/ 5480825 w 9085704"/>
              <a:gd name="connsiteY34" fmla="*/ 4595972 h 6858000"/>
              <a:gd name="connsiteX35" fmla="*/ 5621949 w 9085704"/>
              <a:gd name="connsiteY35" fmla="*/ 4432406 h 6858000"/>
              <a:gd name="connsiteX36" fmla="*/ 4344247 w 9085704"/>
              <a:gd name="connsiteY36" fmla="*/ 4432406 h 6858000"/>
              <a:gd name="connsiteX37" fmla="*/ 4485372 w 9085704"/>
              <a:gd name="connsiteY37" fmla="*/ 4596847 h 6858000"/>
              <a:gd name="connsiteX38" fmla="*/ 4485372 w 9085704"/>
              <a:gd name="connsiteY38" fmla="*/ 4602678 h 6858000"/>
              <a:gd name="connsiteX39" fmla="*/ 4344247 w 9085704"/>
              <a:gd name="connsiteY39" fmla="*/ 4765369 h 6858000"/>
              <a:gd name="connsiteX40" fmla="*/ 4203123 w 9085704"/>
              <a:gd name="connsiteY40" fmla="*/ 4602678 h 6858000"/>
              <a:gd name="connsiteX41" fmla="*/ 4203123 w 9085704"/>
              <a:gd name="connsiteY41" fmla="*/ 4595972 h 6858000"/>
              <a:gd name="connsiteX42" fmla="*/ 4344247 w 9085704"/>
              <a:gd name="connsiteY42" fmla="*/ 4432406 h 6858000"/>
              <a:gd name="connsiteX43" fmla="*/ 2984902 w 9085704"/>
              <a:gd name="connsiteY43" fmla="*/ 4383715 h 6858000"/>
              <a:gd name="connsiteX44" fmla="*/ 3158975 w 9085704"/>
              <a:gd name="connsiteY44" fmla="*/ 4814642 h 6858000"/>
              <a:gd name="connsiteX45" fmla="*/ 3262194 w 9085704"/>
              <a:gd name="connsiteY45" fmla="*/ 4814642 h 6858000"/>
              <a:gd name="connsiteX46" fmla="*/ 3433643 w 9085704"/>
              <a:gd name="connsiteY46" fmla="*/ 4383715 h 6858000"/>
              <a:gd name="connsiteX47" fmla="*/ 3316137 w 9085704"/>
              <a:gd name="connsiteY47" fmla="*/ 4383715 h 6858000"/>
              <a:gd name="connsiteX48" fmla="*/ 3233911 w 9085704"/>
              <a:gd name="connsiteY48" fmla="*/ 4603552 h 6858000"/>
              <a:gd name="connsiteX49" fmla="*/ 3221665 w 9085704"/>
              <a:gd name="connsiteY49" fmla="*/ 4639997 h 6858000"/>
              <a:gd name="connsiteX50" fmla="*/ 3210002 w 9085704"/>
              <a:gd name="connsiteY50" fmla="*/ 4677026 h 6858000"/>
              <a:gd name="connsiteX51" fmla="*/ 3186384 w 9085704"/>
              <a:gd name="connsiteY51" fmla="*/ 4603552 h 6858000"/>
              <a:gd name="connsiteX52" fmla="*/ 3105033 w 9085704"/>
              <a:gd name="connsiteY52" fmla="*/ 4383715 h 6858000"/>
              <a:gd name="connsiteX53" fmla="*/ 6811304 w 9085704"/>
              <a:gd name="connsiteY53" fmla="*/ 4382841 h 6858000"/>
              <a:gd name="connsiteX54" fmla="*/ 6980711 w 9085704"/>
              <a:gd name="connsiteY54" fmla="*/ 4770326 h 6858000"/>
              <a:gd name="connsiteX55" fmla="*/ 6898778 w 9085704"/>
              <a:gd name="connsiteY55" fmla="*/ 4965089 h 6858000"/>
              <a:gd name="connsiteX56" fmla="*/ 6968173 w 9085704"/>
              <a:gd name="connsiteY56" fmla="*/ 4965089 h 6858000"/>
              <a:gd name="connsiteX57" fmla="*/ 7206978 w 9085704"/>
              <a:gd name="connsiteY57" fmla="*/ 4382841 h 6858000"/>
              <a:gd name="connsiteX58" fmla="*/ 7136707 w 9085704"/>
              <a:gd name="connsiteY58" fmla="*/ 4382841 h 6858000"/>
              <a:gd name="connsiteX59" fmla="*/ 7016868 w 9085704"/>
              <a:gd name="connsiteY59" fmla="*/ 4692479 h 6858000"/>
              <a:gd name="connsiteX60" fmla="*/ 6884782 w 9085704"/>
              <a:gd name="connsiteY60" fmla="*/ 4382841 h 6858000"/>
              <a:gd name="connsiteX61" fmla="*/ 4860343 w 9085704"/>
              <a:gd name="connsiteY61" fmla="*/ 4375843 h 6858000"/>
              <a:gd name="connsiteX62" fmla="*/ 4731465 w 9085704"/>
              <a:gd name="connsiteY62" fmla="*/ 4449316 h 6858000"/>
              <a:gd name="connsiteX63" fmla="*/ 4731465 w 9085704"/>
              <a:gd name="connsiteY63" fmla="*/ 4383132 h 6858000"/>
              <a:gd name="connsiteX64" fmla="*/ 4663236 w 9085704"/>
              <a:gd name="connsiteY64" fmla="*/ 4383132 h 6858000"/>
              <a:gd name="connsiteX65" fmla="*/ 4663236 w 9085704"/>
              <a:gd name="connsiteY65" fmla="*/ 4815226 h 6858000"/>
              <a:gd name="connsiteX66" fmla="*/ 4731757 w 9085704"/>
              <a:gd name="connsiteY66" fmla="*/ 4815226 h 6858000"/>
              <a:gd name="connsiteX67" fmla="*/ 4731757 w 9085704"/>
              <a:gd name="connsiteY67" fmla="*/ 4551071 h 6858000"/>
              <a:gd name="connsiteX68" fmla="*/ 4845764 w 9085704"/>
              <a:gd name="connsiteY68" fmla="*/ 4435322 h 6858000"/>
              <a:gd name="connsiteX69" fmla="*/ 4937321 w 9085704"/>
              <a:gd name="connsiteY69" fmla="*/ 4542616 h 6858000"/>
              <a:gd name="connsiteX70" fmla="*/ 4937321 w 9085704"/>
              <a:gd name="connsiteY70" fmla="*/ 4815226 h 6858000"/>
              <a:gd name="connsiteX71" fmla="*/ 5005842 w 9085704"/>
              <a:gd name="connsiteY71" fmla="*/ 4815226 h 6858000"/>
              <a:gd name="connsiteX72" fmla="*/ 5005842 w 9085704"/>
              <a:gd name="connsiteY72" fmla="*/ 4551071 h 6858000"/>
              <a:gd name="connsiteX73" fmla="*/ 5119849 w 9085704"/>
              <a:gd name="connsiteY73" fmla="*/ 4435322 h 6858000"/>
              <a:gd name="connsiteX74" fmla="*/ 5211406 w 9085704"/>
              <a:gd name="connsiteY74" fmla="*/ 4542616 h 6858000"/>
              <a:gd name="connsiteX75" fmla="*/ 5211406 w 9085704"/>
              <a:gd name="connsiteY75" fmla="*/ 4815226 h 6858000"/>
              <a:gd name="connsiteX76" fmla="*/ 5279927 w 9085704"/>
              <a:gd name="connsiteY76" fmla="*/ 4815226 h 6858000"/>
              <a:gd name="connsiteX77" fmla="*/ 5279927 w 9085704"/>
              <a:gd name="connsiteY77" fmla="*/ 4547573 h 6858000"/>
              <a:gd name="connsiteX78" fmla="*/ 5134428 w 9085704"/>
              <a:gd name="connsiteY78" fmla="*/ 4375843 h 6858000"/>
              <a:gd name="connsiteX79" fmla="*/ 4986598 w 9085704"/>
              <a:gd name="connsiteY79" fmla="*/ 4456897 h 6858000"/>
              <a:gd name="connsiteX80" fmla="*/ 4860343 w 9085704"/>
              <a:gd name="connsiteY80" fmla="*/ 4375843 h 6858000"/>
              <a:gd name="connsiteX81" fmla="*/ 6585913 w 9085704"/>
              <a:gd name="connsiteY81" fmla="*/ 4375552 h 6858000"/>
              <a:gd name="connsiteX82" fmla="*/ 6447120 w 9085704"/>
              <a:gd name="connsiteY82" fmla="*/ 4451649 h 6858000"/>
              <a:gd name="connsiteX83" fmla="*/ 6447120 w 9085704"/>
              <a:gd name="connsiteY83" fmla="*/ 4383133 h 6858000"/>
              <a:gd name="connsiteX84" fmla="*/ 6378599 w 9085704"/>
              <a:gd name="connsiteY84" fmla="*/ 4383133 h 6858000"/>
              <a:gd name="connsiteX85" fmla="*/ 6378599 w 9085704"/>
              <a:gd name="connsiteY85" fmla="*/ 4814935 h 6858000"/>
              <a:gd name="connsiteX86" fmla="*/ 6447120 w 9085704"/>
              <a:gd name="connsiteY86" fmla="*/ 4814935 h 6858000"/>
              <a:gd name="connsiteX87" fmla="*/ 6447120 w 9085704"/>
              <a:gd name="connsiteY87" fmla="*/ 4553113 h 6858000"/>
              <a:gd name="connsiteX88" fmla="*/ 6567835 w 9085704"/>
              <a:gd name="connsiteY88" fmla="*/ 4435030 h 6858000"/>
              <a:gd name="connsiteX89" fmla="*/ 6669304 w 9085704"/>
              <a:gd name="connsiteY89" fmla="*/ 4544949 h 6858000"/>
              <a:gd name="connsiteX90" fmla="*/ 6669304 w 9085704"/>
              <a:gd name="connsiteY90" fmla="*/ 4814935 h 6858000"/>
              <a:gd name="connsiteX91" fmla="*/ 6737825 w 9085704"/>
              <a:gd name="connsiteY91" fmla="*/ 4814935 h 6858000"/>
              <a:gd name="connsiteX92" fmla="*/ 6737825 w 9085704"/>
              <a:gd name="connsiteY92" fmla="*/ 4549906 h 6858000"/>
              <a:gd name="connsiteX93" fmla="*/ 6585913 w 9085704"/>
              <a:gd name="connsiteY93" fmla="*/ 4375552 h 6858000"/>
              <a:gd name="connsiteX94" fmla="*/ 6086144 w 9085704"/>
              <a:gd name="connsiteY94" fmla="*/ 4375552 h 6858000"/>
              <a:gd name="connsiteX95" fmla="*/ 5915279 w 9085704"/>
              <a:gd name="connsiteY95" fmla="*/ 4510253 h 6858000"/>
              <a:gd name="connsiteX96" fmla="*/ 5983800 w 9085704"/>
              <a:gd name="connsiteY96" fmla="*/ 4510253 h 6858000"/>
              <a:gd name="connsiteX97" fmla="*/ 6082938 w 9085704"/>
              <a:gd name="connsiteY97" fmla="*/ 4432698 h 6858000"/>
              <a:gd name="connsiteX98" fmla="*/ 6175368 w 9085704"/>
              <a:gd name="connsiteY98" fmla="*/ 4530079 h 6858000"/>
              <a:gd name="connsiteX99" fmla="*/ 6175368 w 9085704"/>
              <a:gd name="connsiteY99" fmla="*/ 4561568 h 6858000"/>
              <a:gd name="connsiteX100" fmla="*/ 6113553 w 9085704"/>
              <a:gd name="connsiteY100" fmla="*/ 4561568 h 6858000"/>
              <a:gd name="connsiteX101" fmla="*/ 5897201 w 9085704"/>
              <a:gd name="connsiteY101" fmla="*/ 4695394 h 6858000"/>
              <a:gd name="connsiteX102" fmla="*/ 6040658 w 9085704"/>
              <a:gd name="connsiteY102" fmla="*/ 4822224 h 6858000"/>
              <a:gd name="connsiteX103" fmla="*/ 6175368 w 9085704"/>
              <a:gd name="connsiteY103" fmla="*/ 4760413 h 6858000"/>
              <a:gd name="connsiteX104" fmla="*/ 6175368 w 9085704"/>
              <a:gd name="connsiteY104" fmla="*/ 4814935 h 6858000"/>
              <a:gd name="connsiteX105" fmla="*/ 6243889 w 9085704"/>
              <a:gd name="connsiteY105" fmla="*/ 4814935 h 6858000"/>
              <a:gd name="connsiteX106" fmla="*/ 6243889 w 9085704"/>
              <a:gd name="connsiteY106" fmla="*/ 4530079 h 6858000"/>
              <a:gd name="connsiteX107" fmla="*/ 6086144 w 9085704"/>
              <a:gd name="connsiteY107" fmla="*/ 4375552 h 6858000"/>
              <a:gd name="connsiteX108" fmla="*/ 5629239 w 9085704"/>
              <a:gd name="connsiteY108" fmla="*/ 4375552 h 6858000"/>
              <a:gd name="connsiteX109" fmla="*/ 5483157 w 9085704"/>
              <a:gd name="connsiteY109" fmla="*/ 4455731 h 6858000"/>
              <a:gd name="connsiteX110" fmla="*/ 5483157 w 9085704"/>
              <a:gd name="connsiteY110" fmla="*/ 4383133 h 6858000"/>
              <a:gd name="connsiteX111" fmla="*/ 5414636 w 9085704"/>
              <a:gd name="connsiteY111" fmla="*/ 4383133 h 6858000"/>
              <a:gd name="connsiteX112" fmla="*/ 5414636 w 9085704"/>
              <a:gd name="connsiteY112" fmla="*/ 4965380 h 6858000"/>
              <a:gd name="connsiteX113" fmla="*/ 5483157 w 9085704"/>
              <a:gd name="connsiteY113" fmla="*/ 4965380 h 6858000"/>
              <a:gd name="connsiteX114" fmla="*/ 5483157 w 9085704"/>
              <a:gd name="connsiteY114" fmla="*/ 4744085 h 6858000"/>
              <a:gd name="connsiteX115" fmla="*/ 5629239 w 9085704"/>
              <a:gd name="connsiteY115" fmla="*/ 4822515 h 6858000"/>
              <a:gd name="connsiteX116" fmla="*/ 5825764 w 9085704"/>
              <a:gd name="connsiteY116" fmla="*/ 4599471 h 6858000"/>
              <a:gd name="connsiteX117" fmla="*/ 5825764 w 9085704"/>
              <a:gd name="connsiteY117" fmla="*/ 4592765 h 6858000"/>
              <a:gd name="connsiteX118" fmla="*/ 5629239 w 9085704"/>
              <a:gd name="connsiteY118" fmla="*/ 4375552 h 6858000"/>
              <a:gd name="connsiteX119" fmla="*/ 4344247 w 9085704"/>
              <a:gd name="connsiteY119" fmla="*/ 4375552 h 6858000"/>
              <a:gd name="connsiteX120" fmla="*/ 4131977 w 9085704"/>
              <a:gd name="connsiteY120" fmla="*/ 4595972 h 6858000"/>
              <a:gd name="connsiteX121" fmla="*/ 4131977 w 9085704"/>
              <a:gd name="connsiteY121" fmla="*/ 4602678 h 6858000"/>
              <a:gd name="connsiteX122" fmla="*/ 4343372 w 9085704"/>
              <a:gd name="connsiteY122" fmla="*/ 4822515 h 6858000"/>
              <a:gd name="connsiteX123" fmla="*/ 4556517 w 9085704"/>
              <a:gd name="connsiteY123" fmla="*/ 4602095 h 6858000"/>
              <a:gd name="connsiteX124" fmla="*/ 4556517 w 9085704"/>
              <a:gd name="connsiteY124" fmla="*/ 4595389 h 6858000"/>
              <a:gd name="connsiteX125" fmla="*/ 4344247 w 9085704"/>
              <a:gd name="connsiteY125" fmla="*/ 4375552 h 6858000"/>
              <a:gd name="connsiteX126" fmla="*/ 3871012 w 9085704"/>
              <a:gd name="connsiteY126" fmla="*/ 4375552 h 6858000"/>
              <a:gd name="connsiteX127" fmla="*/ 3661075 w 9085704"/>
              <a:gd name="connsiteY127" fmla="*/ 4596847 h 6858000"/>
              <a:gd name="connsiteX128" fmla="*/ 3661075 w 9085704"/>
              <a:gd name="connsiteY128" fmla="*/ 4603553 h 6858000"/>
              <a:gd name="connsiteX129" fmla="*/ 3872470 w 9085704"/>
              <a:gd name="connsiteY129" fmla="*/ 4822224 h 6858000"/>
              <a:gd name="connsiteX130" fmla="*/ 4060831 w 9085704"/>
              <a:gd name="connsiteY130" fmla="*/ 4659532 h 6858000"/>
              <a:gd name="connsiteX131" fmla="*/ 3997267 w 9085704"/>
              <a:gd name="connsiteY131" fmla="*/ 4659532 h 6858000"/>
              <a:gd name="connsiteX132" fmla="*/ 3873345 w 9085704"/>
              <a:gd name="connsiteY132" fmla="*/ 4765369 h 6858000"/>
              <a:gd name="connsiteX133" fmla="*/ 3732221 w 9085704"/>
              <a:gd name="connsiteY133" fmla="*/ 4603553 h 6858000"/>
              <a:gd name="connsiteX134" fmla="*/ 3732221 w 9085704"/>
              <a:gd name="connsiteY134" fmla="*/ 4596847 h 6858000"/>
              <a:gd name="connsiteX135" fmla="*/ 3871012 w 9085704"/>
              <a:gd name="connsiteY135" fmla="*/ 4432406 h 6858000"/>
              <a:gd name="connsiteX136" fmla="*/ 3990852 w 9085704"/>
              <a:gd name="connsiteY136" fmla="*/ 4526581 h 6858000"/>
              <a:gd name="connsiteX137" fmla="*/ 4058498 w 9085704"/>
              <a:gd name="connsiteY137" fmla="*/ 4526581 h 6858000"/>
              <a:gd name="connsiteX138" fmla="*/ 3871012 w 9085704"/>
              <a:gd name="connsiteY138" fmla="*/ 4375552 h 6858000"/>
              <a:gd name="connsiteX139" fmla="*/ 188944 w 9085704"/>
              <a:gd name="connsiteY139" fmla="*/ 4375552 h 6858000"/>
              <a:gd name="connsiteX140" fmla="*/ 346688 w 9085704"/>
              <a:gd name="connsiteY140" fmla="*/ 4530079 h 6858000"/>
              <a:gd name="connsiteX141" fmla="*/ 346688 w 9085704"/>
              <a:gd name="connsiteY141" fmla="*/ 4814935 h 6858000"/>
              <a:gd name="connsiteX142" fmla="*/ 278167 w 9085704"/>
              <a:gd name="connsiteY142" fmla="*/ 4814935 h 6858000"/>
              <a:gd name="connsiteX143" fmla="*/ 278167 w 9085704"/>
              <a:gd name="connsiteY143" fmla="*/ 4760413 h 6858000"/>
              <a:gd name="connsiteX144" fmla="*/ 143457 w 9085704"/>
              <a:gd name="connsiteY144" fmla="*/ 4822224 h 6858000"/>
              <a:gd name="connsiteX145" fmla="*/ 0 w 9085704"/>
              <a:gd name="connsiteY145" fmla="*/ 4695394 h 6858000"/>
              <a:gd name="connsiteX146" fmla="*/ 216352 w 9085704"/>
              <a:gd name="connsiteY146" fmla="*/ 4561568 h 6858000"/>
              <a:gd name="connsiteX147" fmla="*/ 278167 w 9085704"/>
              <a:gd name="connsiteY147" fmla="*/ 4561568 h 6858000"/>
              <a:gd name="connsiteX148" fmla="*/ 278167 w 9085704"/>
              <a:gd name="connsiteY148" fmla="*/ 4530079 h 6858000"/>
              <a:gd name="connsiteX149" fmla="*/ 185736 w 9085704"/>
              <a:gd name="connsiteY149" fmla="*/ 4432698 h 6858000"/>
              <a:gd name="connsiteX150" fmla="*/ 86599 w 9085704"/>
              <a:gd name="connsiteY150" fmla="*/ 4510253 h 6858000"/>
              <a:gd name="connsiteX151" fmla="*/ 18078 w 9085704"/>
              <a:gd name="connsiteY151" fmla="*/ 4510253 h 6858000"/>
              <a:gd name="connsiteX152" fmla="*/ 188944 w 9085704"/>
              <a:gd name="connsiteY152" fmla="*/ 4375552 h 6858000"/>
              <a:gd name="connsiteX153" fmla="*/ 2777589 w 9085704"/>
              <a:gd name="connsiteY153" fmla="*/ 4374094 h 6858000"/>
              <a:gd name="connsiteX154" fmla="*/ 2662998 w 9085704"/>
              <a:gd name="connsiteY154" fmla="*/ 4402667 h 6858000"/>
              <a:gd name="connsiteX155" fmla="*/ 2583396 w 9085704"/>
              <a:gd name="connsiteY155" fmla="*/ 4483721 h 6858000"/>
              <a:gd name="connsiteX156" fmla="*/ 2555405 w 9085704"/>
              <a:gd name="connsiteY156" fmla="*/ 4593639 h 6858000"/>
              <a:gd name="connsiteX157" fmla="*/ 2583396 w 9085704"/>
              <a:gd name="connsiteY157" fmla="*/ 4719594 h 6858000"/>
              <a:gd name="connsiteX158" fmla="*/ 2665330 w 9085704"/>
              <a:gd name="connsiteY158" fmla="*/ 4798023 h 6858000"/>
              <a:gd name="connsiteX159" fmla="*/ 2778463 w 9085704"/>
              <a:gd name="connsiteY159" fmla="*/ 4824847 h 6858000"/>
              <a:gd name="connsiteX160" fmla="*/ 2937666 w 9085704"/>
              <a:gd name="connsiteY160" fmla="*/ 4760412 h 6858000"/>
              <a:gd name="connsiteX161" fmla="*/ 3000939 w 9085704"/>
              <a:gd name="connsiteY161" fmla="*/ 4598304 h 6858000"/>
              <a:gd name="connsiteX162" fmla="*/ 2938249 w 9085704"/>
              <a:gd name="connsiteY162" fmla="*/ 4437654 h 6858000"/>
              <a:gd name="connsiteX163" fmla="*/ 2777589 w 9085704"/>
              <a:gd name="connsiteY163" fmla="*/ 4374094 h 6858000"/>
              <a:gd name="connsiteX164" fmla="*/ 3443265 w 9085704"/>
              <a:gd name="connsiteY164" fmla="*/ 4281377 h 6858000"/>
              <a:gd name="connsiteX165" fmla="*/ 3454637 w 9085704"/>
              <a:gd name="connsiteY165" fmla="*/ 4281377 h 6858000"/>
              <a:gd name="connsiteX166" fmla="*/ 3464842 w 9085704"/>
              <a:gd name="connsiteY166" fmla="*/ 4282252 h 6858000"/>
              <a:gd name="connsiteX167" fmla="*/ 3469216 w 9085704"/>
              <a:gd name="connsiteY167" fmla="*/ 4285459 h 6858000"/>
              <a:gd name="connsiteX168" fmla="*/ 3470674 w 9085704"/>
              <a:gd name="connsiteY168" fmla="*/ 4290415 h 6858000"/>
              <a:gd name="connsiteX169" fmla="*/ 3467467 w 9085704"/>
              <a:gd name="connsiteY169" fmla="*/ 4297413 h 6858000"/>
              <a:gd name="connsiteX170" fmla="*/ 3455512 w 9085704"/>
              <a:gd name="connsiteY170" fmla="*/ 4300037 h 6858000"/>
              <a:gd name="connsiteX171" fmla="*/ 3443265 w 9085704"/>
              <a:gd name="connsiteY171" fmla="*/ 4300037 h 6858000"/>
              <a:gd name="connsiteX172" fmla="*/ 3433060 w 9085704"/>
              <a:gd name="connsiteY172" fmla="*/ 4272630 h 6858000"/>
              <a:gd name="connsiteX173" fmla="*/ 3433060 w 9085704"/>
              <a:gd name="connsiteY173" fmla="*/ 4334733 h 6858000"/>
              <a:gd name="connsiteX174" fmla="*/ 3442974 w 9085704"/>
              <a:gd name="connsiteY174" fmla="*/ 4334733 h 6858000"/>
              <a:gd name="connsiteX175" fmla="*/ 3442974 w 9085704"/>
              <a:gd name="connsiteY175" fmla="*/ 4308492 h 6858000"/>
              <a:gd name="connsiteX176" fmla="*/ 3448805 w 9085704"/>
              <a:gd name="connsiteY176" fmla="*/ 4308492 h 6858000"/>
              <a:gd name="connsiteX177" fmla="*/ 3456969 w 9085704"/>
              <a:gd name="connsiteY177" fmla="*/ 4310533 h 6858000"/>
              <a:gd name="connsiteX178" fmla="*/ 3467467 w 9085704"/>
              <a:gd name="connsiteY178" fmla="*/ 4325111 h 6858000"/>
              <a:gd name="connsiteX179" fmla="*/ 3473006 w 9085704"/>
              <a:gd name="connsiteY179" fmla="*/ 4335024 h 6858000"/>
              <a:gd name="connsiteX180" fmla="*/ 3485253 w 9085704"/>
              <a:gd name="connsiteY180" fmla="*/ 4335024 h 6858000"/>
              <a:gd name="connsiteX181" fmla="*/ 3477672 w 9085704"/>
              <a:gd name="connsiteY181" fmla="*/ 4322779 h 6858000"/>
              <a:gd name="connsiteX182" fmla="*/ 3468341 w 9085704"/>
              <a:gd name="connsiteY182" fmla="*/ 4310533 h 6858000"/>
              <a:gd name="connsiteX183" fmla="*/ 3463093 w 9085704"/>
              <a:gd name="connsiteY183" fmla="*/ 4307326 h 6858000"/>
              <a:gd name="connsiteX184" fmla="*/ 3475922 w 9085704"/>
              <a:gd name="connsiteY184" fmla="*/ 4301786 h 6858000"/>
              <a:gd name="connsiteX185" fmla="*/ 3480879 w 9085704"/>
              <a:gd name="connsiteY185" fmla="*/ 4289832 h 6858000"/>
              <a:gd name="connsiteX186" fmla="*/ 3477963 w 9085704"/>
              <a:gd name="connsiteY186" fmla="*/ 4280794 h 6858000"/>
              <a:gd name="connsiteX187" fmla="*/ 3470091 w 9085704"/>
              <a:gd name="connsiteY187" fmla="*/ 4274671 h 6858000"/>
              <a:gd name="connsiteX188" fmla="*/ 3454346 w 9085704"/>
              <a:gd name="connsiteY188" fmla="*/ 4272922 h 6858000"/>
              <a:gd name="connsiteX189" fmla="*/ 3454346 w 9085704"/>
              <a:gd name="connsiteY189" fmla="*/ 4272630 h 6858000"/>
              <a:gd name="connsiteX190" fmla="*/ 3458427 w 9085704"/>
              <a:gd name="connsiteY190" fmla="*/ 4254845 h 6858000"/>
              <a:gd name="connsiteX191" fmla="*/ 3482046 w 9085704"/>
              <a:gd name="connsiteY191" fmla="*/ 4260968 h 6858000"/>
              <a:gd name="connsiteX192" fmla="*/ 3500123 w 9085704"/>
              <a:gd name="connsiteY192" fmla="*/ 4278753 h 6858000"/>
              <a:gd name="connsiteX193" fmla="*/ 3506538 w 9085704"/>
              <a:gd name="connsiteY193" fmla="*/ 4302953 h 6858000"/>
              <a:gd name="connsiteX194" fmla="*/ 3500123 w 9085704"/>
              <a:gd name="connsiteY194" fmla="*/ 4326861 h 6858000"/>
              <a:gd name="connsiteX195" fmla="*/ 3482337 w 9085704"/>
              <a:gd name="connsiteY195" fmla="*/ 4344646 h 6858000"/>
              <a:gd name="connsiteX196" fmla="*/ 3458427 w 9085704"/>
              <a:gd name="connsiteY196" fmla="*/ 4351060 h 6858000"/>
              <a:gd name="connsiteX197" fmla="*/ 3434518 w 9085704"/>
              <a:gd name="connsiteY197" fmla="*/ 4344646 h 6858000"/>
              <a:gd name="connsiteX198" fmla="*/ 3416732 w 9085704"/>
              <a:gd name="connsiteY198" fmla="*/ 4326861 h 6858000"/>
              <a:gd name="connsiteX199" fmla="*/ 3410317 w 9085704"/>
              <a:gd name="connsiteY199" fmla="*/ 4302953 h 6858000"/>
              <a:gd name="connsiteX200" fmla="*/ 3416732 w 9085704"/>
              <a:gd name="connsiteY200" fmla="*/ 4278753 h 6858000"/>
              <a:gd name="connsiteX201" fmla="*/ 3434810 w 9085704"/>
              <a:gd name="connsiteY201" fmla="*/ 4260968 h 6858000"/>
              <a:gd name="connsiteX202" fmla="*/ 3458427 w 9085704"/>
              <a:gd name="connsiteY202" fmla="*/ 4254845 h 6858000"/>
              <a:gd name="connsiteX203" fmla="*/ 3458427 w 9085704"/>
              <a:gd name="connsiteY203" fmla="*/ 4245224 h 6858000"/>
              <a:gd name="connsiteX204" fmla="*/ 3430144 w 9085704"/>
              <a:gd name="connsiteY204" fmla="*/ 4252804 h 6858000"/>
              <a:gd name="connsiteX205" fmla="*/ 3408567 w 9085704"/>
              <a:gd name="connsiteY205" fmla="*/ 4274088 h 6858000"/>
              <a:gd name="connsiteX206" fmla="*/ 3400695 w 9085704"/>
              <a:gd name="connsiteY206" fmla="*/ 4302953 h 6858000"/>
              <a:gd name="connsiteX207" fmla="*/ 3408276 w 9085704"/>
              <a:gd name="connsiteY207" fmla="*/ 4331526 h 6858000"/>
              <a:gd name="connsiteX208" fmla="*/ 3429561 w 9085704"/>
              <a:gd name="connsiteY208" fmla="*/ 4352809 h 6858000"/>
              <a:gd name="connsiteX209" fmla="*/ 3458427 w 9085704"/>
              <a:gd name="connsiteY209" fmla="*/ 4360390 h 6858000"/>
              <a:gd name="connsiteX210" fmla="*/ 3487294 w 9085704"/>
              <a:gd name="connsiteY210" fmla="*/ 4352809 h 6858000"/>
              <a:gd name="connsiteX211" fmla="*/ 3508579 w 9085704"/>
              <a:gd name="connsiteY211" fmla="*/ 4331526 h 6858000"/>
              <a:gd name="connsiteX212" fmla="*/ 3516160 w 9085704"/>
              <a:gd name="connsiteY212" fmla="*/ 4302953 h 6858000"/>
              <a:gd name="connsiteX213" fmla="*/ 3508288 w 9085704"/>
              <a:gd name="connsiteY213" fmla="*/ 4274088 h 6858000"/>
              <a:gd name="connsiteX214" fmla="*/ 3486711 w 9085704"/>
              <a:gd name="connsiteY214" fmla="*/ 4252804 h 6858000"/>
              <a:gd name="connsiteX215" fmla="*/ 3458427 w 9085704"/>
              <a:gd name="connsiteY215" fmla="*/ 4245224 h 6858000"/>
              <a:gd name="connsiteX216" fmla="*/ 6415 w 9085704"/>
              <a:gd name="connsiteY216" fmla="*/ 2062597 h 6858000"/>
              <a:gd name="connsiteX217" fmla="*/ 604445 w 9085704"/>
              <a:gd name="connsiteY217" fmla="*/ 2062597 h 6858000"/>
              <a:gd name="connsiteX218" fmla="*/ 604445 w 9085704"/>
              <a:gd name="connsiteY218" fmla="*/ 3361794 h 6858000"/>
              <a:gd name="connsiteX219" fmla="*/ 1486182 w 9085704"/>
              <a:gd name="connsiteY219" fmla="*/ 3361794 h 6858000"/>
              <a:gd name="connsiteX220" fmla="*/ 1486182 w 9085704"/>
              <a:gd name="connsiteY220" fmla="*/ 3855407 h 6858000"/>
              <a:gd name="connsiteX221" fmla="*/ 6415 w 9085704"/>
              <a:gd name="connsiteY221" fmla="*/ 3855407 h 6858000"/>
              <a:gd name="connsiteX222" fmla="*/ 6418254 w 9085704"/>
              <a:gd name="connsiteY222" fmla="*/ 2061139 h 6858000"/>
              <a:gd name="connsiteX223" fmla="*/ 6342734 w 9085704"/>
              <a:gd name="connsiteY223" fmla="*/ 2093211 h 6858000"/>
              <a:gd name="connsiteX224" fmla="*/ 5884371 w 9085704"/>
              <a:gd name="connsiteY224" fmla="*/ 2579243 h 6858000"/>
              <a:gd name="connsiteX225" fmla="*/ 5845299 w 9085704"/>
              <a:gd name="connsiteY225" fmla="*/ 2618604 h 6858000"/>
              <a:gd name="connsiteX226" fmla="*/ 5845299 w 9085704"/>
              <a:gd name="connsiteY226" fmla="*/ 2062888 h 6858000"/>
              <a:gd name="connsiteX227" fmla="*/ 5246686 w 9085704"/>
              <a:gd name="connsiteY227" fmla="*/ 2062888 h 6858000"/>
              <a:gd name="connsiteX228" fmla="*/ 5246686 w 9085704"/>
              <a:gd name="connsiteY228" fmla="*/ 3855407 h 6858000"/>
              <a:gd name="connsiteX229" fmla="*/ 5846174 w 9085704"/>
              <a:gd name="connsiteY229" fmla="*/ 3855407 h 6858000"/>
              <a:gd name="connsiteX230" fmla="*/ 5846174 w 9085704"/>
              <a:gd name="connsiteY230" fmla="*/ 3115424 h 6858000"/>
              <a:gd name="connsiteX231" fmla="*/ 5859295 w 9085704"/>
              <a:gd name="connsiteY231" fmla="*/ 3130294 h 6858000"/>
              <a:gd name="connsiteX232" fmla="*/ 5966013 w 9085704"/>
              <a:gd name="connsiteY232" fmla="*/ 3253041 h 6858000"/>
              <a:gd name="connsiteX233" fmla="*/ 6480943 w 9085704"/>
              <a:gd name="connsiteY233" fmla="*/ 3846660 h 6858000"/>
              <a:gd name="connsiteX234" fmla="*/ 6502812 w 9085704"/>
              <a:gd name="connsiteY234" fmla="*/ 3856573 h 6858000"/>
              <a:gd name="connsiteX235" fmla="*/ 7223889 w 9085704"/>
              <a:gd name="connsiteY235" fmla="*/ 3856281 h 6858000"/>
              <a:gd name="connsiteX236" fmla="*/ 7238176 w 9085704"/>
              <a:gd name="connsiteY236" fmla="*/ 3856281 h 6858000"/>
              <a:gd name="connsiteX237" fmla="*/ 6330197 w 9085704"/>
              <a:gd name="connsiteY237" fmla="*/ 2879843 h 6858000"/>
              <a:gd name="connsiteX238" fmla="*/ 7155368 w 9085704"/>
              <a:gd name="connsiteY238" fmla="*/ 2062014 h 6858000"/>
              <a:gd name="connsiteX239" fmla="*/ 7127668 w 9085704"/>
              <a:gd name="connsiteY239" fmla="*/ 2062014 h 6858000"/>
              <a:gd name="connsiteX240" fmla="*/ 2174311 w 9085704"/>
              <a:gd name="connsiteY240" fmla="*/ 2061139 h 6858000"/>
              <a:gd name="connsiteX241" fmla="*/ 2753097 w 9085704"/>
              <a:gd name="connsiteY241" fmla="*/ 2061431 h 6858000"/>
              <a:gd name="connsiteX242" fmla="*/ 2765051 w 9085704"/>
              <a:gd name="connsiteY242" fmla="*/ 2062305 h 6858000"/>
              <a:gd name="connsiteX243" fmla="*/ 2247206 w 9085704"/>
              <a:gd name="connsiteY243" fmla="*/ 3855698 h 6858000"/>
              <a:gd name="connsiteX244" fmla="*/ 1644510 w 9085704"/>
              <a:gd name="connsiteY244" fmla="*/ 3855698 h 6858000"/>
              <a:gd name="connsiteX245" fmla="*/ 1686790 w 9085704"/>
              <a:gd name="connsiteY245" fmla="*/ 3709043 h 6858000"/>
              <a:gd name="connsiteX246" fmla="*/ 1988574 w 9085704"/>
              <a:gd name="connsiteY246" fmla="*/ 2664671 h 6858000"/>
              <a:gd name="connsiteX247" fmla="*/ 2158274 w 9085704"/>
              <a:gd name="connsiteY247" fmla="*/ 2074842 h 6858000"/>
              <a:gd name="connsiteX248" fmla="*/ 2174311 w 9085704"/>
              <a:gd name="connsiteY248" fmla="*/ 2061139 h 6858000"/>
              <a:gd name="connsiteX249" fmla="*/ 3600940 w 9085704"/>
              <a:gd name="connsiteY249" fmla="*/ 0 h 6858000"/>
              <a:gd name="connsiteX250" fmla="*/ 9085704 w 9085704"/>
              <a:gd name="connsiteY250" fmla="*/ 0 h 6858000"/>
              <a:gd name="connsiteX251" fmla="*/ 9085704 w 9085704"/>
              <a:gd name="connsiteY251" fmla="*/ 6858000 h 6858000"/>
              <a:gd name="connsiteX252" fmla="*/ 1622047 w 9085704"/>
              <a:gd name="connsiteY252" fmla="*/ 6858000 h 6858000"/>
              <a:gd name="connsiteX253" fmla="*/ 2211265 w 9085704"/>
              <a:gd name="connsiteY253" fmla="*/ 4818924 h 6858000"/>
              <a:gd name="connsiteX254" fmla="*/ 2189235 w 9085704"/>
              <a:gd name="connsiteY254" fmla="*/ 4816456 h 6858000"/>
              <a:gd name="connsiteX255" fmla="*/ 2266741 w 9085704"/>
              <a:gd name="connsiteY255" fmla="*/ 4825139 h 6858000"/>
              <a:gd name="connsiteX256" fmla="*/ 2411948 w 9085704"/>
              <a:gd name="connsiteY256" fmla="*/ 4797440 h 6858000"/>
              <a:gd name="connsiteX257" fmla="*/ 2521582 w 9085704"/>
              <a:gd name="connsiteY257" fmla="*/ 4733005 h 6858000"/>
              <a:gd name="connsiteX258" fmla="*/ 2521582 w 9085704"/>
              <a:gd name="connsiteY258" fmla="*/ 4495966 h 6858000"/>
              <a:gd name="connsiteX259" fmla="*/ 2304588 w 9085704"/>
              <a:gd name="connsiteY259" fmla="*/ 4495966 h 6858000"/>
              <a:gd name="connsiteX260" fmla="*/ 2349489 w 9085704"/>
              <a:gd name="connsiteY260" fmla="*/ 4340581 h 6858000"/>
              <a:gd name="connsiteX261" fmla="*/ 2346925 w 9085704"/>
              <a:gd name="connsiteY261" fmla="*/ 4337940 h 6858000"/>
              <a:gd name="connsiteX262" fmla="*/ 2394161 w 9085704"/>
              <a:gd name="connsiteY262" fmla="*/ 4407040 h 6858000"/>
              <a:gd name="connsiteX263" fmla="*/ 2513709 w 9085704"/>
              <a:gd name="connsiteY263" fmla="*/ 4384590 h 6858000"/>
              <a:gd name="connsiteX264" fmla="*/ 2433525 w 9085704"/>
              <a:gd name="connsiteY264" fmla="*/ 4256011 h 6858000"/>
              <a:gd name="connsiteX265" fmla="*/ 2381000 w 9085704"/>
              <a:gd name="connsiteY265" fmla="*/ 4231534 h 6858000"/>
              <a:gd name="connsiteX266" fmla="*/ 2488057 w 9085704"/>
              <a:gd name="connsiteY266" fmla="*/ 3861048 h 6858000"/>
              <a:gd name="connsiteX267" fmla="*/ 3094243 w 9085704"/>
              <a:gd name="connsiteY267" fmla="*/ 3864641 h 6858000"/>
              <a:gd name="connsiteX268" fmla="*/ 3382324 w 9085704"/>
              <a:gd name="connsiteY268" fmla="*/ 2776339 h 6858000"/>
              <a:gd name="connsiteX269" fmla="*/ 3391071 w 9085704"/>
              <a:gd name="connsiteY269" fmla="*/ 2790626 h 6858000"/>
              <a:gd name="connsiteX270" fmla="*/ 3656701 w 9085704"/>
              <a:gd name="connsiteY270" fmla="*/ 3290070 h 6858000"/>
              <a:gd name="connsiteX271" fmla="*/ 3949447 w 9085704"/>
              <a:gd name="connsiteY271" fmla="*/ 3840829 h 6858000"/>
              <a:gd name="connsiteX272" fmla="*/ 3974814 w 9085704"/>
              <a:gd name="connsiteY272" fmla="*/ 3855990 h 6858000"/>
              <a:gd name="connsiteX273" fmla="*/ 4555058 w 9085704"/>
              <a:gd name="connsiteY273" fmla="*/ 3855699 h 6858000"/>
              <a:gd name="connsiteX274" fmla="*/ 4572844 w 9085704"/>
              <a:gd name="connsiteY274" fmla="*/ 3855699 h 6858000"/>
              <a:gd name="connsiteX275" fmla="*/ 5091857 w 9085704"/>
              <a:gd name="connsiteY275" fmla="*/ 2061140 h 6858000"/>
              <a:gd name="connsiteX276" fmla="*/ 5073778 w 9085704"/>
              <a:gd name="connsiteY276" fmla="*/ 2061140 h 6858000"/>
              <a:gd name="connsiteX277" fmla="*/ 4494992 w 9085704"/>
              <a:gd name="connsiteY277" fmla="*/ 2060848 h 6858000"/>
              <a:gd name="connsiteX278" fmla="*/ 4473707 w 9085704"/>
              <a:gd name="connsiteY278" fmla="*/ 2077467 h 6858000"/>
              <a:gd name="connsiteX279" fmla="*/ 4373404 w 9085704"/>
              <a:gd name="connsiteY279" fmla="*/ 2453581 h 6858000"/>
              <a:gd name="connsiteX280" fmla="*/ 4198164 w 9085704"/>
              <a:gd name="connsiteY280" fmla="*/ 3108136 h 6858000"/>
              <a:gd name="connsiteX281" fmla="*/ 4186501 w 9085704"/>
              <a:gd name="connsiteY281" fmla="*/ 3150121 h 6858000"/>
              <a:gd name="connsiteX282" fmla="*/ 4176587 w 9085704"/>
              <a:gd name="connsiteY282" fmla="*/ 3131461 h 6858000"/>
              <a:gd name="connsiteX283" fmla="*/ 4105442 w 9085704"/>
              <a:gd name="connsiteY283" fmla="*/ 2996759 h 6858000"/>
              <a:gd name="connsiteX284" fmla="*/ 3620545 w 9085704"/>
              <a:gd name="connsiteY284" fmla="*/ 2073677 h 6858000"/>
              <a:gd name="connsiteX285" fmla="*/ 3599259 w 9085704"/>
              <a:gd name="connsiteY285" fmla="*/ 2061431 h 6858000"/>
              <a:gd name="connsiteX286" fmla="*/ 3458651 w 9085704"/>
              <a:gd name="connsiteY286" fmla="*/ 2061503 h 6858000"/>
              <a:gd name="connsiteX287" fmla="*/ 3453704 w 9085704"/>
              <a:gd name="connsiteY287" fmla="*/ 2061141 h 6858000"/>
              <a:gd name="connsiteX288" fmla="*/ 3007993 w 9085704"/>
              <a:gd name="connsiteY288" fmla="*/ 20609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Lst>
            <a:rect l="l" t="t" r="r" b="b"/>
            <a:pathLst>
              <a:path w="9085704" h="6858000">
                <a:moveTo>
                  <a:pt x="2183293" y="4704511"/>
                </a:moveTo>
                <a:lnTo>
                  <a:pt x="2189728" y="4709207"/>
                </a:lnTo>
                <a:lnTo>
                  <a:pt x="2183293" y="4704511"/>
                </a:lnTo>
                <a:close/>
                <a:moveTo>
                  <a:pt x="6115886" y="4610259"/>
                </a:moveTo>
                <a:lnTo>
                  <a:pt x="6175368" y="4610259"/>
                </a:lnTo>
                <a:lnTo>
                  <a:pt x="6175368" y="4663906"/>
                </a:lnTo>
                <a:cubicBezTo>
                  <a:pt x="6175368" y="4730673"/>
                  <a:pt x="6119968" y="4767993"/>
                  <a:pt x="6047073" y="4767993"/>
                </a:cubicBezTo>
                <a:cubicBezTo>
                  <a:pt x="5987007" y="4767993"/>
                  <a:pt x="5965431" y="4740003"/>
                  <a:pt x="5965431" y="4695394"/>
                </a:cubicBezTo>
                <a:cubicBezTo>
                  <a:pt x="5965431" y="4631834"/>
                  <a:pt x="6029286" y="4610259"/>
                  <a:pt x="6115886" y="4610259"/>
                </a:cubicBezTo>
                <a:close/>
                <a:moveTo>
                  <a:pt x="218976" y="4610259"/>
                </a:moveTo>
                <a:cubicBezTo>
                  <a:pt x="132377" y="4610259"/>
                  <a:pt x="68521" y="4631834"/>
                  <a:pt x="68521" y="4695394"/>
                </a:cubicBezTo>
                <a:cubicBezTo>
                  <a:pt x="68521" y="4740003"/>
                  <a:pt x="90098" y="4767993"/>
                  <a:pt x="150164" y="4767993"/>
                </a:cubicBezTo>
                <a:cubicBezTo>
                  <a:pt x="223059" y="4767993"/>
                  <a:pt x="278459" y="4730673"/>
                  <a:pt x="278459" y="4663906"/>
                </a:cubicBezTo>
                <a:lnTo>
                  <a:pt x="278459" y="4610259"/>
                </a:lnTo>
                <a:close/>
                <a:moveTo>
                  <a:pt x="2275606" y="4596263"/>
                </a:moveTo>
                <a:lnTo>
                  <a:pt x="2399993" y="4596263"/>
                </a:lnTo>
                <a:lnTo>
                  <a:pt x="2399993" y="4671777"/>
                </a:lnTo>
                <a:cubicBezTo>
                  <a:pt x="2381623" y="4685772"/>
                  <a:pt x="2360046" y="4697726"/>
                  <a:pt x="2334679" y="4707639"/>
                </a:cubicBezTo>
                <a:cubicBezTo>
                  <a:pt x="2309311" y="4717553"/>
                  <a:pt x="2283944" y="4722509"/>
                  <a:pt x="2258868" y="4722509"/>
                </a:cubicBezTo>
                <a:lnTo>
                  <a:pt x="2240166" y="4718911"/>
                </a:lnTo>
                <a:close/>
                <a:moveTo>
                  <a:pt x="2778172" y="4467101"/>
                </a:moveTo>
                <a:cubicBezTo>
                  <a:pt x="2807913" y="4467101"/>
                  <a:pt x="2832989" y="4478472"/>
                  <a:pt x="2853108" y="4501214"/>
                </a:cubicBezTo>
                <a:cubicBezTo>
                  <a:pt x="2873227" y="4523956"/>
                  <a:pt x="2883432" y="4556319"/>
                  <a:pt x="2883432" y="4598596"/>
                </a:cubicBezTo>
                <a:cubicBezTo>
                  <a:pt x="2883432" y="4642038"/>
                  <a:pt x="2873227" y="4674985"/>
                  <a:pt x="2853108" y="4697726"/>
                </a:cubicBezTo>
                <a:cubicBezTo>
                  <a:pt x="2832989" y="4720468"/>
                  <a:pt x="2807913" y="4731839"/>
                  <a:pt x="2778172" y="4731839"/>
                </a:cubicBezTo>
                <a:cubicBezTo>
                  <a:pt x="2748431" y="4731839"/>
                  <a:pt x="2723355" y="4720468"/>
                  <a:pt x="2702944" y="4697726"/>
                </a:cubicBezTo>
                <a:cubicBezTo>
                  <a:pt x="2682534" y="4674985"/>
                  <a:pt x="2672328" y="4642330"/>
                  <a:pt x="2672328" y="4599470"/>
                </a:cubicBezTo>
                <a:cubicBezTo>
                  <a:pt x="2672328" y="4556611"/>
                  <a:pt x="2682534" y="4523956"/>
                  <a:pt x="2702944" y="4501214"/>
                </a:cubicBezTo>
                <a:cubicBezTo>
                  <a:pt x="2723355" y="4478472"/>
                  <a:pt x="2748431" y="4467101"/>
                  <a:pt x="2778172" y="4467101"/>
                </a:cubicBezTo>
                <a:close/>
                <a:moveTo>
                  <a:pt x="5621949" y="4432406"/>
                </a:moveTo>
                <a:cubicBezTo>
                  <a:pt x="5694553" y="4432406"/>
                  <a:pt x="5754910" y="4486928"/>
                  <a:pt x="5754910" y="4595972"/>
                </a:cubicBezTo>
                <a:lnTo>
                  <a:pt x="5754910" y="4602678"/>
                </a:lnTo>
                <a:cubicBezTo>
                  <a:pt x="5754910" y="4707640"/>
                  <a:pt x="5708840" y="4765369"/>
                  <a:pt x="5622824" y="4765369"/>
                </a:cubicBezTo>
                <a:cubicBezTo>
                  <a:pt x="5538557" y="4765369"/>
                  <a:pt x="5480825" y="4713471"/>
                  <a:pt x="5480825" y="4602678"/>
                </a:cubicBezTo>
                <a:lnTo>
                  <a:pt x="5480825" y="4595972"/>
                </a:lnTo>
                <a:cubicBezTo>
                  <a:pt x="5480825" y="4485179"/>
                  <a:pt x="5541765" y="4432406"/>
                  <a:pt x="5621949" y="4432406"/>
                </a:cubicBezTo>
                <a:close/>
                <a:moveTo>
                  <a:pt x="4344247" y="4432406"/>
                </a:moveTo>
                <a:cubicBezTo>
                  <a:pt x="4429972" y="4432406"/>
                  <a:pt x="4485372" y="4496841"/>
                  <a:pt x="4485372" y="4596847"/>
                </a:cubicBezTo>
                <a:lnTo>
                  <a:pt x="4485372" y="4602678"/>
                </a:lnTo>
                <a:cubicBezTo>
                  <a:pt x="4485372" y="4700351"/>
                  <a:pt x="4430846" y="4765369"/>
                  <a:pt x="4344247" y="4765369"/>
                </a:cubicBezTo>
                <a:cubicBezTo>
                  <a:pt x="4256773" y="4765369"/>
                  <a:pt x="4203123" y="4700934"/>
                  <a:pt x="4203123" y="4602678"/>
                </a:cubicBezTo>
                <a:lnTo>
                  <a:pt x="4203123" y="4595972"/>
                </a:lnTo>
                <a:cubicBezTo>
                  <a:pt x="4203123" y="4496841"/>
                  <a:pt x="4257648" y="4432406"/>
                  <a:pt x="4344247" y="4432406"/>
                </a:cubicBezTo>
                <a:close/>
                <a:moveTo>
                  <a:pt x="2984902" y="4383715"/>
                </a:moveTo>
                <a:lnTo>
                  <a:pt x="3158975" y="4814642"/>
                </a:lnTo>
                <a:lnTo>
                  <a:pt x="3262194" y="4814642"/>
                </a:lnTo>
                <a:lnTo>
                  <a:pt x="3433643" y="4383715"/>
                </a:lnTo>
                <a:lnTo>
                  <a:pt x="3316137" y="4383715"/>
                </a:lnTo>
                <a:lnTo>
                  <a:pt x="3233911" y="4603552"/>
                </a:lnTo>
                <a:cubicBezTo>
                  <a:pt x="3229537" y="4615798"/>
                  <a:pt x="3225455" y="4627752"/>
                  <a:pt x="3221665" y="4639997"/>
                </a:cubicBezTo>
                <a:cubicBezTo>
                  <a:pt x="3220207" y="4646120"/>
                  <a:pt x="3216125" y="4658366"/>
                  <a:pt x="3210002" y="4677026"/>
                </a:cubicBezTo>
                <a:lnTo>
                  <a:pt x="3186384" y="4603552"/>
                </a:lnTo>
                <a:lnTo>
                  <a:pt x="3105033" y="4383715"/>
                </a:lnTo>
                <a:close/>
                <a:moveTo>
                  <a:pt x="6811304" y="4382841"/>
                </a:moveTo>
                <a:lnTo>
                  <a:pt x="6980711" y="4770326"/>
                </a:lnTo>
                <a:lnTo>
                  <a:pt x="6898778" y="4965089"/>
                </a:lnTo>
                <a:lnTo>
                  <a:pt x="6968173" y="4965089"/>
                </a:lnTo>
                <a:lnTo>
                  <a:pt x="7206978" y="4382841"/>
                </a:lnTo>
                <a:lnTo>
                  <a:pt x="7136707" y="4382841"/>
                </a:lnTo>
                <a:lnTo>
                  <a:pt x="7016868" y="4692479"/>
                </a:lnTo>
                <a:lnTo>
                  <a:pt x="6884782" y="4382841"/>
                </a:lnTo>
                <a:close/>
                <a:moveTo>
                  <a:pt x="4860343" y="4375843"/>
                </a:moveTo>
                <a:cubicBezTo>
                  <a:pt x="4798237" y="4375843"/>
                  <a:pt x="4751292" y="4408789"/>
                  <a:pt x="4731465" y="4449316"/>
                </a:cubicBezTo>
                <a:lnTo>
                  <a:pt x="4731465" y="4383132"/>
                </a:lnTo>
                <a:lnTo>
                  <a:pt x="4663236" y="4383132"/>
                </a:lnTo>
                <a:lnTo>
                  <a:pt x="4663236" y="4815226"/>
                </a:lnTo>
                <a:lnTo>
                  <a:pt x="4731757" y="4815226"/>
                </a:lnTo>
                <a:lnTo>
                  <a:pt x="4731757" y="4551071"/>
                </a:lnTo>
                <a:cubicBezTo>
                  <a:pt x="4731757" y="4473225"/>
                  <a:pt x="4789489" y="4435322"/>
                  <a:pt x="4845764" y="4435322"/>
                </a:cubicBezTo>
                <a:cubicBezTo>
                  <a:pt x="4905247" y="4435322"/>
                  <a:pt x="4937321" y="4466518"/>
                  <a:pt x="4937321" y="4542616"/>
                </a:cubicBezTo>
                <a:lnTo>
                  <a:pt x="4937321" y="4815226"/>
                </a:lnTo>
                <a:lnTo>
                  <a:pt x="5005842" y="4815226"/>
                </a:lnTo>
                <a:lnTo>
                  <a:pt x="5005842" y="4551071"/>
                </a:lnTo>
                <a:cubicBezTo>
                  <a:pt x="5005842" y="4473225"/>
                  <a:pt x="5063574" y="4435322"/>
                  <a:pt x="5119849" y="4435322"/>
                </a:cubicBezTo>
                <a:cubicBezTo>
                  <a:pt x="5179332" y="4435322"/>
                  <a:pt x="5211406" y="4466518"/>
                  <a:pt x="5211406" y="4542616"/>
                </a:cubicBezTo>
                <a:lnTo>
                  <a:pt x="5211406" y="4815226"/>
                </a:lnTo>
                <a:lnTo>
                  <a:pt x="5279927" y="4815226"/>
                </a:lnTo>
                <a:lnTo>
                  <a:pt x="5279927" y="4547573"/>
                </a:lnTo>
                <a:cubicBezTo>
                  <a:pt x="5279927" y="4422201"/>
                  <a:pt x="5211989" y="4375843"/>
                  <a:pt x="5134428" y="4375843"/>
                </a:cubicBezTo>
                <a:cubicBezTo>
                  <a:pt x="5080778" y="4375843"/>
                  <a:pt x="5016339" y="4400626"/>
                  <a:pt x="4986598" y="4456897"/>
                </a:cubicBezTo>
                <a:cubicBezTo>
                  <a:pt x="4964437" y="4398876"/>
                  <a:pt x="4915744" y="4375843"/>
                  <a:pt x="4860343" y="4375843"/>
                </a:cubicBezTo>
                <a:close/>
                <a:moveTo>
                  <a:pt x="6585913" y="4375552"/>
                </a:moveTo>
                <a:cubicBezTo>
                  <a:pt x="6514767" y="4375552"/>
                  <a:pt x="6466948" y="4411122"/>
                  <a:pt x="6447120" y="4451649"/>
                </a:cubicBezTo>
                <a:lnTo>
                  <a:pt x="6447120" y="4383133"/>
                </a:lnTo>
                <a:lnTo>
                  <a:pt x="6378599" y="4383133"/>
                </a:lnTo>
                <a:lnTo>
                  <a:pt x="6378599" y="4814935"/>
                </a:lnTo>
                <a:lnTo>
                  <a:pt x="6447120" y="4814935"/>
                </a:lnTo>
                <a:lnTo>
                  <a:pt x="6447120" y="4553113"/>
                </a:lnTo>
                <a:cubicBezTo>
                  <a:pt x="6447120" y="4475557"/>
                  <a:pt x="6504270" y="4435030"/>
                  <a:pt x="6567835" y="4435030"/>
                </a:cubicBezTo>
                <a:cubicBezTo>
                  <a:pt x="6637230" y="4435030"/>
                  <a:pt x="6669304" y="4468852"/>
                  <a:pt x="6669304" y="4544949"/>
                </a:cubicBezTo>
                <a:lnTo>
                  <a:pt x="6669304" y="4814935"/>
                </a:lnTo>
                <a:lnTo>
                  <a:pt x="6737825" y="4814935"/>
                </a:lnTo>
                <a:lnTo>
                  <a:pt x="6737825" y="4549906"/>
                </a:lnTo>
                <a:cubicBezTo>
                  <a:pt x="6737825" y="4424243"/>
                  <a:pt x="6675136" y="4375552"/>
                  <a:pt x="6585913" y="4375552"/>
                </a:cubicBezTo>
                <a:close/>
                <a:moveTo>
                  <a:pt x="6086144" y="4375552"/>
                </a:moveTo>
                <a:cubicBezTo>
                  <a:pt x="6002753" y="4375552"/>
                  <a:pt x="5924318" y="4411997"/>
                  <a:pt x="5915279" y="4510253"/>
                </a:cubicBezTo>
                <a:lnTo>
                  <a:pt x="5983800" y="4510253"/>
                </a:lnTo>
                <a:cubicBezTo>
                  <a:pt x="5990507" y="4457481"/>
                  <a:pt x="6023455" y="4432698"/>
                  <a:pt x="6082938" y="4432698"/>
                </a:cubicBezTo>
                <a:cubicBezTo>
                  <a:pt x="6148834" y="4432698"/>
                  <a:pt x="6175368" y="4461563"/>
                  <a:pt x="6175368" y="4530079"/>
                </a:cubicBezTo>
                <a:lnTo>
                  <a:pt x="6175368" y="4561568"/>
                </a:lnTo>
                <a:lnTo>
                  <a:pt x="6113553" y="4561568"/>
                </a:lnTo>
                <a:cubicBezTo>
                  <a:pt x="6003044" y="4561568"/>
                  <a:pt x="5897201" y="4595389"/>
                  <a:pt x="5897201" y="4695394"/>
                </a:cubicBezTo>
                <a:cubicBezTo>
                  <a:pt x="5897201" y="4783738"/>
                  <a:pt x="5960765" y="4822515"/>
                  <a:pt x="6040658" y="4822224"/>
                </a:cubicBezTo>
                <a:cubicBezTo>
                  <a:pt x="6104223" y="4822224"/>
                  <a:pt x="6143294" y="4800940"/>
                  <a:pt x="6175368" y="4760413"/>
                </a:cubicBezTo>
                <a:lnTo>
                  <a:pt x="6175368" y="4814935"/>
                </a:lnTo>
                <a:lnTo>
                  <a:pt x="6243889" y="4814935"/>
                </a:lnTo>
                <a:lnTo>
                  <a:pt x="6243889" y="4530079"/>
                </a:lnTo>
                <a:cubicBezTo>
                  <a:pt x="6243889" y="4409373"/>
                  <a:pt x="6168662" y="4375552"/>
                  <a:pt x="6086144" y="4375552"/>
                </a:cubicBezTo>
                <a:close/>
                <a:moveTo>
                  <a:pt x="5629239" y="4375552"/>
                </a:moveTo>
                <a:cubicBezTo>
                  <a:pt x="5566549" y="4375552"/>
                  <a:pt x="5507942" y="4413746"/>
                  <a:pt x="5483157" y="4455731"/>
                </a:cubicBezTo>
                <a:lnTo>
                  <a:pt x="5483157" y="4383133"/>
                </a:lnTo>
                <a:lnTo>
                  <a:pt x="5414636" y="4383133"/>
                </a:lnTo>
                <a:lnTo>
                  <a:pt x="5414636" y="4965380"/>
                </a:lnTo>
                <a:lnTo>
                  <a:pt x="5483157" y="4965380"/>
                </a:lnTo>
                <a:lnTo>
                  <a:pt x="5483157" y="4744085"/>
                </a:lnTo>
                <a:cubicBezTo>
                  <a:pt x="5507942" y="4786945"/>
                  <a:pt x="5558093" y="4822515"/>
                  <a:pt x="5629239" y="4822515"/>
                </a:cubicBezTo>
                <a:cubicBezTo>
                  <a:pt x="5748203" y="4822515"/>
                  <a:pt x="5825764" y="4731548"/>
                  <a:pt x="5825764" y="4599471"/>
                </a:cubicBezTo>
                <a:lnTo>
                  <a:pt x="5825764" y="4592765"/>
                </a:lnTo>
                <a:cubicBezTo>
                  <a:pt x="5825764" y="4458064"/>
                  <a:pt x="5742372" y="4375552"/>
                  <a:pt x="5629239" y="4375552"/>
                </a:cubicBezTo>
                <a:close/>
                <a:moveTo>
                  <a:pt x="4344247" y="4375552"/>
                </a:moveTo>
                <a:cubicBezTo>
                  <a:pt x="4222075" y="4375552"/>
                  <a:pt x="4131977" y="4466227"/>
                  <a:pt x="4131977" y="4595972"/>
                </a:cubicBezTo>
                <a:lnTo>
                  <a:pt x="4131977" y="4602678"/>
                </a:lnTo>
                <a:cubicBezTo>
                  <a:pt x="4131977" y="4729216"/>
                  <a:pt x="4220326" y="4822515"/>
                  <a:pt x="4343372" y="4822515"/>
                </a:cubicBezTo>
                <a:cubicBezTo>
                  <a:pt x="4466419" y="4822515"/>
                  <a:pt x="4556517" y="4732714"/>
                  <a:pt x="4556517" y="4602095"/>
                </a:cubicBezTo>
                <a:lnTo>
                  <a:pt x="4556517" y="4595389"/>
                </a:lnTo>
                <a:cubicBezTo>
                  <a:pt x="4556517" y="4465644"/>
                  <a:pt x="4466419" y="4375552"/>
                  <a:pt x="4344247" y="4375552"/>
                </a:cubicBezTo>
                <a:close/>
                <a:moveTo>
                  <a:pt x="3871012" y="4375552"/>
                </a:moveTo>
                <a:cubicBezTo>
                  <a:pt x="3755255" y="4375552"/>
                  <a:pt x="3661075" y="4464770"/>
                  <a:pt x="3661075" y="4596847"/>
                </a:cubicBezTo>
                <a:lnTo>
                  <a:pt x="3661075" y="4603553"/>
                </a:lnTo>
                <a:cubicBezTo>
                  <a:pt x="3661075" y="4737379"/>
                  <a:pt x="3752048" y="4822515"/>
                  <a:pt x="3872470" y="4822224"/>
                </a:cubicBezTo>
                <a:cubicBezTo>
                  <a:pt x="3976565" y="4822224"/>
                  <a:pt x="4051792" y="4752832"/>
                  <a:pt x="4060831" y="4659532"/>
                </a:cubicBezTo>
                <a:lnTo>
                  <a:pt x="3997267" y="4659532"/>
                </a:lnTo>
                <a:cubicBezTo>
                  <a:pt x="3989686" y="4729799"/>
                  <a:pt x="3934577" y="4765369"/>
                  <a:pt x="3873345" y="4765369"/>
                </a:cubicBezTo>
                <a:cubicBezTo>
                  <a:pt x="3789953" y="4765369"/>
                  <a:pt x="3732221" y="4709390"/>
                  <a:pt x="3732221" y="4603553"/>
                </a:cubicBezTo>
                <a:lnTo>
                  <a:pt x="3732221" y="4596847"/>
                </a:lnTo>
                <a:cubicBezTo>
                  <a:pt x="3732221" y="4495092"/>
                  <a:pt x="3792578" y="4432406"/>
                  <a:pt x="3871012" y="4432406"/>
                </a:cubicBezTo>
                <a:cubicBezTo>
                  <a:pt x="3930495" y="4432406"/>
                  <a:pt x="3980063" y="4458064"/>
                  <a:pt x="3990852" y="4526581"/>
                </a:cubicBezTo>
                <a:lnTo>
                  <a:pt x="4058498" y="4526581"/>
                </a:lnTo>
                <a:cubicBezTo>
                  <a:pt x="4045377" y="4416954"/>
                  <a:pt x="3961111" y="4375552"/>
                  <a:pt x="3871012" y="4375552"/>
                </a:cubicBezTo>
                <a:close/>
                <a:moveTo>
                  <a:pt x="188944" y="4375552"/>
                </a:moveTo>
                <a:cubicBezTo>
                  <a:pt x="271461" y="4375552"/>
                  <a:pt x="346688" y="4409373"/>
                  <a:pt x="346688" y="4530079"/>
                </a:cubicBezTo>
                <a:lnTo>
                  <a:pt x="346688" y="4814935"/>
                </a:lnTo>
                <a:lnTo>
                  <a:pt x="278167" y="4814935"/>
                </a:lnTo>
                <a:lnTo>
                  <a:pt x="278167" y="4760413"/>
                </a:lnTo>
                <a:cubicBezTo>
                  <a:pt x="246093" y="4800940"/>
                  <a:pt x="207022" y="4822224"/>
                  <a:pt x="143457" y="4822224"/>
                </a:cubicBezTo>
                <a:cubicBezTo>
                  <a:pt x="63564" y="4822515"/>
                  <a:pt x="0" y="4783738"/>
                  <a:pt x="0" y="4695394"/>
                </a:cubicBezTo>
                <a:cubicBezTo>
                  <a:pt x="0" y="4595389"/>
                  <a:pt x="105843" y="4561568"/>
                  <a:pt x="216352" y="4561568"/>
                </a:cubicBezTo>
                <a:lnTo>
                  <a:pt x="278167" y="4561568"/>
                </a:lnTo>
                <a:lnTo>
                  <a:pt x="278167" y="4530079"/>
                </a:lnTo>
                <a:cubicBezTo>
                  <a:pt x="278167" y="4461563"/>
                  <a:pt x="251633" y="4432698"/>
                  <a:pt x="185736" y="4432698"/>
                </a:cubicBezTo>
                <a:cubicBezTo>
                  <a:pt x="126254" y="4432698"/>
                  <a:pt x="93306" y="4457481"/>
                  <a:pt x="86599" y="4510253"/>
                </a:cubicBezTo>
                <a:lnTo>
                  <a:pt x="18078" y="4510253"/>
                </a:lnTo>
                <a:cubicBezTo>
                  <a:pt x="27117" y="4411997"/>
                  <a:pt x="105552" y="4375552"/>
                  <a:pt x="188944" y="4375552"/>
                </a:cubicBezTo>
                <a:close/>
                <a:moveTo>
                  <a:pt x="2777589" y="4374094"/>
                </a:moveTo>
                <a:cubicBezTo>
                  <a:pt x="2735310" y="4374094"/>
                  <a:pt x="2697113" y="4383423"/>
                  <a:pt x="2662998" y="4402667"/>
                </a:cubicBezTo>
                <a:cubicBezTo>
                  <a:pt x="2628591" y="4421326"/>
                  <a:pt x="2602058" y="4448442"/>
                  <a:pt x="2583396" y="4483721"/>
                </a:cubicBezTo>
                <a:cubicBezTo>
                  <a:pt x="2564735" y="4518999"/>
                  <a:pt x="2555405" y="4555736"/>
                  <a:pt x="2555405" y="4593639"/>
                </a:cubicBezTo>
                <a:cubicBezTo>
                  <a:pt x="2555405" y="4643205"/>
                  <a:pt x="2564735" y="4685189"/>
                  <a:pt x="2583396" y="4719594"/>
                </a:cubicBezTo>
                <a:cubicBezTo>
                  <a:pt x="2602058" y="4753998"/>
                  <a:pt x="2629466" y="4780238"/>
                  <a:pt x="2665330" y="4798023"/>
                </a:cubicBezTo>
                <a:cubicBezTo>
                  <a:pt x="2701195" y="4815809"/>
                  <a:pt x="2738809" y="4824847"/>
                  <a:pt x="2778463" y="4824847"/>
                </a:cubicBezTo>
                <a:cubicBezTo>
                  <a:pt x="2842320" y="4824847"/>
                  <a:pt x="2895387" y="4803272"/>
                  <a:pt x="2937666" y="4760412"/>
                </a:cubicBezTo>
                <a:cubicBezTo>
                  <a:pt x="2979945" y="4717553"/>
                  <a:pt x="3000939" y="4663614"/>
                  <a:pt x="3000939" y="4598304"/>
                </a:cubicBezTo>
                <a:cubicBezTo>
                  <a:pt x="3000939" y="4533577"/>
                  <a:pt x="2979945" y="4479930"/>
                  <a:pt x="2938249" y="4437654"/>
                </a:cubicBezTo>
                <a:cubicBezTo>
                  <a:pt x="2896553" y="4395378"/>
                  <a:pt x="2842903" y="4374094"/>
                  <a:pt x="2777589" y="4374094"/>
                </a:cubicBezTo>
                <a:close/>
                <a:moveTo>
                  <a:pt x="3443265" y="4281377"/>
                </a:moveTo>
                <a:lnTo>
                  <a:pt x="3454637" y="4281377"/>
                </a:lnTo>
                <a:cubicBezTo>
                  <a:pt x="3459302" y="4281377"/>
                  <a:pt x="3462801" y="4281669"/>
                  <a:pt x="3464842" y="4282252"/>
                </a:cubicBezTo>
                <a:cubicBezTo>
                  <a:pt x="3466883" y="4282835"/>
                  <a:pt x="3468341" y="4284001"/>
                  <a:pt x="3469216" y="4285459"/>
                </a:cubicBezTo>
                <a:cubicBezTo>
                  <a:pt x="3470091" y="4286917"/>
                  <a:pt x="3470674" y="4288666"/>
                  <a:pt x="3470674" y="4290415"/>
                </a:cubicBezTo>
                <a:cubicBezTo>
                  <a:pt x="3470674" y="4293331"/>
                  <a:pt x="3469508" y="4295664"/>
                  <a:pt x="3467467" y="4297413"/>
                </a:cubicBezTo>
                <a:cubicBezTo>
                  <a:pt x="3465425" y="4299162"/>
                  <a:pt x="3461343" y="4300037"/>
                  <a:pt x="3455512" y="4300037"/>
                </a:cubicBezTo>
                <a:lnTo>
                  <a:pt x="3443265" y="4300037"/>
                </a:lnTo>
                <a:close/>
                <a:moveTo>
                  <a:pt x="3433060" y="4272630"/>
                </a:moveTo>
                <a:lnTo>
                  <a:pt x="3433060" y="4334733"/>
                </a:lnTo>
                <a:lnTo>
                  <a:pt x="3442974" y="4334733"/>
                </a:lnTo>
                <a:lnTo>
                  <a:pt x="3442974" y="4308492"/>
                </a:lnTo>
                <a:lnTo>
                  <a:pt x="3448805" y="4308492"/>
                </a:lnTo>
                <a:cubicBezTo>
                  <a:pt x="3452304" y="4308492"/>
                  <a:pt x="3455220" y="4309075"/>
                  <a:pt x="3456969" y="4310533"/>
                </a:cubicBezTo>
                <a:cubicBezTo>
                  <a:pt x="3459594" y="4312574"/>
                  <a:pt x="3463093" y="4317531"/>
                  <a:pt x="3467467" y="4325111"/>
                </a:cubicBezTo>
                <a:lnTo>
                  <a:pt x="3473006" y="4335024"/>
                </a:lnTo>
                <a:lnTo>
                  <a:pt x="3485253" y="4335024"/>
                </a:lnTo>
                <a:lnTo>
                  <a:pt x="3477672" y="4322779"/>
                </a:lnTo>
                <a:cubicBezTo>
                  <a:pt x="3473881" y="4317239"/>
                  <a:pt x="3470965" y="4312866"/>
                  <a:pt x="3468341" y="4310533"/>
                </a:cubicBezTo>
                <a:cubicBezTo>
                  <a:pt x="3467175" y="4309367"/>
                  <a:pt x="3465134" y="4308201"/>
                  <a:pt x="3463093" y="4307326"/>
                </a:cubicBezTo>
                <a:cubicBezTo>
                  <a:pt x="3468341" y="4307035"/>
                  <a:pt x="3472715" y="4305285"/>
                  <a:pt x="3475922" y="4301786"/>
                </a:cubicBezTo>
                <a:cubicBezTo>
                  <a:pt x="3479130" y="4298288"/>
                  <a:pt x="3480879" y="4294497"/>
                  <a:pt x="3480879" y="4289832"/>
                </a:cubicBezTo>
                <a:cubicBezTo>
                  <a:pt x="3480879" y="4286625"/>
                  <a:pt x="3480004" y="4283710"/>
                  <a:pt x="3477963" y="4280794"/>
                </a:cubicBezTo>
                <a:cubicBezTo>
                  <a:pt x="3475922" y="4277878"/>
                  <a:pt x="3473298" y="4275837"/>
                  <a:pt x="3470091" y="4274671"/>
                </a:cubicBezTo>
                <a:cubicBezTo>
                  <a:pt x="3466883" y="4273505"/>
                  <a:pt x="3461635" y="4272922"/>
                  <a:pt x="3454346" y="4272922"/>
                </a:cubicBezTo>
                <a:lnTo>
                  <a:pt x="3454346" y="4272630"/>
                </a:lnTo>
                <a:close/>
                <a:moveTo>
                  <a:pt x="3458427" y="4254845"/>
                </a:moveTo>
                <a:cubicBezTo>
                  <a:pt x="3466592" y="4254845"/>
                  <a:pt x="3474464" y="4256886"/>
                  <a:pt x="3482046" y="4260968"/>
                </a:cubicBezTo>
                <a:cubicBezTo>
                  <a:pt x="3489918" y="4265050"/>
                  <a:pt x="3495750" y="4270881"/>
                  <a:pt x="3500123" y="4278753"/>
                </a:cubicBezTo>
                <a:cubicBezTo>
                  <a:pt x="3504497" y="4286625"/>
                  <a:pt x="3506538" y="4294497"/>
                  <a:pt x="3506538" y="4302953"/>
                </a:cubicBezTo>
                <a:cubicBezTo>
                  <a:pt x="3506538" y="4311408"/>
                  <a:pt x="3504497" y="4319280"/>
                  <a:pt x="3500123" y="4326861"/>
                </a:cubicBezTo>
                <a:cubicBezTo>
                  <a:pt x="3496041" y="4334441"/>
                  <a:pt x="3489918" y="4340272"/>
                  <a:pt x="3482337" y="4344646"/>
                </a:cubicBezTo>
                <a:cubicBezTo>
                  <a:pt x="3474756" y="4349019"/>
                  <a:pt x="3466883" y="4351060"/>
                  <a:pt x="3458427" y="4351060"/>
                </a:cubicBezTo>
                <a:cubicBezTo>
                  <a:pt x="3450263" y="4351060"/>
                  <a:pt x="3442099" y="4349019"/>
                  <a:pt x="3434518" y="4344646"/>
                </a:cubicBezTo>
                <a:cubicBezTo>
                  <a:pt x="3426937" y="4340564"/>
                  <a:pt x="3421105" y="4334441"/>
                  <a:pt x="3416732" y="4326861"/>
                </a:cubicBezTo>
                <a:cubicBezTo>
                  <a:pt x="3412358" y="4319280"/>
                  <a:pt x="3410317" y="4311408"/>
                  <a:pt x="3410317" y="4302953"/>
                </a:cubicBezTo>
                <a:cubicBezTo>
                  <a:pt x="3410317" y="4294497"/>
                  <a:pt x="3412358" y="4286334"/>
                  <a:pt x="3416732" y="4278753"/>
                </a:cubicBezTo>
                <a:cubicBezTo>
                  <a:pt x="3421105" y="4271172"/>
                  <a:pt x="3427228" y="4265050"/>
                  <a:pt x="3434810" y="4260968"/>
                </a:cubicBezTo>
                <a:cubicBezTo>
                  <a:pt x="3442391" y="4256886"/>
                  <a:pt x="3450263" y="4254845"/>
                  <a:pt x="3458427" y="4254845"/>
                </a:cubicBezTo>
                <a:close/>
                <a:moveTo>
                  <a:pt x="3458427" y="4245224"/>
                </a:moveTo>
                <a:cubicBezTo>
                  <a:pt x="3448805" y="4245224"/>
                  <a:pt x="3439183" y="4247847"/>
                  <a:pt x="3430144" y="4252804"/>
                </a:cubicBezTo>
                <a:cubicBezTo>
                  <a:pt x="3421105" y="4257761"/>
                  <a:pt x="3413816" y="4264758"/>
                  <a:pt x="3408567" y="4274088"/>
                </a:cubicBezTo>
                <a:cubicBezTo>
                  <a:pt x="3403319" y="4283126"/>
                  <a:pt x="3400695" y="4293039"/>
                  <a:pt x="3400695" y="4302953"/>
                </a:cubicBezTo>
                <a:cubicBezTo>
                  <a:pt x="3400695" y="4312866"/>
                  <a:pt x="3403027" y="4322487"/>
                  <a:pt x="3408276" y="4331526"/>
                </a:cubicBezTo>
                <a:cubicBezTo>
                  <a:pt x="3413233" y="4340564"/>
                  <a:pt x="3420522" y="4347853"/>
                  <a:pt x="3429561" y="4352809"/>
                </a:cubicBezTo>
                <a:cubicBezTo>
                  <a:pt x="3438892" y="4357766"/>
                  <a:pt x="3448514" y="4360390"/>
                  <a:pt x="3458427" y="4360390"/>
                </a:cubicBezTo>
                <a:cubicBezTo>
                  <a:pt x="3468633" y="4360390"/>
                  <a:pt x="3478255" y="4357766"/>
                  <a:pt x="3487294" y="4352809"/>
                </a:cubicBezTo>
                <a:cubicBezTo>
                  <a:pt x="3496333" y="4347853"/>
                  <a:pt x="3503622" y="4340564"/>
                  <a:pt x="3508579" y="4331526"/>
                </a:cubicBezTo>
                <a:cubicBezTo>
                  <a:pt x="3513536" y="4322487"/>
                  <a:pt x="3516160" y="4312866"/>
                  <a:pt x="3516160" y="4302953"/>
                </a:cubicBezTo>
                <a:cubicBezTo>
                  <a:pt x="3516160" y="4293039"/>
                  <a:pt x="3513536" y="4283418"/>
                  <a:pt x="3508288" y="4274088"/>
                </a:cubicBezTo>
                <a:cubicBezTo>
                  <a:pt x="3503039" y="4264758"/>
                  <a:pt x="3496041" y="4257761"/>
                  <a:pt x="3486711" y="4252804"/>
                </a:cubicBezTo>
                <a:cubicBezTo>
                  <a:pt x="3477672" y="4247847"/>
                  <a:pt x="3468050" y="4245224"/>
                  <a:pt x="3458427" y="4245224"/>
                </a:cubicBezTo>
                <a:close/>
                <a:moveTo>
                  <a:pt x="6415" y="2062597"/>
                </a:moveTo>
                <a:lnTo>
                  <a:pt x="604445" y="2062597"/>
                </a:lnTo>
                <a:lnTo>
                  <a:pt x="604445" y="3361794"/>
                </a:lnTo>
                <a:lnTo>
                  <a:pt x="1486182" y="3361794"/>
                </a:lnTo>
                <a:lnTo>
                  <a:pt x="1486182" y="3855407"/>
                </a:lnTo>
                <a:lnTo>
                  <a:pt x="6415" y="3855407"/>
                </a:lnTo>
                <a:close/>
                <a:moveTo>
                  <a:pt x="6418254" y="2061139"/>
                </a:moveTo>
                <a:cubicBezTo>
                  <a:pt x="6386180" y="2060847"/>
                  <a:pt x="6364895" y="2069594"/>
                  <a:pt x="6342734" y="2093211"/>
                </a:cubicBezTo>
                <a:lnTo>
                  <a:pt x="5884371" y="2579243"/>
                </a:lnTo>
                <a:cubicBezTo>
                  <a:pt x="5872416" y="2591489"/>
                  <a:pt x="5860170" y="2603443"/>
                  <a:pt x="5845299" y="2618604"/>
                </a:cubicBezTo>
                <a:lnTo>
                  <a:pt x="5845299" y="2062888"/>
                </a:lnTo>
                <a:lnTo>
                  <a:pt x="5246686" y="2062888"/>
                </a:lnTo>
                <a:lnTo>
                  <a:pt x="5246686" y="3855407"/>
                </a:lnTo>
                <a:lnTo>
                  <a:pt x="5846174" y="3855407"/>
                </a:lnTo>
                <a:lnTo>
                  <a:pt x="5846174" y="3115424"/>
                </a:lnTo>
                <a:cubicBezTo>
                  <a:pt x="5852297" y="3122713"/>
                  <a:pt x="5855796" y="3126504"/>
                  <a:pt x="5859295" y="3130294"/>
                </a:cubicBezTo>
                <a:lnTo>
                  <a:pt x="5966013" y="3253041"/>
                </a:lnTo>
                <a:lnTo>
                  <a:pt x="6480943" y="3846660"/>
                </a:lnTo>
                <a:cubicBezTo>
                  <a:pt x="6487358" y="3853949"/>
                  <a:pt x="6493482" y="3856573"/>
                  <a:pt x="6502812" y="3856573"/>
                </a:cubicBezTo>
                <a:lnTo>
                  <a:pt x="7223889" y="3856281"/>
                </a:lnTo>
                <a:lnTo>
                  <a:pt x="7238176" y="3856281"/>
                </a:lnTo>
                <a:lnTo>
                  <a:pt x="6330197" y="2879843"/>
                </a:lnTo>
                <a:lnTo>
                  <a:pt x="7155368" y="2062014"/>
                </a:lnTo>
                <a:lnTo>
                  <a:pt x="7127668" y="2062014"/>
                </a:lnTo>
                <a:close/>
                <a:moveTo>
                  <a:pt x="2174311" y="2061139"/>
                </a:moveTo>
                <a:lnTo>
                  <a:pt x="2753097" y="2061431"/>
                </a:lnTo>
                <a:cubicBezTo>
                  <a:pt x="2756304" y="2061431"/>
                  <a:pt x="2759803" y="2062014"/>
                  <a:pt x="2765051" y="2062305"/>
                </a:cubicBezTo>
                <a:lnTo>
                  <a:pt x="2247206" y="3855698"/>
                </a:lnTo>
                <a:lnTo>
                  <a:pt x="1644510" y="3855698"/>
                </a:lnTo>
                <a:cubicBezTo>
                  <a:pt x="1658797" y="3806133"/>
                  <a:pt x="1672793" y="3757734"/>
                  <a:pt x="1686790" y="3709043"/>
                </a:cubicBezTo>
                <a:lnTo>
                  <a:pt x="1988574" y="2664671"/>
                </a:lnTo>
                <a:lnTo>
                  <a:pt x="2158274" y="2074842"/>
                </a:lnTo>
                <a:cubicBezTo>
                  <a:pt x="2160607" y="2066387"/>
                  <a:pt x="2163231" y="2061139"/>
                  <a:pt x="2174311" y="2061139"/>
                </a:cubicBezTo>
                <a:close/>
                <a:moveTo>
                  <a:pt x="3600940" y="0"/>
                </a:moveTo>
                <a:lnTo>
                  <a:pt x="9085704" y="0"/>
                </a:lnTo>
                <a:lnTo>
                  <a:pt x="9085704" y="6858000"/>
                </a:lnTo>
                <a:lnTo>
                  <a:pt x="1622047" y="6858000"/>
                </a:lnTo>
                <a:lnTo>
                  <a:pt x="2211265" y="4818924"/>
                </a:lnTo>
                <a:lnTo>
                  <a:pt x="2189235" y="4816456"/>
                </a:lnTo>
                <a:lnTo>
                  <a:pt x="2266741" y="4825139"/>
                </a:lnTo>
                <a:cubicBezTo>
                  <a:pt x="2315726" y="4825139"/>
                  <a:pt x="2364129" y="4816100"/>
                  <a:pt x="2411948" y="4797440"/>
                </a:cubicBezTo>
                <a:cubicBezTo>
                  <a:pt x="2459767" y="4778780"/>
                  <a:pt x="2496506" y="4757497"/>
                  <a:pt x="2521582" y="4733005"/>
                </a:cubicBezTo>
                <a:lnTo>
                  <a:pt x="2521582" y="4495966"/>
                </a:lnTo>
                <a:lnTo>
                  <a:pt x="2304588" y="4495966"/>
                </a:lnTo>
                <a:lnTo>
                  <a:pt x="2349489" y="4340581"/>
                </a:lnTo>
                <a:lnTo>
                  <a:pt x="2346925" y="4337940"/>
                </a:lnTo>
                <a:cubicBezTo>
                  <a:pt x="2369960" y="4354850"/>
                  <a:pt x="2385705" y="4377884"/>
                  <a:pt x="2394161" y="4407040"/>
                </a:cubicBezTo>
                <a:lnTo>
                  <a:pt x="2513709" y="4384590"/>
                </a:lnTo>
                <a:cubicBezTo>
                  <a:pt x="2501754" y="4329776"/>
                  <a:pt x="2475220" y="4286917"/>
                  <a:pt x="2433525" y="4256011"/>
                </a:cubicBezTo>
                <a:lnTo>
                  <a:pt x="2381000" y="4231534"/>
                </a:lnTo>
                <a:lnTo>
                  <a:pt x="2488057" y="3861048"/>
                </a:lnTo>
                <a:lnTo>
                  <a:pt x="3094243" y="3864641"/>
                </a:lnTo>
                <a:lnTo>
                  <a:pt x="3382324" y="2776339"/>
                </a:lnTo>
                <a:cubicBezTo>
                  <a:pt x="3386698" y="2783337"/>
                  <a:pt x="3389030" y="2786835"/>
                  <a:pt x="3391071" y="2790626"/>
                </a:cubicBezTo>
                <a:lnTo>
                  <a:pt x="3656701" y="3290070"/>
                </a:lnTo>
                <a:lnTo>
                  <a:pt x="3949447" y="3840829"/>
                </a:lnTo>
                <a:cubicBezTo>
                  <a:pt x="3955570" y="3851908"/>
                  <a:pt x="3961693" y="3855990"/>
                  <a:pt x="3974814" y="3855990"/>
                </a:cubicBezTo>
                <a:lnTo>
                  <a:pt x="4555058" y="3855699"/>
                </a:lnTo>
                <a:lnTo>
                  <a:pt x="4572844" y="3855699"/>
                </a:lnTo>
                <a:lnTo>
                  <a:pt x="5091857" y="2061140"/>
                </a:lnTo>
                <a:lnTo>
                  <a:pt x="5073778" y="2061140"/>
                </a:lnTo>
                <a:lnTo>
                  <a:pt x="4494992" y="2060848"/>
                </a:lnTo>
                <a:cubicBezTo>
                  <a:pt x="4481580" y="2060848"/>
                  <a:pt x="4476915" y="2065513"/>
                  <a:pt x="4473707" y="2077467"/>
                </a:cubicBezTo>
                <a:cubicBezTo>
                  <a:pt x="4440759" y="2202838"/>
                  <a:pt x="4406935" y="2328210"/>
                  <a:pt x="4373404" y="2453581"/>
                </a:cubicBezTo>
                <a:lnTo>
                  <a:pt x="4198164" y="3108136"/>
                </a:lnTo>
                <a:cubicBezTo>
                  <a:pt x="4194665" y="3120965"/>
                  <a:pt x="4191166" y="3133502"/>
                  <a:pt x="4186501" y="3150121"/>
                </a:cubicBezTo>
                <a:lnTo>
                  <a:pt x="4176587" y="3131461"/>
                </a:lnTo>
                <a:lnTo>
                  <a:pt x="4105442" y="2996759"/>
                </a:lnTo>
                <a:lnTo>
                  <a:pt x="3620545" y="2073677"/>
                </a:lnTo>
                <a:cubicBezTo>
                  <a:pt x="3615296" y="2064055"/>
                  <a:pt x="3609756" y="2061431"/>
                  <a:pt x="3599259" y="2061431"/>
                </a:cubicBezTo>
                <a:lnTo>
                  <a:pt x="3458651" y="2061503"/>
                </a:lnTo>
                <a:lnTo>
                  <a:pt x="3453704" y="2061141"/>
                </a:lnTo>
                <a:lnTo>
                  <a:pt x="3007993" y="2060916"/>
                </a:lnTo>
                <a:close/>
              </a:path>
            </a:pathLst>
          </a:custGeom>
          <a:solidFill>
            <a:schemeClr val="accent1">
              <a:lumMod val="20000"/>
              <a:lumOff val="80000"/>
            </a:schemeClr>
          </a:solidFill>
        </p:spPr>
        <p:txBody>
          <a:bodyPr wrap="square">
            <a:noAutofit/>
          </a:bodyPr>
          <a:lstStyle/>
          <a:p>
            <a:r>
              <a:rPr lang="de-DE"/>
              <a:t>Bild durch Klicken auf Symbol hinzufügen</a:t>
            </a:r>
          </a:p>
        </p:txBody>
      </p:sp>
      <p:sp>
        <p:nvSpPr>
          <p:cNvPr id="5" name="Freihandform 4">
            <a:extLst>
              <a:ext uri="{FF2B5EF4-FFF2-40B4-BE49-F238E27FC236}">
                <a16:creationId xmlns:a16="http://schemas.microsoft.com/office/drawing/2014/main" id="{1C7A68F9-E84A-D0CB-7C8A-1309E0D4AB2F}"/>
              </a:ext>
            </a:extLst>
          </p:cNvPr>
          <p:cNvSpPr/>
          <p:nvPr userDrawn="1"/>
        </p:nvSpPr>
        <p:spPr>
          <a:xfrm>
            <a:off x="3701992" y="4209653"/>
            <a:ext cx="2920463" cy="615485"/>
          </a:xfrm>
          <a:custGeom>
            <a:avLst/>
            <a:gdLst>
              <a:gd name="connsiteX0" fmla="*/ 2858940 w 2920463"/>
              <a:gd name="connsiteY0" fmla="*/ 71724 h 615485"/>
              <a:gd name="connsiteX1" fmla="*/ 2847568 w 2920463"/>
              <a:gd name="connsiteY1" fmla="*/ 71724 h 615485"/>
              <a:gd name="connsiteX2" fmla="*/ 2847568 w 2920463"/>
              <a:gd name="connsiteY2" fmla="*/ 90384 h 615485"/>
              <a:gd name="connsiteX3" fmla="*/ 2859815 w 2920463"/>
              <a:gd name="connsiteY3" fmla="*/ 90384 h 615485"/>
              <a:gd name="connsiteX4" fmla="*/ 2871770 w 2920463"/>
              <a:gd name="connsiteY4" fmla="*/ 87760 h 615485"/>
              <a:gd name="connsiteX5" fmla="*/ 2874977 w 2920463"/>
              <a:gd name="connsiteY5" fmla="*/ 80762 h 615485"/>
              <a:gd name="connsiteX6" fmla="*/ 2873519 w 2920463"/>
              <a:gd name="connsiteY6" fmla="*/ 75806 h 615485"/>
              <a:gd name="connsiteX7" fmla="*/ 2869145 w 2920463"/>
              <a:gd name="connsiteY7" fmla="*/ 72599 h 615485"/>
              <a:gd name="connsiteX8" fmla="*/ 2858940 w 2920463"/>
              <a:gd name="connsiteY8" fmla="*/ 71724 h 615485"/>
              <a:gd name="connsiteX9" fmla="*/ 2858649 w 2920463"/>
              <a:gd name="connsiteY9" fmla="*/ 63269 h 615485"/>
              <a:gd name="connsiteX10" fmla="*/ 2874394 w 2920463"/>
              <a:gd name="connsiteY10" fmla="*/ 65018 h 615485"/>
              <a:gd name="connsiteX11" fmla="*/ 2882266 w 2920463"/>
              <a:gd name="connsiteY11" fmla="*/ 71141 h 615485"/>
              <a:gd name="connsiteX12" fmla="*/ 2885182 w 2920463"/>
              <a:gd name="connsiteY12" fmla="*/ 80179 h 615485"/>
              <a:gd name="connsiteX13" fmla="*/ 2880225 w 2920463"/>
              <a:gd name="connsiteY13" fmla="*/ 92133 h 615485"/>
              <a:gd name="connsiteX14" fmla="*/ 2867396 w 2920463"/>
              <a:gd name="connsiteY14" fmla="*/ 97673 h 615485"/>
              <a:gd name="connsiteX15" fmla="*/ 2872644 w 2920463"/>
              <a:gd name="connsiteY15" fmla="*/ 100880 h 615485"/>
              <a:gd name="connsiteX16" fmla="*/ 2881975 w 2920463"/>
              <a:gd name="connsiteY16" fmla="*/ 113126 h 615485"/>
              <a:gd name="connsiteX17" fmla="*/ 2889556 w 2920463"/>
              <a:gd name="connsiteY17" fmla="*/ 125371 h 615485"/>
              <a:gd name="connsiteX18" fmla="*/ 2877309 w 2920463"/>
              <a:gd name="connsiteY18" fmla="*/ 125371 h 615485"/>
              <a:gd name="connsiteX19" fmla="*/ 2871770 w 2920463"/>
              <a:gd name="connsiteY19" fmla="*/ 115458 h 615485"/>
              <a:gd name="connsiteX20" fmla="*/ 2861272 w 2920463"/>
              <a:gd name="connsiteY20" fmla="*/ 100880 h 615485"/>
              <a:gd name="connsiteX21" fmla="*/ 2853108 w 2920463"/>
              <a:gd name="connsiteY21" fmla="*/ 98839 h 615485"/>
              <a:gd name="connsiteX22" fmla="*/ 2847277 w 2920463"/>
              <a:gd name="connsiteY22" fmla="*/ 98839 h 615485"/>
              <a:gd name="connsiteX23" fmla="*/ 2847277 w 2920463"/>
              <a:gd name="connsiteY23" fmla="*/ 125080 h 615485"/>
              <a:gd name="connsiteX24" fmla="*/ 2837363 w 2920463"/>
              <a:gd name="connsiteY24" fmla="*/ 125080 h 615485"/>
              <a:gd name="connsiteX25" fmla="*/ 2837363 w 2920463"/>
              <a:gd name="connsiteY25" fmla="*/ 62977 h 615485"/>
              <a:gd name="connsiteX26" fmla="*/ 2858649 w 2920463"/>
              <a:gd name="connsiteY26" fmla="*/ 62977 h 615485"/>
              <a:gd name="connsiteX27" fmla="*/ 2862730 w 2920463"/>
              <a:gd name="connsiteY27" fmla="*/ 45192 h 615485"/>
              <a:gd name="connsiteX28" fmla="*/ 2839113 w 2920463"/>
              <a:gd name="connsiteY28" fmla="*/ 51315 h 615485"/>
              <a:gd name="connsiteX29" fmla="*/ 2821035 w 2920463"/>
              <a:gd name="connsiteY29" fmla="*/ 69100 h 615485"/>
              <a:gd name="connsiteX30" fmla="*/ 2814620 w 2920463"/>
              <a:gd name="connsiteY30" fmla="*/ 93300 h 615485"/>
              <a:gd name="connsiteX31" fmla="*/ 2821035 w 2920463"/>
              <a:gd name="connsiteY31" fmla="*/ 117208 h 615485"/>
              <a:gd name="connsiteX32" fmla="*/ 2838821 w 2920463"/>
              <a:gd name="connsiteY32" fmla="*/ 134993 h 615485"/>
              <a:gd name="connsiteX33" fmla="*/ 2862730 w 2920463"/>
              <a:gd name="connsiteY33" fmla="*/ 141407 h 615485"/>
              <a:gd name="connsiteX34" fmla="*/ 2886640 w 2920463"/>
              <a:gd name="connsiteY34" fmla="*/ 134993 h 615485"/>
              <a:gd name="connsiteX35" fmla="*/ 2904426 w 2920463"/>
              <a:gd name="connsiteY35" fmla="*/ 117208 h 615485"/>
              <a:gd name="connsiteX36" fmla="*/ 2910841 w 2920463"/>
              <a:gd name="connsiteY36" fmla="*/ 93300 h 615485"/>
              <a:gd name="connsiteX37" fmla="*/ 2904426 w 2920463"/>
              <a:gd name="connsiteY37" fmla="*/ 69100 h 615485"/>
              <a:gd name="connsiteX38" fmla="*/ 2886349 w 2920463"/>
              <a:gd name="connsiteY38" fmla="*/ 51315 h 615485"/>
              <a:gd name="connsiteX39" fmla="*/ 2862730 w 2920463"/>
              <a:gd name="connsiteY39" fmla="*/ 45192 h 615485"/>
              <a:gd name="connsiteX40" fmla="*/ 2862730 w 2920463"/>
              <a:gd name="connsiteY40" fmla="*/ 35571 h 615485"/>
              <a:gd name="connsiteX41" fmla="*/ 2891014 w 2920463"/>
              <a:gd name="connsiteY41" fmla="*/ 43151 h 615485"/>
              <a:gd name="connsiteX42" fmla="*/ 2912591 w 2920463"/>
              <a:gd name="connsiteY42" fmla="*/ 64435 h 615485"/>
              <a:gd name="connsiteX43" fmla="*/ 2920463 w 2920463"/>
              <a:gd name="connsiteY43" fmla="*/ 93300 h 615485"/>
              <a:gd name="connsiteX44" fmla="*/ 2912882 w 2920463"/>
              <a:gd name="connsiteY44" fmla="*/ 121873 h 615485"/>
              <a:gd name="connsiteX45" fmla="*/ 2891597 w 2920463"/>
              <a:gd name="connsiteY45" fmla="*/ 143156 h 615485"/>
              <a:gd name="connsiteX46" fmla="*/ 2862730 w 2920463"/>
              <a:gd name="connsiteY46" fmla="*/ 150737 h 615485"/>
              <a:gd name="connsiteX47" fmla="*/ 2833864 w 2920463"/>
              <a:gd name="connsiteY47" fmla="*/ 143156 h 615485"/>
              <a:gd name="connsiteX48" fmla="*/ 2812579 w 2920463"/>
              <a:gd name="connsiteY48" fmla="*/ 121873 h 615485"/>
              <a:gd name="connsiteX49" fmla="*/ 2804998 w 2920463"/>
              <a:gd name="connsiteY49" fmla="*/ 93300 h 615485"/>
              <a:gd name="connsiteX50" fmla="*/ 2812870 w 2920463"/>
              <a:gd name="connsiteY50" fmla="*/ 64435 h 615485"/>
              <a:gd name="connsiteX51" fmla="*/ 2834447 w 2920463"/>
              <a:gd name="connsiteY51" fmla="*/ 43151 h 615485"/>
              <a:gd name="connsiteX52" fmla="*/ 2862730 w 2920463"/>
              <a:gd name="connsiteY52" fmla="*/ 35571 h 615485"/>
              <a:gd name="connsiteX53" fmla="*/ 2182475 w 2920463"/>
              <a:gd name="connsiteY53" fmla="*/ 257448 h 615485"/>
              <a:gd name="connsiteX54" fmla="*/ 2107247 w 2920463"/>
              <a:gd name="connsiteY54" fmla="*/ 291561 h 615485"/>
              <a:gd name="connsiteX55" fmla="*/ 2076631 w 2920463"/>
              <a:gd name="connsiteY55" fmla="*/ 389817 h 615485"/>
              <a:gd name="connsiteX56" fmla="*/ 2107247 w 2920463"/>
              <a:gd name="connsiteY56" fmla="*/ 488073 h 615485"/>
              <a:gd name="connsiteX57" fmla="*/ 2182475 w 2920463"/>
              <a:gd name="connsiteY57" fmla="*/ 522186 h 615485"/>
              <a:gd name="connsiteX58" fmla="*/ 2257411 w 2920463"/>
              <a:gd name="connsiteY58" fmla="*/ 488073 h 615485"/>
              <a:gd name="connsiteX59" fmla="*/ 2287735 w 2920463"/>
              <a:gd name="connsiteY59" fmla="*/ 388943 h 615485"/>
              <a:gd name="connsiteX60" fmla="*/ 2257411 w 2920463"/>
              <a:gd name="connsiteY60" fmla="*/ 291561 h 615485"/>
              <a:gd name="connsiteX61" fmla="*/ 2182475 w 2920463"/>
              <a:gd name="connsiteY61" fmla="*/ 257448 h 615485"/>
              <a:gd name="connsiteX62" fmla="*/ 667426 w 2920463"/>
              <a:gd name="connsiteY62" fmla="*/ 257448 h 615485"/>
              <a:gd name="connsiteX63" fmla="*/ 592199 w 2920463"/>
              <a:gd name="connsiteY63" fmla="*/ 291561 h 615485"/>
              <a:gd name="connsiteX64" fmla="*/ 561583 w 2920463"/>
              <a:gd name="connsiteY64" fmla="*/ 389817 h 615485"/>
              <a:gd name="connsiteX65" fmla="*/ 592199 w 2920463"/>
              <a:gd name="connsiteY65" fmla="*/ 488073 h 615485"/>
              <a:gd name="connsiteX66" fmla="*/ 667426 w 2920463"/>
              <a:gd name="connsiteY66" fmla="*/ 522186 h 615485"/>
              <a:gd name="connsiteX67" fmla="*/ 742362 w 2920463"/>
              <a:gd name="connsiteY67" fmla="*/ 488073 h 615485"/>
              <a:gd name="connsiteX68" fmla="*/ 772686 w 2920463"/>
              <a:gd name="connsiteY68" fmla="*/ 388943 h 615485"/>
              <a:gd name="connsiteX69" fmla="*/ 742362 w 2920463"/>
              <a:gd name="connsiteY69" fmla="*/ 291561 h 615485"/>
              <a:gd name="connsiteX70" fmla="*/ 667426 w 2920463"/>
              <a:gd name="connsiteY70" fmla="*/ 257448 h 615485"/>
              <a:gd name="connsiteX71" fmla="*/ 2509336 w 2920463"/>
              <a:gd name="connsiteY71" fmla="*/ 174062 h 615485"/>
              <a:gd name="connsiteX72" fmla="*/ 2590687 w 2920463"/>
              <a:gd name="connsiteY72" fmla="*/ 393899 h 615485"/>
              <a:gd name="connsiteX73" fmla="*/ 2614305 w 2920463"/>
              <a:gd name="connsiteY73" fmla="*/ 467373 h 615485"/>
              <a:gd name="connsiteX74" fmla="*/ 2625968 w 2920463"/>
              <a:gd name="connsiteY74" fmla="*/ 430344 h 615485"/>
              <a:gd name="connsiteX75" fmla="*/ 2638214 w 2920463"/>
              <a:gd name="connsiteY75" fmla="*/ 393899 h 615485"/>
              <a:gd name="connsiteX76" fmla="*/ 2720440 w 2920463"/>
              <a:gd name="connsiteY76" fmla="*/ 174062 h 615485"/>
              <a:gd name="connsiteX77" fmla="*/ 2837946 w 2920463"/>
              <a:gd name="connsiteY77" fmla="*/ 174062 h 615485"/>
              <a:gd name="connsiteX78" fmla="*/ 2666497 w 2920463"/>
              <a:gd name="connsiteY78" fmla="*/ 604989 h 615485"/>
              <a:gd name="connsiteX79" fmla="*/ 2563278 w 2920463"/>
              <a:gd name="connsiteY79" fmla="*/ 604989 h 615485"/>
              <a:gd name="connsiteX80" fmla="*/ 2389205 w 2920463"/>
              <a:gd name="connsiteY80" fmla="*/ 174062 h 615485"/>
              <a:gd name="connsiteX81" fmla="*/ 2509336 w 2920463"/>
              <a:gd name="connsiteY81" fmla="*/ 174062 h 615485"/>
              <a:gd name="connsiteX82" fmla="*/ 140833 w 2920463"/>
              <a:gd name="connsiteY82" fmla="*/ 10205 h 615485"/>
              <a:gd name="connsiteX83" fmla="*/ 281083 w 2920463"/>
              <a:gd name="connsiteY83" fmla="*/ 245495 h 615485"/>
              <a:gd name="connsiteX84" fmla="*/ 418417 w 2920463"/>
              <a:gd name="connsiteY84" fmla="*/ 10205 h 615485"/>
              <a:gd name="connsiteX85" fmla="*/ 557209 w 2920463"/>
              <a:gd name="connsiteY85" fmla="*/ 10205 h 615485"/>
              <a:gd name="connsiteX86" fmla="*/ 338233 w 2920463"/>
              <a:gd name="connsiteY86" fmla="*/ 355413 h 615485"/>
              <a:gd name="connsiteX87" fmla="*/ 338233 w 2920463"/>
              <a:gd name="connsiteY87" fmla="*/ 604989 h 615485"/>
              <a:gd name="connsiteX88" fmla="*/ 218393 w 2920463"/>
              <a:gd name="connsiteY88" fmla="*/ 604989 h 615485"/>
              <a:gd name="connsiteX89" fmla="*/ 218393 w 2920463"/>
              <a:gd name="connsiteY89" fmla="*/ 354538 h 615485"/>
              <a:gd name="connsiteX90" fmla="*/ 0 w 2920463"/>
              <a:gd name="connsiteY90" fmla="*/ 9913 h 615485"/>
              <a:gd name="connsiteX91" fmla="*/ 140833 w 2920463"/>
              <a:gd name="connsiteY91" fmla="*/ 9913 h 615485"/>
              <a:gd name="connsiteX92" fmla="*/ 2181892 w 2920463"/>
              <a:gd name="connsiteY92" fmla="*/ 164441 h 615485"/>
              <a:gd name="connsiteX93" fmla="*/ 2342552 w 2920463"/>
              <a:gd name="connsiteY93" fmla="*/ 228001 h 615485"/>
              <a:gd name="connsiteX94" fmla="*/ 2405242 w 2920463"/>
              <a:gd name="connsiteY94" fmla="*/ 388651 h 615485"/>
              <a:gd name="connsiteX95" fmla="*/ 2341969 w 2920463"/>
              <a:gd name="connsiteY95" fmla="*/ 550759 h 615485"/>
              <a:gd name="connsiteX96" fmla="*/ 2182766 w 2920463"/>
              <a:gd name="connsiteY96" fmla="*/ 615194 h 615485"/>
              <a:gd name="connsiteX97" fmla="*/ 2069633 w 2920463"/>
              <a:gd name="connsiteY97" fmla="*/ 588370 h 615485"/>
              <a:gd name="connsiteX98" fmla="*/ 1987699 w 2920463"/>
              <a:gd name="connsiteY98" fmla="*/ 509941 h 615485"/>
              <a:gd name="connsiteX99" fmla="*/ 1959708 w 2920463"/>
              <a:gd name="connsiteY99" fmla="*/ 383986 h 615485"/>
              <a:gd name="connsiteX100" fmla="*/ 1987699 w 2920463"/>
              <a:gd name="connsiteY100" fmla="*/ 274068 h 615485"/>
              <a:gd name="connsiteX101" fmla="*/ 2067301 w 2920463"/>
              <a:gd name="connsiteY101" fmla="*/ 193014 h 615485"/>
              <a:gd name="connsiteX102" fmla="*/ 2181892 w 2920463"/>
              <a:gd name="connsiteY102" fmla="*/ 164441 h 615485"/>
              <a:gd name="connsiteX103" fmla="*/ 667135 w 2920463"/>
              <a:gd name="connsiteY103" fmla="*/ 164441 h 615485"/>
              <a:gd name="connsiteX104" fmla="*/ 827795 w 2920463"/>
              <a:gd name="connsiteY104" fmla="*/ 228001 h 615485"/>
              <a:gd name="connsiteX105" fmla="*/ 890485 w 2920463"/>
              <a:gd name="connsiteY105" fmla="*/ 388651 h 615485"/>
              <a:gd name="connsiteX106" fmla="*/ 827212 w 2920463"/>
              <a:gd name="connsiteY106" fmla="*/ 550759 h 615485"/>
              <a:gd name="connsiteX107" fmla="*/ 668009 w 2920463"/>
              <a:gd name="connsiteY107" fmla="*/ 615194 h 615485"/>
              <a:gd name="connsiteX108" fmla="*/ 554876 w 2920463"/>
              <a:gd name="connsiteY108" fmla="*/ 588370 h 615485"/>
              <a:gd name="connsiteX109" fmla="*/ 472942 w 2920463"/>
              <a:gd name="connsiteY109" fmla="*/ 509941 h 615485"/>
              <a:gd name="connsiteX110" fmla="*/ 444951 w 2920463"/>
              <a:gd name="connsiteY110" fmla="*/ 383986 h 615485"/>
              <a:gd name="connsiteX111" fmla="*/ 472942 w 2920463"/>
              <a:gd name="connsiteY111" fmla="*/ 274068 h 615485"/>
              <a:gd name="connsiteX112" fmla="*/ 552544 w 2920463"/>
              <a:gd name="connsiteY112" fmla="*/ 193014 h 615485"/>
              <a:gd name="connsiteX113" fmla="*/ 667135 w 2920463"/>
              <a:gd name="connsiteY113" fmla="*/ 164441 h 615485"/>
              <a:gd name="connsiteX114" fmla="*/ 1041523 w 2920463"/>
              <a:gd name="connsiteY114" fmla="*/ 174062 h 615485"/>
              <a:gd name="connsiteX115" fmla="*/ 1041523 w 2920463"/>
              <a:gd name="connsiteY115" fmla="*/ 372032 h 615485"/>
              <a:gd name="connsiteX116" fmla="*/ 1047938 w 2920463"/>
              <a:gd name="connsiteY116" fmla="*/ 483408 h 615485"/>
              <a:gd name="connsiteX117" fmla="*/ 1070973 w 2920463"/>
              <a:gd name="connsiteY117" fmla="*/ 515772 h 615485"/>
              <a:gd name="connsiteX118" fmla="*/ 1113252 w 2920463"/>
              <a:gd name="connsiteY118" fmla="*/ 527726 h 615485"/>
              <a:gd name="connsiteX119" fmla="*/ 1165736 w 2920463"/>
              <a:gd name="connsiteY119" fmla="*/ 511690 h 615485"/>
              <a:gd name="connsiteX120" fmla="*/ 1197518 w 2920463"/>
              <a:gd name="connsiteY120" fmla="*/ 472038 h 615485"/>
              <a:gd name="connsiteX121" fmla="*/ 1205974 w 2920463"/>
              <a:gd name="connsiteY121" fmla="*/ 355705 h 615485"/>
              <a:gd name="connsiteX122" fmla="*/ 1205974 w 2920463"/>
              <a:gd name="connsiteY122" fmla="*/ 173770 h 615485"/>
              <a:gd name="connsiteX123" fmla="*/ 1320273 w 2920463"/>
              <a:gd name="connsiteY123" fmla="*/ 173770 h 615485"/>
              <a:gd name="connsiteX124" fmla="*/ 1320273 w 2920463"/>
              <a:gd name="connsiteY124" fmla="*/ 604698 h 615485"/>
              <a:gd name="connsiteX125" fmla="*/ 1214138 w 2920463"/>
              <a:gd name="connsiteY125" fmla="*/ 604698 h 615485"/>
              <a:gd name="connsiteX126" fmla="*/ 1214138 w 2920463"/>
              <a:gd name="connsiteY126" fmla="*/ 540263 h 615485"/>
              <a:gd name="connsiteX127" fmla="*/ 1152032 w 2920463"/>
              <a:gd name="connsiteY127" fmla="*/ 594493 h 615485"/>
              <a:gd name="connsiteX128" fmla="*/ 1070973 w 2920463"/>
              <a:gd name="connsiteY128" fmla="*/ 614319 h 615485"/>
              <a:gd name="connsiteX129" fmla="*/ 992829 w 2920463"/>
              <a:gd name="connsiteY129" fmla="*/ 595368 h 615485"/>
              <a:gd name="connsiteX130" fmla="*/ 942969 w 2920463"/>
              <a:gd name="connsiteY130" fmla="*/ 541721 h 615485"/>
              <a:gd name="connsiteX131" fmla="*/ 927515 w 2920463"/>
              <a:gd name="connsiteY131" fmla="*/ 446380 h 615485"/>
              <a:gd name="connsiteX132" fmla="*/ 927515 w 2920463"/>
              <a:gd name="connsiteY132" fmla="*/ 173770 h 615485"/>
              <a:gd name="connsiteX133" fmla="*/ 1041523 w 2920463"/>
              <a:gd name="connsiteY133" fmla="*/ 173770 h 615485"/>
              <a:gd name="connsiteX134" fmla="*/ 1664338 w 2920463"/>
              <a:gd name="connsiteY134" fmla="*/ 0 h 615485"/>
              <a:gd name="connsiteX135" fmla="*/ 1837828 w 2920463"/>
              <a:gd name="connsiteY135" fmla="*/ 46358 h 615485"/>
              <a:gd name="connsiteX136" fmla="*/ 1918012 w 2920463"/>
              <a:gd name="connsiteY136" fmla="*/ 174937 h 615485"/>
              <a:gd name="connsiteX137" fmla="*/ 1798464 w 2920463"/>
              <a:gd name="connsiteY137" fmla="*/ 197387 h 615485"/>
              <a:gd name="connsiteX138" fmla="*/ 1751228 w 2920463"/>
              <a:gd name="connsiteY138" fmla="*/ 128287 h 615485"/>
              <a:gd name="connsiteX139" fmla="*/ 1664338 w 2920463"/>
              <a:gd name="connsiteY139" fmla="*/ 102921 h 615485"/>
              <a:gd name="connsiteX140" fmla="*/ 1538958 w 2920463"/>
              <a:gd name="connsiteY140" fmla="*/ 152778 h 615485"/>
              <a:gd name="connsiteX141" fmla="*/ 1492305 w 2920463"/>
              <a:gd name="connsiteY141" fmla="*/ 300891 h 615485"/>
              <a:gd name="connsiteX142" fmla="*/ 1539541 w 2920463"/>
              <a:gd name="connsiteY142" fmla="*/ 459792 h 615485"/>
              <a:gd name="connsiteX143" fmla="*/ 1663171 w 2920463"/>
              <a:gd name="connsiteY143" fmla="*/ 512856 h 615485"/>
              <a:gd name="connsiteX144" fmla="*/ 1738982 w 2920463"/>
              <a:gd name="connsiteY144" fmla="*/ 497986 h 615485"/>
              <a:gd name="connsiteX145" fmla="*/ 1804296 w 2920463"/>
              <a:gd name="connsiteY145" fmla="*/ 462124 h 615485"/>
              <a:gd name="connsiteX146" fmla="*/ 1804296 w 2920463"/>
              <a:gd name="connsiteY146" fmla="*/ 386610 h 615485"/>
              <a:gd name="connsiteX147" fmla="*/ 1666379 w 2920463"/>
              <a:gd name="connsiteY147" fmla="*/ 386610 h 615485"/>
              <a:gd name="connsiteX148" fmla="*/ 1666379 w 2920463"/>
              <a:gd name="connsiteY148" fmla="*/ 286313 h 615485"/>
              <a:gd name="connsiteX149" fmla="*/ 1925885 w 2920463"/>
              <a:gd name="connsiteY149" fmla="*/ 286313 h 615485"/>
              <a:gd name="connsiteX150" fmla="*/ 1925885 w 2920463"/>
              <a:gd name="connsiteY150" fmla="*/ 523352 h 615485"/>
              <a:gd name="connsiteX151" fmla="*/ 1816251 w 2920463"/>
              <a:gd name="connsiteY151" fmla="*/ 587787 h 615485"/>
              <a:gd name="connsiteX152" fmla="*/ 1671044 w 2920463"/>
              <a:gd name="connsiteY152" fmla="*/ 615486 h 615485"/>
              <a:gd name="connsiteX153" fmla="*/ 1508051 w 2920463"/>
              <a:gd name="connsiteY153" fmla="*/ 576417 h 615485"/>
              <a:gd name="connsiteX154" fmla="*/ 1403665 w 2920463"/>
              <a:gd name="connsiteY154" fmla="*/ 464457 h 615485"/>
              <a:gd name="connsiteX155" fmla="*/ 1368676 w 2920463"/>
              <a:gd name="connsiteY155" fmla="*/ 305848 h 615485"/>
              <a:gd name="connsiteX156" fmla="*/ 1407747 w 2920463"/>
              <a:gd name="connsiteY156" fmla="*/ 140824 h 615485"/>
              <a:gd name="connsiteX157" fmla="*/ 1522047 w 2920463"/>
              <a:gd name="connsiteY157" fmla="*/ 30031 h 615485"/>
              <a:gd name="connsiteX158" fmla="*/ 1664338 w 2920463"/>
              <a:gd name="connsiteY158" fmla="*/ 0 h 61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920463" h="615485">
                <a:moveTo>
                  <a:pt x="2858940" y="71724"/>
                </a:moveTo>
                <a:lnTo>
                  <a:pt x="2847568" y="71724"/>
                </a:lnTo>
                <a:lnTo>
                  <a:pt x="2847568" y="90384"/>
                </a:lnTo>
                <a:lnTo>
                  <a:pt x="2859815" y="90384"/>
                </a:lnTo>
                <a:cubicBezTo>
                  <a:pt x="2865646" y="90384"/>
                  <a:pt x="2869728" y="89509"/>
                  <a:pt x="2871770" y="87760"/>
                </a:cubicBezTo>
                <a:cubicBezTo>
                  <a:pt x="2873811" y="86011"/>
                  <a:pt x="2874977" y="83678"/>
                  <a:pt x="2874977" y="80762"/>
                </a:cubicBezTo>
                <a:cubicBezTo>
                  <a:pt x="2874977" y="79013"/>
                  <a:pt x="2874394" y="77264"/>
                  <a:pt x="2873519" y="75806"/>
                </a:cubicBezTo>
                <a:cubicBezTo>
                  <a:pt x="2872644" y="74348"/>
                  <a:pt x="2871186" y="73182"/>
                  <a:pt x="2869145" y="72599"/>
                </a:cubicBezTo>
                <a:cubicBezTo>
                  <a:pt x="2867104" y="72016"/>
                  <a:pt x="2863605" y="71724"/>
                  <a:pt x="2858940" y="71724"/>
                </a:cubicBezTo>
                <a:close/>
                <a:moveTo>
                  <a:pt x="2858649" y="63269"/>
                </a:moveTo>
                <a:cubicBezTo>
                  <a:pt x="2865938" y="63269"/>
                  <a:pt x="2871186" y="63852"/>
                  <a:pt x="2874394" y="65018"/>
                </a:cubicBezTo>
                <a:cubicBezTo>
                  <a:pt x="2877601" y="66184"/>
                  <a:pt x="2880225" y="68225"/>
                  <a:pt x="2882266" y="71141"/>
                </a:cubicBezTo>
                <a:cubicBezTo>
                  <a:pt x="2884307" y="74057"/>
                  <a:pt x="2885182" y="76972"/>
                  <a:pt x="2885182" y="80179"/>
                </a:cubicBezTo>
                <a:cubicBezTo>
                  <a:pt x="2885182" y="84844"/>
                  <a:pt x="2883433" y="88635"/>
                  <a:pt x="2880225" y="92133"/>
                </a:cubicBezTo>
                <a:cubicBezTo>
                  <a:pt x="2877018" y="95632"/>
                  <a:pt x="2872644" y="97382"/>
                  <a:pt x="2867396" y="97673"/>
                </a:cubicBezTo>
                <a:cubicBezTo>
                  <a:pt x="2869437" y="98548"/>
                  <a:pt x="2871478" y="99714"/>
                  <a:pt x="2872644" y="100880"/>
                </a:cubicBezTo>
                <a:cubicBezTo>
                  <a:pt x="2875268" y="103213"/>
                  <a:pt x="2878184" y="107586"/>
                  <a:pt x="2881975" y="113126"/>
                </a:cubicBezTo>
                <a:lnTo>
                  <a:pt x="2889556" y="125371"/>
                </a:lnTo>
                <a:lnTo>
                  <a:pt x="2877309" y="125371"/>
                </a:lnTo>
                <a:lnTo>
                  <a:pt x="2871770" y="115458"/>
                </a:lnTo>
                <a:cubicBezTo>
                  <a:pt x="2867396" y="107878"/>
                  <a:pt x="2863897" y="102921"/>
                  <a:pt x="2861272" y="100880"/>
                </a:cubicBezTo>
                <a:cubicBezTo>
                  <a:pt x="2859523" y="99422"/>
                  <a:pt x="2856607" y="98839"/>
                  <a:pt x="2853108" y="98839"/>
                </a:cubicBezTo>
                <a:lnTo>
                  <a:pt x="2847277" y="98839"/>
                </a:lnTo>
                <a:lnTo>
                  <a:pt x="2847277" y="125080"/>
                </a:lnTo>
                <a:lnTo>
                  <a:pt x="2837363" y="125080"/>
                </a:lnTo>
                <a:lnTo>
                  <a:pt x="2837363" y="62977"/>
                </a:lnTo>
                <a:lnTo>
                  <a:pt x="2858649" y="62977"/>
                </a:lnTo>
                <a:close/>
                <a:moveTo>
                  <a:pt x="2862730" y="45192"/>
                </a:moveTo>
                <a:cubicBezTo>
                  <a:pt x="2854566" y="45192"/>
                  <a:pt x="2846694" y="47233"/>
                  <a:pt x="2839113" y="51315"/>
                </a:cubicBezTo>
                <a:cubicBezTo>
                  <a:pt x="2831531" y="55397"/>
                  <a:pt x="2825408" y="61519"/>
                  <a:pt x="2821035" y="69100"/>
                </a:cubicBezTo>
                <a:cubicBezTo>
                  <a:pt x="2816661" y="76681"/>
                  <a:pt x="2814620" y="84844"/>
                  <a:pt x="2814620" y="93300"/>
                </a:cubicBezTo>
                <a:cubicBezTo>
                  <a:pt x="2814620" y="101755"/>
                  <a:pt x="2816661" y="109627"/>
                  <a:pt x="2821035" y="117208"/>
                </a:cubicBezTo>
                <a:cubicBezTo>
                  <a:pt x="2825408" y="124788"/>
                  <a:pt x="2831240" y="130911"/>
                  <a:pt x="2838821" y="134993"/>
                </a:cubicBezTo>
                <a:cubicBezTo>
                  <a:pt x="2846402" y="139366"/>
                  <a:pt x="2854566" y="141407"/>
                  <a:pt x="2862730" y="141407"/>
                </a:cubicBezTo>
                <a:cubicBezTo>
                  <a:pt x="2871186" y="141407"/>
                  <a:pt x="2879059" y="139366"/>
                  <a:pt x="2886640" y="134993"/>
                </a:cubicBezTo>
                <a:cubicBezTo>
                  <a:pt x="2894221" y="130619"/>
                  <a:pt x="2900344" y="124788"/>
                  <a:pt x="2904426" y="117208"/>
                </a:cubicBezTo>
                <a:cubicBezTo>
                  <a:pt x="2908800" y="109627"/>
                  <a:pt x="2910841" y="101755"/>
                  <a:pt x="2910841" y="93300"/>
                </a:cubicBezTo>
                <a:cubicBezTo>
                  <a:pt x="2910841" y="84844"/>
                  <a:pt x="2908800" y="76972"/>
                  <a:pt x="2904426" y="69100"/>
                </a:cubicBezTo>
                <a:cubicBezTo>
                  <a:pt x="2900053" y="61228"/>
                  <a:pt x="2894221" y="55397"/>
                  <a:pt x="2886349" y="51315"/>
                </a:cubicBezTo>
                <a:cubicBezTo>
                  <a:pt x="2878767" y="47233"/>
                  <a:pt x="2870895" y="45192"/>
                  <a:pt x="2862730" y="45192"/>
                </a:cubicBezTo>
                <a:close/>
                <a:moveTo>
                  <a:pt x="2862730" y="35571"/>
                </a:moveTo>
                <a:cubicBezTo>
                  <a:pt x="2872353" y="35571"/>
                  <a:pt x="2881975" y="38194"/>
                  <a:pt x="2891014" y="43151"/>
                </a:cubicBezTo>
                <a:cubicBezTo>
                  <a:pt x="2900344" y="48108"/>
                  <a:pt x="2907342" y="55105"/>
                  <a:pt x="2912591" y="64435"/>
                </a:cubicBezTo>
                <a:cubicBezTo>
                  <a:pt x="2917839" y="73765"/>
                  <a:pt x="2920463" y="83386"/>
                  <a:pt x="2920463" y="93300"/>
                </a:cubicBezTo>
                <a:cubicBezTo>
                  <a:pt x="2920463" y="103213"/>
                  <a:pt x="2917839" y="112834"/>
                  <a:pt x="2912882" y="121873"/>
                </a:cubicBezTo>
                <a:cubicBezTo>
                  <a:pt x="2907925" y="130911"/>
                  <a:pt x="2900636" y="138200"/>
                  <a:pt x="2891597" y="143156"/>
                </a:cubicBezTo>
                <a:cubicBezTo>
                  <a:pt x="2882558" y="148113"/>
                  <a:pt x="2872936" y="150737"/>
                  <a:pt x="2862730" y="150737"/>
                </a:cubicBezTo>
                <a:cubicBezTo>
                  <a:pt x="2852817" y="150737"/>
                  <a:pt x="2843195" y="148113"/>
                  <a:pt x="2833864" y="143156"/>
                </a:cubicBezTo>
                <a:cubicBezTo>
                  <a:pt x="2824825" y="138200"/>
                  <a:pt x="2817536" y="130911"/>
                  <a:pt x="2812579" y="121873"/>
                </a:cubicBezTo>
                <a:cubicBezTo>
                  <a:pt x="2807330" y="112834"/>
                  <a:pt x="2804998" y="103213"/>
                  <a:pt x="2804998" y="93300"/>
                </a:cubicBezTo>
                <a:cubicBezTo>
                  <a:pt x="2804998" y="83386"/>
                  <a:pt x="2807622" y="73473"/>
                  <a:pt x="2812870" y="64435"/>
                </a:cubicBezTo>
                <a:cubicBezTo>
                  <a:pt x="2818119" y="55105"/>
                  <a:pt x="2825408" y="48108"/>
                  <a:pt x="2834447" y="43151"/>
                </a:cubicBezTo>
                <a:cubicBezTo>
                  <a:pt x="2843486" y="38194"/>
                  <a:pt x="2853108" y="35571"/>
                  <a:pt x="2862730" y="35571"/>
                </a:cubicBezTo>
                <a:close/>
                <a:moveTo>
                  <a:pt x="2182475" y="257448"/>
                </a:moveTo>
                <a:cubicBezTo>
                  <a:pt x="2152734" y="257448"/>
                  <a:pt x="2127658" y="268819"/>
                  <a:pt x="2107247" y="291561"/>
                </a:cubicBezTo>
                <a:cubicBezTo>
                  <a:pt x="2086837" y="314303"/>
                  <a:pt x="2076631" y="346958"/>
                  <a:pt x="2076631" y="389817"/>
                </a:cubicBezTo>
                <a:cubicBezTo>
                  <a:pt x="2076631" y="432677"/>
                  <a:pt x="2086837" y="465332"/>
                  <a:pt x="2107247" y="488073"/>
                </a:cubicBezTo>
                <a:cubicBezTo>
                  <a:pt x="2127658" y="510815"/>
                  <a:pt x="2152734" y="522186"/>
                  <a:pt x="2182475" y="522186"/>
                </a:cubicBezTo>
                <a:cubicBezTo>
                  <a:pt x="2212216" y="522186"/>
                  <a:pt x="2237292" y="510815"/>
                  <a:pt x="2257411" y="488073"/>
                </a:cubicBezTo>
                <a:cubicBezTo>
                  <a:pt x="2277530" y="465332"/>
                  <a:pt x="2287735" y="432385"/>
                  <a:pt x="2287735" y="388943"/>
                </a:cubicBezTo>
                <a:cubicBezTo>
                  <a:pt x="2287735" y="346666"/>
                  <a:pt x="2277530" y="314303"/>
                  <a:pt x="2257411" y="291561"/>
                </a:cubicBezTo>
                <a:cubicBezTo>
                  <a:pt x="2237292" y="268819"/>
                  <a:pt x="2212216" y="257448"/>
                  <a:pt x="2182475" y="257448"/>
                </a:cubicBezTo>
                <a:close/>
                <a:moveTo>
                  <a:pt x="667426" y="257448"/>
                </a:moveTo>
                <a:cubicBezTo>
                  <a:pt x="637685" y="257448"/>
                  <a:pt x="612609" y="268819"/>
                  <a:pt x="592199" y="291561"/>
                </a:cubicBezTo>
                <a:cubicBezTo>
                  <a:pt x="571788" y="314303"/>
                  <a:pt x="561583" y="346958"/>
                  <a:pt x="561583" y="389817"/>
                </a:cubicBezTo>
                <a:cubicBezTo>
                  <a:pt x="561583" y="432677"/>
                  <a:pt x="571788" y="465332"/>
                  <a:pt x="592199" y="488073"/>
                </a:cubicBezTo>
                <a:cubicBezTo>
                  <a:pt x="612609" y="510815"/>
                  <a:pt x="637685" y="522186"/>
                  <a:pt x="667426" y="522186"/>
                </a:cubicBezTo>
                <a:cubicBezTo>
                  <a:pt x="697167" y="522186"/>
                  <a:pt x="722243" y="510815"/>
                  <a:pt x="742362" y="488073"/>
                </a:cubicBezTo>
                <a:cubicBezTo>
                  <a:pt x="762481" y="465332"/>
                  <a:pt x="772686" y="432385"/>
                  <a:pt x="772686" y="388943"/>
                </a:cubicBezTo>
                <a:cubicBezTo>
                  <a:pt x="772686" y="346666"/>
                  <a:pt x="762481" y="314303"/>
                  <a:pt x="742362" y="291561"/>
                </a:cubicBezTo>
                <a:cubicBezTo>
                  <a:pt x="722243" y="268819"/>
                  <a:pt x="697459" y="257448"/>
                  <a:pt x="667426" y="257448"/>
                </a:cubicBezTo>
                <a:close/>
                <a:moveTo>
                  <a:pt x="2509336" y="174062"/>
                </a:moveTo>
                <a:lnTo>
                  <a:pt x="2590687" y="393899"/>
                </a:lnTo>
                <a:lnTo>
                  <a:pt x="2614305" y="467373"/>
                </a:lnTo>
                <a:cubicBezTo>
                  <a:pt x="2620428" y="448713"/>
                  <a:pt x="2624510" y="436467"/>
                  <a:pt x="2625968" y="430344"/>
                </a:cubicBezTo>
                <a:cubicBezTo>
                  <a:pt x="2629758" y="418099"/>
                  <a:pt x="2633840" y="406145"/>
                  <a:pt x="2638214" y="393899"/>
                </a:cubicBezTo>
                <a:lnTo>
                  <a:pt x="2720440" y="174062"/>
                </a:lnTo>
                <a:lnTo>
                  <a:pt x="2837946" y="174062"/>
                </a:lnTo>
                <a:lnTo>
                  <a:pt x="2666497" y="604989"/>
                </a:lnTo>
                <a:lnTo>
                  <a:pt x="2563278" y="604989"/>
                </a:lnTo>
                <a:lnTo>
                  <a:pt x="2389205" y="174062"/>
                </a:lnTo>
                <a:lnTo>
                  <a:pt x="2509336" y="174062"/>
                </a:lnTo>
                <a:close/>
                <a:moveTo>
                  <a:pt x="140833" y="10205"/>
                </a:moveTo>
                <a:lnTo>
                  <a:pt x="281083" y="245495"/>
                </a:lnTo>
                <a:lnTo>
                  <a:pt x="418417" y="10205"/>
                </a:lnTo>
                <a:lnTo>
                  <a:pt x="557209" y="10205"/>
                </a:lnTo>
                <a:lnTo>
                  <a:pt x="338233" y="355413"/>
                </a:lnTo>
                <a:lnTo>
                  <a:pt x="338233" y="604989"/>
                </a:lnTo>
                <a:lnTo>
                  <a:pt x="218393" y="604989"/>
                </a:lnTo>
                <a:lnTo>
                  <a:pt x="218393" y="354538"/>
                </a:lnTo>
                <a:lnTo>
                  <a:pt x="0" y="9913"/>
                </a:lnTo>
                <a:lnTo>
                  <a:pt x="140833" y="9913"/>
                </a:lnTo>
                <a:close/>
                <a:moveTo>
                  <a:pt x="2181892" y="164441"/>
                </a:moveTo>
                <a:cubicBezTo>
                  <a:pt x="2247206" y="164441"/>
                  <a:pt x="2300856" y="185725"/>
                  <a:pt x="2342552" y="228001"/>
                </a:cubicBezTo>
                <a:cubicBezTo>
                  <a:pt x="2384248" y="270277"/>
                  <a:pt x="2405242" y="323924"/>
                  <a:pt x="2405242" y="388651"/>
                </a:cubicBezTo>
                <a:cubicBezTo>
                  <a:pt x="2405242" y="453961"/>
                  <a:pt x="2384248" y="507900"/>
                  <a:pt x="2341969" y="550759"/>
                </a:cubicBezTo>
                <a:cubicBezTo>
                  <a:pt x="2299690" y="593619"/>
                  <a:pt x="2246623" y="615194"/>
                  <a:pt x="2182766" y="615194"/>
                </a:cubicBezTo>
                <a:cubicBezTo>
                  <a:pt x="2143112" y="615194"/>
                  <a:pt x="2105498" y="606156"/>
                  <a:pt x="2069633" y="588370"/>
                </a:cubicBezTo>
                <a:cubicBezTo>
                  <a:pt x="2033769" y="570585"/>
                  <a:pt x="2006361" y="544345"/>
                  <a:pt x="1987699" y="509941"/>
                </a:cubicBezTo>
                <a:cubicBezTo>
                  <a:pt x="1969038" y="475536"/>
                  <a:pt x="1959708" y="433552"/>
                  <a:pt x="1959708" y="383986"/>
                </a:cubicBezTo>
                <a:cubicBezTo>
                  <a:pt x="1959708" y="346083"/>
                  <a:pt x="1969038" y="309346"/>
                  <a:pt x="1987699" y="274068"/>
                </a:cubicBezTo>
                <a:cubicBezTo>
                  <a:pt x="2006361" y="238789"/>
                  <a:pt x="2032894" y="211673"/>
                  <a:pt x="2067301" y="193014"/>
                </a:cubicBezTo>
                <a:cubicBezTo>
                  <a:pt x="2101416" y="173770"/>
                  <a:pt x="2139613" y="164441"/>
                  <a:pt x="2181892" y="164441"/>
                </a:cubicBezTo>
                <a:close/>
                <a:moveTo>
                  <a:pt x="667135" y="164441"/>
                </a:moveTo>
                <a:cubicBezTo>
                  <a:pt x="732449" y="164441"/>
                  <a:pt x="786099" y="185725"/>
                  <a:pt x="827795" y="228001"/>
                </a:cubicBezTo>
                <a:cubicBezTo>
                  <a:pt x="869491" y="270277"/>
                  <a:pt x="890485" y="323924"/>
                  <a:pt x="890485" y="388651"/>
                </a:cubicBezTo>
                <a:cubicBezTo>
                  <a:pt x="890485" y="453961"/>
                  <a:pt x="869491" y="507900"/>
                  <a:pt x="827212" y="550759"/>
                </a:cubicBezTo>
                <a:cubicBezTo>
                  <a:pt x="784933" y="593619"/>
                  <a:pt x="732157" y="615194"/>
                  <a:pt x="668009" y="615194"/>
                </a:cubicBezTo>
                <a:cubicBezTo>
                  <a:pt x="628354" y="615194"/>
                  <a:pt x="590741" y="606156"/>
                  <a:pt x="554876" y="588370"/>
                </a:cubicBezTo>
                <a:cubicBezTo>
                  <a:pt x="519012" y="570585"/>
                  <a:pt x="491604" y="544345"/>
                  <a:pt x="472942" y="509941"/>
                </a:cubicBezTo>
                <a:cubicBezTo>
                  <a:pt x="454281" y="475536"/>
                  <a:pt x="444951" y="433552"/>
                  <a:pt x="444951" y="383986"/>
                </a:cubicBezTo>
                <a:cubicBezTo>
                  <a:pt x="444951" y="346083"/>
                  <a:pt x="454281" y="309346"/>
                  <a:pt x="472942" y="274068"/>
                </a:cubicBezTo>
                <a:cubicBezTo>
                  <a:pt x="491604" y="238789"/>
                  <a:pt x="518137" y="211673"/>
                  <a:pt x="552544" y="193014"/>
                </a:cubicBezTo>
                <a:cubicBezTo>
                  <a:pt x="586659" y="173770"/>
                  <a:pt x="624856" y="164441"/>
                  <a:pt x="667135" y="164441"/>
                </a:cubicBezTo>
                <a:close/>
                <a:moveTo>
                  <a:pt x="1041523" y="174062"/>
                </a:moveTo>
                <a:lnTo>
                  <a:pt x="1041523" y="372032"/>
                </a:lnTo>
                <a:cubicBezTo>
                  <a:pt x="1041523" y="432677"/>
                  <a:pt x="1043564" y="469705"/>
                  <a:pt x="1047938" y="483408"/>
                </a:cubicBezTo>
                <a:cubicBezTo>
                  <a:pt x="1052020" y="497112"/>
                  <a:pt x="1059893" y="507900"/>
                  <a:pt x="1070973" y="515772"/>
                </a:cubicBezTo>
                <a:cubicBezTo>
                  <a:pt x="1082053" y="523644"/>
                  <a:pt x="1096048" y="527726"/>
                  <a:pt x="1113252" y="527726"/>
                </a:cubicBezTo>
                <a:cubicBezTo>
                  <a:pt x="1132788" y="527726"/>
                  <a:pt x="1150282" y="522478"/>
                  <a:pt x="1165736" y="511690"/>
                </a:cubicBezTo>
                <a:cubicBezTo>
                  <a:pt x="1181190" y="500902"/>
                  <a:pt x="1191687" y="487782"/>
                  <a:pt x="1197518" y="472038"/>
                </a:cubicBezTo>
                <a:cubicBezTo>
                  <a:pt x="1203350" y="456293"/>
                  <a:pt x="1205974" y="417516"/>
                  <a:pt x="1205974" y="355705"/>
                </a:cubicBezTo>
                <a:lnTo>
                  <a:pt x="1205974" y="173770"/>
                </a:lnTo>
                <a:lnTo>
                  <a:pt x="1320273" y="173770"/>
                </a:lnTo>
                <a:lnTo>
                  <a:pt x="1320273" y="604698"/>
                </a:lnTo>
                <a:lnTo>
                  <a:pt x="1214138" y="604698"/>
                </a:lnTo>
                <a:lnTo>
                  <a:pt x="1214138" y="540263"/>
                </a:lnTo>
                <a:cubicBezTo>
                  <a:pt x="1198393" y="563296"/>
                  <a:pt x="1177691" y="581373"/>
                  <a:pt x="1152032" y="594493"/>
                </a:cubicBezTo>
                <a:cubicBezTo>
                  <a:pt x="1126373" y="607614"/>
                  <a:pt x="1099256" y="614319"/>
                  <a:pt x="1070973" y="614319"/>
                </a:cubicBezTo>
                <a:cubicBezTo>
                  <a:pt x="1042106" y="614319"/>
                  <a:pt x="1015864" y="607905"/>
                  <a:pt x="992829" y="595368"/>
                </a:cubicBezTo>
                <a:cubicBezTo>
                  <a:pt x="969794" y="582539"/>
                  <a:pt x="953174" y="564754"/>
                  <a:pt x="942969" y="541721"/>
                </a:cubicBezTo>
                <a:cubicBezTo>
                  <a:pt x="932764" y="518687"/>
                  <a:pt x="927515" y="486907"/>
                  <a:pt x="927515" y="446380"/>
                </a:cubicBezTo>
                <a:lnTo>
                  <a:pt x="927515" y="173770"/>
                </a:lnTo>
                <a:lnTo>
                  <a:pt x="1041523" y="173770"/>
                </a:lnTo>
                <a:close/>
                <a:moveTo>
                  <a:pt x="1664338" y="0"/>
                </a:moveTo>
                <a:cubicBezTo>
                  <a:pt x="1738399" y="0"/>
                  <a:pt x="1796132" y="15453"/>
                  <a:pt x="1837828" y="46358"/>
                </a:cubicBezTo>
                <a:cubicBezTo>
                  <a:pt x="1879523" y="77264"/>
                  <a:pt x="1906057" y="120123"/>
                  <a:pt x="1918012" y="174937"/>
                </a:cubicBezTo>
                <a:lnTo>
                  <a:pt x="1798464" y="197387"/>
                </a:lnTo>
                <a:cubicBezTo>
                  <a:pt x="1790008" y="168231"/>
                  <a:pt x="1774263" y="145197"/>
                  <a:pt x="1751228" y="128287"/>
                </a:cubicBezTo>
                <a:cubicBezTo>
                  <a:pt x="1728193" y="111376"/>
                  <a:pt x="1699035" y="102921"/>
                  <a:pt x="1664338" y="102921"/>
                </a:cubicBezTo>
                <a:cubicBezTo>
                  <a:pt x="1611853" y="102921"/>
                  <a:pt x="1569866" y="119540"/>
                  <a:pt x="1538958" y="152778"/>
                </a:cubicBezTo>
                <a:cubicBezTo>
                  <a:pt x="1508051" y="186016"/>
                  <a:pt x="1492305" y="235290"/>
                  <a:pt x="1492305" y="300891"/>
                </a:cubicBezTo>
                <a:cubicBezTo>
                  <a:pt x="1492305" y="371449"/>
                  <a:pt x="1508051" y="424513"/>
                  <a:pt x="1539541" y="459792"/>
                </a:cubicBezTo>
                <a:cubicBezTo>
                  <a:pt x="1571032" y="495071"/>
                  <a:pt x="1612145" y="512856"/>
                  <a:pt x="1663171" y="512856"/>
                </a:cubicBezTo>
                <a:cubicBezTo>
                  <a:pt x="1688247" y="512856"/>
                  <a:pt x="1713614" y="507900"/>
                  <a:pt x="1738982" y="497986"/>
                </a:cubicBezTo>
                <a:cubicBezTo>
                  <a:pt x="1764349" y="488073"/>
                  <a:pt x="1785926" y="476119"/>
                  <a:pt x="1804296" y="462124"/>
                </a:cubicBezTo>
                <a:lnTo>
                  <a:pt x="1804296" y="386610"/>
                </a:lnTo>
                <a:lnTo>
                  <a:pt x="1666379" y="386610"/>
                </a:lnTo>
                <a:lnTo>
                  <a:pt x="1666379" y="286313"/>
                </a:lnTo>
                <a:lnTo>
                  <a:pt x="1925885" y="286313"/>
                </a:lnTo>
                <a:lnTo>
                  <a:pt x="1925885" y="523352"/>
                </a:lnTo>
                <a:cubicBezTo>
                  <a:pt x="1900809" y="547844"/>
                  <a:pt x="1864070" y="569127"/>
                  <a:pt x="1816251" y="587787"/>
                </a:cubicBezTo>
                <a:cubicBezTo>
                  <a:pt x="1768432" y="606447"/>
                  <a:pt x="1720029" y="615486"/>
                  <a:pt x="1671044" y="615486"/>
                </a:cubicBezTo>
                <a:cubicBezTo>
                  <a:pt x="1608646" y="615486"/>
                  <a:pt x="1554412" y="602365"/>
                  <a:pt x="1508051" y="576417"/>
                </a:cubicBezTo>
                <a:cubicBezTo>
                  <a:pt x="1461690" y="550176"/>
                  <a:pt x="1426992" y="513148"/>
                  <a:pt x="1403665" y="464457"/>
                </a:cubicBezTo>
                <a:cubicBezTo>
                  <a:pt x="1380339" y="415766"/>
                  <a:pt x="1368676" y="362994"/>
                  <a:pt x="1368676" y="305848"/>
                </a:cubicBezTo>
                <a:cubicBezTo>
                  <a:pt x="1368676" y="244037"/>
                  <a:pt x="1381797" y="188932"/>
                  <a:pt x="1407747" y="140824"/>
                </a:cubicBezTo>
                <a:cubicBezTo>
                  <a:pt x="1433698" y="92716"/>
                  <a:pt x="1471895" y="55688"/>
                  <a:pt x="1522047" y="30031"/>
                </a:cubicBezTo>
                <a:cubicBezTo>
                  <a:pt x="1559952" y="9913"/>
                  <a:pt x="1607480" y="0"/>
                  <a:pt x="1664338" y="0"/>
                </a:cubicBezTo>
                <a:close/>
              </a:path>
            </a:pathLst>
          </a:custGeom>
          <a:solidFill>
            <a:srgbClr val="FF412C"/>
          </a:solidFill>
          <a:ln w="2914" cap="flat">
            <a:noFill/>
            <a:prstDash val="solid"/>
            <a:miter/>
          </a:ln>
        </p:spPr>
        <p:txBody>
          <a:bodyPr rtlCol="0" anchor="ctr"/>
          <a:lstStyle/>
          <a:p>
            <a:endParaRPr lang="de-DE"/>
          </a:p>
        </p:txBody>
      </p:sp>
    </p:spTree>
    <p:extLst>
      <p:ext uri="{BB962C8B-B14F-4D97-AF65-F5344CB8AC3E}">
        <p14:creationId xmlns:p14="http://schemas.microsoft.com/office/powerpoint/2010/main" val="1857268088"/>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_s/w">
    <p:bg>
      <p:bgRef idx="1001">
        <a:schemeClr val="bg1"/>
      </p:bgRef>
    </p:bg>
    <p:spTree>
      <p:nvGrpSpPr>
        <p:cNvPr id="1" name=""/>
        <p:cNvGrpSpPr/>
        <p:nvPr/>
      </p:nvGrpSpPr>
      <p:grpSpPr>
        <a:xfrm>
          <a:off x="0" y="0"/>
          <a:ext cx="0" cy="0"/>
          <a:chOff x="0" y="0"/>
          <a:chExt cx="0" cy="0"/>
        </a:xfrm>
      </p:grpSpPr>
      <p:sp>
        <p:nvSpPr>
          <p:cNvPr id="6" name="Freihandform 5">
            <a:extLst>
              <a:ext uri="{FF2B5EF4-FFF2-40B4-BE49-F238E27FC236}">
                <a16:creationId xmlns:a16="http://schemas.microsoft.com/office/drawing/2014/main" id="{83E0EE45-8042-E9FF-9090-DE35B4F583A2}"/>
              </a:ext>
            </a:extLst>
          </p:cNvPr>
          <p:cNvSpPr/>
          <p:nvPr userDrawn="1"/>
        </p:nvSpPr>
        <p:spPr>
          <a:xfrm>
            <a:off x="0" y="0"/>
            <a:ext cx="6715047" cy="6858000"/>
          </a:xfrm>
          <a:custGeom>
            <a:avLst/>
            <a:gdLst>
              <a:gd name="connsiteX0" fmla="*/ 0 w 6715047"/>
              <a:gd name="connsiteY0" fmla="*/ 0 h 6858000"/>
              <a:gd name="connsiteX1" fmla="*/ 477520 w 6715047"/>
              <a:gd name="connsiteY1" fmla="*/ 0 h 6858000"/>
              <a:gd name="connsiteX2" fmla="*/ 1391920 w 6715047"/>
              <a:gd name="connsiteY2" fmla="*/ 0 h 6858000"/>
              <a:gd name="connsiteX3" fmla="*/ 6715047 w 6715047"/>
              <a:gd name="connsiteY3" fmla="*/ 0 h 6858000"/>
              <a:gd name="connsiteX4" fmla="*/ 4886933 w 6715047"/>
              <a:gd name="connsiteY4" fmla="*/ 6331508 h 6858000"/>
              <a:gd name="connsiteX5" fmla="*/ 4734898 w 6715047"/>
              <a:gd name="connsiteY5" fmla="*/ 6858000 h 6858000"/>
              <a:gd name="connsiteX6" fmla="*/ 1391920 w 6715047"/>
              <a:gd name="connsiteY6" fmla="*/ 6858000 h 6858000"/>
              <a:gd name="connsiteX7" fmla="*/ 477520 w 6715047"/>
              <a:gd name="connsiteY7" fmla="*/ 6858000 h 6858000"/>
              <a:gd name="connsiteX8" fmla="*/ 0 w 6715047"/>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15047" h="6858000">
                <a:moveTo>
                  <a:pt x="0" y="0"/>
                </a:moveTo>
                <a:lnTo>
                  <a:pt x="477520" y="0"/>
                </a:lnTo>
                <a:lnTo>
                  <a:pt x="1391920" y="0"/>
                </a:lnTo>
                <a:lnTo>
                  <a:pt x="6715047" y="0"/>
                </a:lnTo>
                <a:lnTo>
                  <a:pt x="4886933" y="6331508"/>
                </a:lnTo>
                <a:lnTo>
                  <a:pt x="4734898" y="6858000"/>
                </a:lnTo>
                <a:lnTo>
                  <a:pt x="1391920" y="6858000"/>
                </a:lnTo>
                <a:lnTo>
                  <a:pt x="477520" y="6858000"/>
                </a:lnTo>
                <a:lnTo>
                  <a:pt x="0" y="6858000"/>
                </a:lnTo>
                <a:close/>
              </a:path>
            </a:pathLst>
          </a:custGeom>
          <a:solidFill>
            <a:schemeClr val="tx1"/>
          </a:solidFill>
          <a:ln w="4889" cap="flat">
            <a:noFill/>
            <a:prstDash val="solid"/>
            <a:miter/>
          </a:ln>
        </p:spPr>
        <p:txBody>
          <a:bodyPr wrap="square" rtlCol="0" anchor="ctr">
            <a:noAutofit/>
          </a:bodyPr>
          <a:lstStyle/>
          <a:p>
            <a:endParaRPr lang="de-DE"/>
          </a:p>
        </p:txBody>
      </p:sp>
      <p:sp>
        <p:nvSpPr>
          <p:cNvPr id="3" name="Text Placeholder 3">
            <a:extLst>
              <a:ext uri="{FF2B5EF4-FFF2-40B4-BE49-F238E27FC236}">
                <a16:creationId xmlns:a16="http://schemas.microsoft.com/office/drawing/2014/main" id="{1E3E106F-194D-27CD-5F7B-9953C0CBC830}"/>
              </a:ext>
            </a:extLst>
          </p:cNvPr>
          <p:cNvSpPr>
            <a:spLocks noGrp="1"/>
          </p:cNvSpPr>
          <p:nvPr>
            <p:ph type="body" sz="quarter" idx="14" hasCustomPrompt="1"/>
          </p:nvPr>
        </p:nvSpPr>
        <p:spPr>
          <a:xfrm>
            <a:off x="3091399" y="2060848"/>
            <a:ext cx="7221001" cy="2939035"/>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2357116694"/>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6" name="Bildplatzhalter 5"/>
          <p:cNvSpPr>
            <a:spLocks noGrp="1"/>
          </p:cNvSpPr>
          <p:nvPr>
            <p:ph type="pic" sz="quarter" idx="12"/>
          </p:nvPr>
        </p:nvSpPr>
        <p:spPr>
          <a:xfrm>
            <a:off x="0" y="-817"/>
            <a:ext cx="12192000" cy="4320000"/>
          </a:xfrm>
          <a:prstGeom prst="rect">
            <a:avLst/>
          </a:prstGeom>
        </p:spPr>
        <p:txBody>
          <a:bodyPr>
            <a:normAutofit/>
          </a:bodyPr>
          <a:lstStyle/>
          <a:p>
            <a:r>
              <a:rPr lang="de-DE"/>
              <a:t>Bild durch Klicken auf Symbol hinzufügen</a:t>
            </a:r>
            <a:endParaRPr lang="en-GB"/>
          </a:p>
        </p:txBody>
      </p:sp>
      <p:cxnSp>
        <p:nvCxnSpPr>
          <p:cNvPr id="12" name="Straight Connector 11">
            <a:extLst>
              <a:ext uri="{FF2B5EF4-FFF2-40B4-BE49-F238E27FC236}">
                <a16:creationId xmlns:a16="http://schemas.microsoft.com/office/drawing/2014/main" id="{E933D11D-5DF9-F74A-8F86-51B4F8545CE8}"/>
              </a:ext>
            </a:extLst>
          </p:cNvPr>
          <p:cNvCxnSpPr>
            <a:cxnSpLocks/>
          </p:cNvCxnSpPr>
          <p:nvPr userDrawn="1"/>
        </p:nvCxnSpPr>
        <p:spPr>
          <a:xfrm>
            <a:off x="346248" y="5525457"/>
            <a:ext cx="2365977" cy="0"/>
          </a:xfrm>
          <a:prstGeom prst="line">
            <a:avLst/>
          </a:prstGeom>
          <a:ln w="1270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itelplatzhalter 1"/>
          <p:cNvSpPr>
            <a:spLocks noGrp="1"/>
          </p:cNvSpPr>
          <p:nvPr>
            <p:ph type="title" hasCustomPrompt="1"/>
          </p:nvPr>
        </p:nvSpPr>
        <p:spPr>
          <a:xfrm>
            <a:off x="346248" y="4521667"/>
            <a:ext cx="11581957" cy="432000"/>
          </a:xfrm>
          <a:prstGeom prst="rect">
            <a:avLst/>
          </a:prstGeom>
        </p:spPr>
        <p:txBody>
          <a:bodyPr vert="horz" lIns="0" tIns="0" rIns="0" bIns="0" rtlCol="0" anchor="b">
            <a:noAutofit/>
          </a:bodyPr>
          <a:lstStyle>
            <a:lvl1pPr>
              <a:defRPr lang="de-CH" sz="2800" b="1" i="0" kern="1200" noProof="0" dirty="0">
                <a:solidFill>
                  <a:schemeClr val="tx1"/>
                </a:solidFill>
                <a:latin typeface="Arial" panose="020B0604020202020204" pitchFamily="34" charset="0"/>
                <a:ea typeface="+mj-ea"/>
                <a:cs typeface="Arial" panose="020B0604020202020204" pitchFamily="34" charset="0"/>
              </a:defRPr>
            </a:lvl1pPr>
          </a:lstStyle>
          <a:p>
            <a:r>
              <a:rPr lang="de-CH" noProof="0" dirty="0"/>
              <a:t>Titel</a:t>
            </a:r>
          </a:p>
        </p:txBody>
      </p:sp>
      <p:sp>
        <p:nvSpPr>
          <p:cNvPr id="9" name="Text Placeholder 2">
            <a:extLst>
              <a:ext uri="{FF2B5EF4-FFF2-40B4-BE49-F238E27FC236}">
                <a16:creationId xmlns:a16="http://schemas.microsoft.com/office/drawing/2014/main" id="{5961E8DD-C488-480A-A8F7-E5F4AA2FD347}"/>
              </a:ext>
            </a:extLst>
          </p:cNvPr>
          <p:cNvSpPr>
            <a:spLocks noGrp="1"/>
          </p:cNvSpPr>
          <p:nvPr>
            <p:ph type="body" sz="quarter" idx="22" hasCustomPrompt="1"/>
          </p:nvPr>
        </p:nvSpPr>
        <p:spPr>
          <a:xfrm>
            <a:off x="346248" y="5784941"/>
            <a:ext cx="10689545" cy="308355"/>
          </a:xfrm>
        </p:spPr>
        <p:txBody>
          <a:bodyPr lIns="0" tIns="0" rIns="0" bIns="0"/>
          <a:lstStyle>
            <a:lvl1pPr>
              <a:buNone/>
              <a:defRPr sz="12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dirty="0"/>
              <a:t>Ort, Datum</a:t>
            </a:r>
            <a:endParaRPr lang="en-BG" dirty="0"/>
          </a:p>
        </p:txBody>
      </p:sp>
      <p:sp>
        <p:nvSpPr>
          <p:cNvPr id="13" name="Textplatzhalter 9">
            <a:extLst>
              <a:ext uri="{FF2B5EF4-FFF2-40B4-BE49-F238E27FC236}">
                <a16:creationId xmlns:a16="http://schemas.microsoft.com/office/drawing/2014/main" id="{72061209-3A93-9E4C-9A5B-95760B081EB1}"/>
              </a:ext>
            </a:extLst>
          </p:cNvPr>
          <p:cNvSpPr>
            <a:spLocks noGrp="1"/>
          </p:cNvSpPr>
          <p:nvPr>
            <p:ph type="body" sz="quarter" idx="17" hasCustomPrompt="1"/>
          </p:nvPr>
        </p:nvSpPr>
        <p:spPr>
          <a:xfrm>
            <a:off x="346248" y="4968648"/>
            <a:ext cx="11582400" cy="354330"/>
          </a:xfrm>
          <a:prstGeom prst="rect">
            <a:avLst/>
          </a:prstGeom>
        </p:spPr>
        <p:txBody>
          <a:bodyPr lIns="0" tIns="0" anchor="t">
            <a:noAutofit/>
          </a:bodyPr>
          <a:lstStyle>
            <a:lvl1pPr marL="0" indent="0" algn="l" defTabSz="914343" rtl="0" eaLnBrk="1" latinLnBrk="0" hangingPunct="1">
              <a:spcBef>
                <a:spcPct val="0"/>
              </a:spcBef>
              <a:buNone/>
              <a:defRPr lang="en-GB" sz="2200" b="0" i="0" kern="1200" dirty="0">
                <a:solidFill>
                  <a:schemeClr val="tx1"/>
                </a:solidFill>
                <a:latin typeface="Arial" panose="020B0604020202020204" pitchFamily="34" charset="0"/>
                <a:ea typeface="+mj-ea"/>
                <a:cs typeface="Arial" panose="020B0604020202020204" pitchFamily="34" charset="0"/>
              </a:defRPr>
            </a:lvl1pPr>
          </a:lstStyle>
          <a:p>
            <a:pPr lvl="0"/>
            <a:r>
              <a:rPr lang="de-CH" dirty="0"/>
              <a:t>Untertitel </a:t>
            </a:r>
            <a:endParaRPr lang="en-GB" dirty="0"/>
          </a:p>
        </p:txBody>
      </p:sp>
      <p:sp>
        <p:nvSpPr>
          <p:cNvPr id="8" name="Bildplatzhalter 3">
            <a:extLst>
              <a:ext uri="{FF2B5EF4-FFF2-40B4-BE49-F238E27FC236}">
                <a16:creationId xmlns:a16="http://schemas.microsoft.com/office/drawing/2014/main" id="{D4661AFA-A478-5C41-9A68-F4F85D0DFCC4}"/>
              </a:ext>
            </a:extLst>
          </p:cNvPr>
          <p:cNvSpPr>
            <a:spLocks noGrp="1"/>
          </p:cNvSpPr>
          <p:nvPr>
            <p:ph type="pic" sz="quarter" idx="23" hasCustomPrompt="1"/>
          </p:nvPr>
        </p:nvSpPr>
        <p:spPr>
          <a:xfrm>
            <a:off x="9006415" y="6114753"/>
            <a:ext cx="1552575" cy="496888"/>
          </a:xfrm>
          <a:prstGeom prst="rect">
            <a:avLst/>
          </a:prstGeom>
        </p:spPr>
        <p:txBody>
          <a:bodyPr/>
          <a:lstStyle>
            <a:lvl1pPr>
              <a:defRPr sz="1400"/>
            </a:lvl1pPr>
          </a:lstStyle>
          <a:p>
            <a:r>
              <a:rPr lang="de-CH" dirty="0"/>
              <a:t>Kundenlogo</a:t>
            </a:r>
          </a:p>
        </p:txBody>
      </p:sp>
      <p:sp>
        <p:nvSpPr>
          <p:cNvPr id="2" name="Text Placeholder 3">
            <a:extLst>
              <a:ext uri="{FF2B5EF4-FFF2-40B4-BE49-F238E27FC236}">
                <a16:creationId xmlns:a16="http://schemas.microsoft.com/office/drawing/2014/main" id="{684A37B7-4957-C605-6F2A-3E009754FBFE}"/>
              </a:ext>
            </a:extLst>
          </p:cNvPr>
          <p:cNvSpPr>
            <a:spLocks noGrp="1"/>
          </p:cNvSpPr>
          <p:nvPr>
            <p:ph type="body" sz="quarter" idx="24" hasCustomPrompt="1"/>
          </p:nvPr>
        </p:nvSpPr>
        <p:spPr>
          <a:xfrm>
            <a:off x="10800100" y="6220711"/>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4600337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ischenfolie">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86A46D8F-A272-724A-8381-111468EBF7CB}"/>
              </a:ext>
            </a:extLst>
          </p:cNvPr>
          <p:cNvSpPr>
            <a:spLocks noGrp="1" noChangeAspect="1"/>
          </p:cNvSpPr>
          <p:nvPr>
            <p:ph type="pic" sz="quarter" idx="15"/>
          </p:nvPr>
        </p:nvSpPr>
        <p:spPr>
          <a:xfrm>
            <a:off x="-2" y="3580"/>
            <a:ext cx="9432000" cy="6856233"/>
          </a:xfrm>
          <a:custGeom>
            <a:avLst/>
            <a:gdLst>
              <a:gd name="connsiteX0" fmla="*/ 0 w 13174762"/>
              <a:gd name="connsiteY0" fmla="*/ 0 h 9576892"/>
              <a:gd name="connsiteX1" fmla="*/ 13174762 w 13174762"/>
              <a:gd name="connsiteY1" fmla="*/ 0 h 9576892"/>
              <a:gd name="connsiteX2" fmla="*/ 10596778 w 13174762"/>
              <a:gd name="connsiteY2" fmla="*/ 9576892 h 9576892"/>
              <a:gd name="connsiteX3" fmla="*/ 0 w 13174762"/>
              <a:gd name="connsiteY3" fmla="*/ 9576892 h 9576892"/>
            </a:gdLst>
            <a:ahLst/>
            <a:cxnLst>
              <a:cxn ang="0">
                <a:pos x="connsiteX0" y="connsiteY0"/>
              </a:cxn>
              <a:cxn ang="0">
                <a:pos x="connsiteX1" y="connsiteY1"/>
              </a:cxn>
              <a:cxn ang="0">
                <a:pos x="connsiteX2" y="connsiteY2"/>
              </a:cxn>
              <a:cxn ang="0">
                <a:pos x="connsiteX3" y="connsiteY3"/>
              </a:cxn>
            </a:cxnLst>
            <a:rect l="l" t="t" r="r" b="b"/>
            <a:pathLst>
              <a:path w="13174762" h="9576892">
                <a:moveTo>
                  <a:pt x="0" y="0"/>
                </a:moveTo>
                <a:lnTo>
                  <a:pt x="13174762" y="0"/>
                </a:lnTo>
                <a:lnTo>
                  <a:pt x="10596778" y="9576892"/>
                </a:lnTo>
                <a:lnTo>
                  <a:pt x="0" y="9576892"/>
                </a:lnTo>
                <a:close/>
              </a:path>
            </a:pathLst>
          </a:custGeom>
        </p:spPr>
        <p:txBody>
          <a:bodyPr wrap="square">
            <a:noAutofit/>
          </a:bodyPr>
          <a:lstStyle/>
          <a:p>
            <a:r>
              <a:rPr lang="de-DE"/>
              <a:t>Bild durch Klicken auf Symbol hinzufügen</a:t>
            </a:r>
            <a:endParaRPr lang="x-none"/>
          </a:p>
        </p:txBody>
      </p:sp>
      <p:sp>
        <p:nvSpPr>
          <p:cNvPr id="18" name="Text Placeholder 17">
            <a:extLst>
              <a:ext uri="{FF2B5EF4-FFF2-40B4-BE49-F238E27FC236}">
                <a16:creationId xmlns:a16="http://schemas.microsoft.com/office/drawing/2014/main" id="{04A61C14-5B85-DB4A-9912-186FFB04394F}"/>
              </a:ext>
            </a:extLst>
          </p:cNvPr>
          <p:cNvSpPr>
            <a:spLocks noGrp="1"/>
          </p:cNvSpPr>
          <p:nvPr>
            <p:ph type="body" sz="quarter" idx="14" hasCustomPrompt="1"/>
          </p:nvPr>
        </p:nvSpPr>
        <p:spPr>
          <a:xfrm>
            <a:off x="9010506" y="2260739"/>
            <a:ext cx="2516076" cy="2160204"/>
          </a:xfrm>
          <a:prstGeom prst="rect">
            <a:avLst/>
          </a:prstGeom>
        </p:spPr>
        <p:txBody>
          <a:bodyPr anchor="ctr"/>
          <a:lstStyle>
            <a:lvl1pPr algn="ctr">
              <a:defRPr sz="10715">
                <a:solidFill>
                  <a:schemeClr val="accent2"/>
                </a:solidFill>
              </a:defRPr>
            </a:lvl1pPr>
          </a:lstStyle>
          <a:p>
            <a:pPr lvl="0"/>
            <a:r>
              <a:rPr lang="en-GB"/>
              <a:t>01</a:t>
            </a:r>
            <a:endParaRPr lang="x-none"/>
          </a:p>
        </p:txBody>
      </p:sp>
      <p:sp>
        <p:nvSpPr>
          <p:cNvPr id="7" name="Title 11">
            <a:extLst>
              <a:ext uri="{FF2B5EF4-FFF2-40B4-BE49-F238E27FC236}">
                <a16:creationId xmlns:a16="http://schemas.microsoft.com/office/drawing/2014/main" id="{2371D465-EF6E-2D40-A568-AC532655EC3F}"/>
              </a:ext>
            </a:extLst>
          </p:cNvPr>
          <p:cNvSpPr>
            <a:spLocks noGrp="1"/>
          </p:cNvSpPr>
          <p:nvPr>
            <p:ph type="title" hasCustomPrompt="1"/>
          </p:nvPr>
        </p:nvSpPr>
        <p:spPr>
          <a:xfrm>
            <a:off x="8359110" y="4437112"/>
            <a:ext cx="3647949" cy="515393"/>
          </a:xfrm>
          <a:prstGeom prst="rect">
            <a:avLst/>
          </a:prstGeom>
        </p:spPr>
        <p:txBody>
          <a:bodyPr anchor="b"/>
          <a:lstStyle>
            <a:lvl1pPr>
              <a:defRPr sz="2000" b="1">
                <a:solidFill>
                  <a:schemeClr val="tx1">
                    <a:lumMod val="50000"/>
                  </a:schemeClr>
                </a:solidFill>
              </a:defRPr>
            </a:lvl1pPr>
          </a:lstStyle>
          <a:p>
            <a:r>
              <a:rPr lang="en-GB" dirty="0" err="1"/>
              <a:t>Zwischentitel</a:t>
            </a:r>
            <a:endParaRPr lang="x-none" dirty="0"/>
          </a:p>
        </p:txBody>
      </p:sp>
      <p:sp>
        <p:nvSpPr>
          <p:cNvPr id="9" name="Textplatzhalter 7">
            <a:extLst>
              <a:ext uri="{FF2B5EF4-FFF2-40B4-BE49-F238E27FC236}">
                <a16:creationId xmlns:a16="http://schemas.microsoft.com/office/drawing/2014/main" id="{5684B880-0633-804C-8195-DD5BB8D0CE04}"/>
              </a:ext>
            </a:extLst>
          </p:cNvPr>
          <p:cNvSpPr>
            <a:spLocks noGrp="1"/>
          </p:cNvSpPr>
          <p:nvPr>
            <p:ph type="body" sz="quarter" idx="13" hasCustomPrompt="1"/>
          </p:nvPr>
        </p:nvSpPr>
        <p:spPr>
          <a:xfrm>
            <a:off x="8359109" y="5013176"/>
            <a:ext cx="3647949" cy="964136"/>
          </a:xfrm>
          <a:prstGeom prst="rect">
            <a:avLst/>
          </a:prstGeom>
        </p:spPr>
        <p:txBody>
          <a:bodyPr anchor="t">
            <a:normAutofit/>
          </a:bodyPr>
          <a:lstStyle>
            <a:lvl1pPr>
              <a:defRPr sz="1429" baseline="0">
                <a:solidFill>
                  <a:schemeClr val="tx1">
                    <a:lumMod val="50000"/>
                  </a:schemeClr>
                </a:solidFill>
              </a:defRPr>
            </a:lvl1pPr>
          </a:lstStyle>
          <a:p>
            <a:pPr lvl="0"/>
            <a:r>
              <a:rPr lang="en-US" noProof="0" dirty="0" err="1"/>
              <a:t>Beschreibung</a:t>
            </a:r>
            <a:r>
              <a:rPr lang="en-US" noProof="0" dirty="0"/>
              <a:t> </a:t>
            </a:r>
            <a:r>
              <a:rPr lang="en-US" noProof="0" dirty="0" err="1"/>
              <a:t>Zwischenkapitel</a:t>
            </a:r>
            <a:endParaRPr lang="en-US" noProof="0" dirty="0"/>
          </a:p>
        </p:txBody>
      </p:sp>
      <p:sp>
        <p:nvSpPr>
          <p:cNvPr id="10" name="Bildplatzhalter 3">
            <a:extLst>
              <a:ext uri="{FF2B5EF4-FFF2-40B4-BE49-F238E27FC236}">
                <a16:creationId xmlns:a16="http://schemas.microsoft.com/office/drawing/2014/main" id="{055E74B9-A63E-4CB9-B76F-74E49B7464E5}"/>
              </a:ext>
            </a:extLst>
          </p:cNvPr>
          <p:cNvSpPr>
            <a:spLocks noGrp="1"/>
          </p:cNvSpPr>
          <p:nvPr>
            <p:ph type="pic" sz="quarter" idx="23" hasCustomPrompt="1"/>
          </p:nvPr>
        </p:nvSpPr>
        <p:spPr>
          <a:xfrm>
            <a:off x="9006415" y="6114753"/>
            <a:ext cx="1552575" cy="496888"/>
          </a:xfrm>
          <a:prstGeom prst="rect">
            <a:avLst/>
          </a:prstGeom>
        </p:spPr>
        <p:txBody>
          <a:bodyPr/>
          <a:lstStyle>
            <a:lvl1pPr>
              <a:defRPr sz="1400"/>
            </a:lvl1pPr>
          </a:lstStyle>
          <a:p>
            <a:r>
              <a:rPr lang="de-CH" dirty="0"/>
              <a:t>Kundenlogo</a:t>
            </a:r>
          </a:p>
        </p:txBody>
      </p:sp>
      <p:sp>
        <p:nvSpPr>
          <p:cNvPr id="3" name="Text Placeholder 3">
            <a:extLst>
              <a:ext uri="{FF2B5EF4-FFF2-40B4-BE49-F238E27FC236}">
                <a16:creationId xmlns:a16="http://schemas.microsoft.com/office/drawing/2014/main" id="{AA255EA5-7EF1-7916-7BCA-3B3516467541}"/>
              </a:ext>
            </a:extLst>
          </p:cNvPr>
          <p:cNvSpPr>
            <a:spLocks noGrp="1"/>
          </p:cNvSpPr>
          <p:nvPr>
            <p:ph type="body" sz="quarter" idx="24" hasCustomPrompt="1"/>
          </p:nvPr>
        </p:nvSpPr>
        <p:spPr>
          <a:xfrm>
            <a:off x="10800100" y="6220711"/>
            <a:ext cx="960487" cy="390930"/>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p:spPr>
        <p:txBody>
          <a:bodyPr/>
          <a:lstStyle>
            <a:lvl1pPr>
              <a:defRPr sz="300"/>
            </a:lvl1pPr>
          </a:lstStyle>
          <a:p>
            <a:pPr lvl="0"/>
            <a:r>
              <a:rPr lang="bg-BG" dirty="0"/>
              <a:t> </a:t>
            </a:r>
            <a:endParaRPr lang="en-BG" dirty="0"/>
          </a:p>
        </p:txBody>
      </p:sp>
    </p:spTree>
    <p:extLst>
      <p:ext uri="{BB962C8B-B14F-4D97-AF65-F5344CB8AC3E}">
        <p14:creationId xmlns:p14="http://schemas.microsoft.com/office/powerpoint/2010/main" val="13904716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image" Target="../media/image5.svg"/><Relationship Id="rId21" Type="http://schemas.openxmlformats.org/officeDocument/2006/relationships/slideLayout" Target="../slideLayouts/slideLayout45.xml"/><Relationship Id="rId34" Type="http://schemas.openxmlformats.org/officeDocument/2006/relationships/theme" Target="../theme/theme2.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image" Target="../media/image4.pn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slideLayout" Target="../slideLayouts/slideLayout5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image" Target="../media/image1.emf"/><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oleObject" Target="../embeddings/oleObject2.bin"/><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tags" Target="../tags/tag3.xml"/><Relationship Id="rId8" Type="http://schemas.openxmlformats.org/officeDocument/2006/relationships/slideLayout" Target="../slideLayouts/slideLayout32.xml"/><Relationship Id="rId3"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B3D234C-93AB-17AA-0738-DCC612B11221}"/>
              </a:ext>
            </a:extLst>
          </p:cNvPr>
          <p:cNvGraphicFramePr>
            <a:graphicFrameLocks noChangeAspect="1"/>
          </p:cNvGraphicFramePr>
          <p:nvPr userDrawn="1">
            <p:custDataLst>
              <p:tags r:id="rId26"/>
            </p:custDataLst>
            <p:extLst>
              <p:ext uri="{D42A27DB-BD31-4B8C-83A1-F6EECF244321}">
                <p14:modId xmlns:p14="http://schemas.microsoft.com/office/powerpoint/2010/main" val="2844473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78" imgH="377" progId="TCLayout.ActiveDocument.1">
                  <p:embed/>
                </p:oleObj>
              </mc:Choice>
              <mc:Fallback>
                <p:oleObj name="think-cell Slide" r:id="rId27" imgW="378" imgH="377" progId="TCLayout.ActiveDocument.1">
                  <p:embed/>
                  <p:pic>
                    <p:nvPicPr>
                      <p:cNvPr id="2" name="Object 1" hidden="1">
                        <a:extLst>
                          <a:ext uri="{FF2B5EF4-FFF2-40B4-BE49-F238E27FC236}">
                            <a16:creationId xmlns:a16="http://schemas.microsoft.com/office/drawing/2014/main" id="{0B3D234C-93AB-17AA-0738-DCC612B11221}"/>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57468616"/>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41" r:id="rId3"/>
    <p:sldLayoutId id="2147483854" r:id="rId4"/>
    <p:sldLayoutId id="2147483855" r:id="rId5"/>
    <p:sldLayoutId id="2147483856" r:id="rId6"/>
    <p:sldLayoutId id="2147483857" r:id="rId7"/>
    <p:sldLayoutId id="2147483700" r:id="rId8"/>
    <p:sldLayoutId id="2147483720" r:id="rId9"/>
    <p:sldLayoutId id="2147483750" r:id="rId10"/>
    <p:sldLayoutId id="2147483722" r:id="rId11"/>
    <p:sldLayoutId id="2147483880" r:id="rId12"/>
    <p:sldLayoutId id="2147483892" r:id="rId13"/>
    <p:sldLayoutId id="2147483863" r:id="rId14"/>
    <p:sldLayoutId id="2147483845" r:id="rId15"/>
    <p:sldLayoutId id="2147483864" r:id="rId16"/>
    <p:sldLayoutId id="2147483865" r:id="rId17"/>
    <p:sldLayoutId id="2147483866" r:id="rId18"/>
    <p:sldLayoutId id="2147483867" r:id="rId19"/>
    <p:sldLayoutId id="2147483886" r:id="rId20"/>
    <p:sldLayoutId id="2147483893" r:id="rId21"/>
    <p:sldLayoutId id="2147483894" r:id="rId22"/>
    <p:sldLayoutId id="2147483895" r:id="rId23"/>
    <p:sldLayoutId id="2147483896" r:id="rId24"/>
  </p:sldLayoutIdLst>
  <p:hf hdr="0" dt="0"/>
  <p:txStyles>
    <p:titleStyle>
      <a:lvl1pPr algn="l" defTabSz="653164" rtl="0" eaLnBrk="1" latinLnBrk="0" hangingPunct="1">
        <a:spcBef>
          <a:spcPct val="0"/>
        </a:spcBef>
        <a:buNone/>
        <a:defRPr sz="2144" kern="1200">
          <a:solidFill>
            <a:schemeClr val="bg2"/>
          </a:solidFill>
          <a:latin typeface="+mj-lt"/>
          <a:ea typeface="+mj-ea"/>
          <a:cs typeface="+mj-cs"/>
        </a:defRPr>
      </a:lvl1pPr>
    </p:titleStyle>
    <p:bodyStyle>
      <a:lvl1pPr marL="0" indent="0" algn="l" defTabSz="653164" rtl="0" eaLnBrk="1" latinLnBrk="0" hangingPunct="1">
        <a:spcBef>
          <a:spcPct val="20000"/>
        </a:spcBef>
        <a:buClr>
          <a:schemeClr val="accent1"/>
        </a:buClr>
        <a:buSzPct val="120000"/>
        <a:buFont typeface="Arial" panose="020B0604020202020204" pitchFamily="34" charset="0"/>
        <a:buNone/>
        <a:defRPr sz="2286" kern="1200">
          <a:solidFill>
            <a:schemeClr val="bg1">
              <a:lumMod val="65000"/>
            </a:schemeClr>
          </a:solidFill>
          <a:latin typeface="+mn-lt"/>
          <a:ea typeface="+mn-ea"/>
          <a:cs typeface="+mn-cs"/>
        </a:defRPr>
      </a:lvl1pPr>
      <a:lvl2pPr marL="255142" indent="-120201" algn="l" defTabSz="653164" rtl="0" eaLnBrk="1" latinLnBrk="0" hangingPunct="1">
        <a:spcBef>
          <a:spcPct val="20000"/>
        </a:spcBef>
        <a:buClr>
          <a:schemeClr val="accent1"/>
        </a:buClr>
        <a:buSzPct val="110000"/>
        <a:buFont typeface="Arial" panose="020B0604020202020204" pitchFamily="34" charset="0"/>
        <a:buChar char="›"/>
        <a:defRPr sz="857" kern="1200">
          <a:solidFill>
            <a:schemeClr val="tx1"/>
          </a:solidFill>
          <a:latin typeface="+mn-lt"/>
          <a:ea typeface="+mn-ea"/>
          <a:cs typeface="+mn-cs"/>
        </a:defRPr>
      </a:lvl2pPr>
      <a:lvl3pPr marL="511419" indent="-117933" algn="l" defTabSz="653164" rtl="0" eaLnBrk="1" latinLnBrk="0" hangingPunct="1">
        <a:spcBef>
          <a:spcPct val="20000"/>
        </a:spcBef>
        <a:buClr>
          <a:schemeClr val="accent1"/>
        </a:buClr>
        <a:buSzPct val="110000"/>
        <a:buFont typeface="Arial" panose="020B0604020202020204" pitchFamily="34" charset="0"/>
        <a:buChar char="›"/>
        <a:defRPr sz="857" kern="1200">
          <a:solidFill>
            <a:schemeClr val="tx1"/>
          </a:solidFill>
          <a:latin typeface="+mn-lt"/>
          <a:ea typeface="+mn-ea"/>
          <a:cs typeface="+mn-cs"/>
        </a:defRPr>
      </a:lvl3pPr>
      <a:lvl4pPr marL="772231" indent="-108861" algn="l" defTabSz="653164" rtl="0" eaLnBrk="1" latinLnBrk="0" hangingPunct="1">
        <a:spcBef>
          <a:spcPct val="20000"/>
        </a:spcBef>
        <a:buClr>
          <a:schemeClr val="accent1"/>
        </a:buClr>
        <a:buSzPct val="110000"/>
        <a:buFont typeface="Arial" panose="020B0604020202020204" pitchFamily="34" charset="0"/>
        <a:buChar char="›"/>
        <a:tabLst/>
        <a:defRPr sz="857" kern="1200">
          <a:solidFill>
            <a:schemeClr val="tx1"/>
          </a:solidFill>
          <a:latin typeface="+mn-lt"/>
          <a:ea typeface="+mn-ea"/>
          <a:cs typeface="+mn-cs"/>
        </a:defRPr>
      </a:lvl4pPr>
      <a:lvl5pPr marL="1027373" indent="-105459" algn="l" defTabSz="653164" rtl="0" eaLnBrk="1" latinLnBrk="0" hangingPunct="1">
        <a:spcBef>
          <a:spcPct val="20000"/>
        </a:spcBef>
        <a:buClr>
          <a:schemeClr val="accent1"/>
        </a:buClr>
        <a:buSzPct val="110000"/>
        <a:buFont typeface="Arial" panose="020B0604020202020204" pitchFamily="34" charset="0"/>
        <a:buChar char="›"/>
        <a:defRPr sz="857" kern="1200">
          <a:solidFill>
            <a:schemeClr val="tx1"/>
          </a:solidFill>
          <a:latin typeface="+mn-lt"/>
          <a:ea typeface="+mn-ea"/>
          <a:cs typeface="+mn-cs"/>
        </a:defRPr>
      </a:lvl5pPr>
      <a:lvl6pPr marL="1796202" indent="-163292" algn="l" defTabSz="653164" rtl="0" eaLnBrk="1" latinLnBrk="0" hangingPunct="1">
        <a:spcBef>
          <a:spcPct val="20000"/>
        </a:spcBef>
        <a:buFont typeface="Arial" panose="020B0604020202020204" pitchFamily="34" charset="0"/>
        <a:buChar char="•"/>
        <a:defRPr sz="1429" kern="1200">
          <a:solidFill>
            <a:schemeClr val="tx1"/>
          </a:solidFill>
          <a:latin typeface="+mn-lt"/>
          <a:ea typeface="+mn-ea"/>
          <a:cs typeface="+mn-cs"/>
        </a:defRPr>
      </a:lvl6pPr>
      <a:lvl7pPr marL="2122784" indent="-163292" algn="l" defTabSz="653164" rtl="0" eaLnBrk="1" latinLnBrk="0" hangingPunct="1">
        <a:spcBef>
          <a:spcPct val="20000"/>
        </a:spcBef>
        <a:buFont typeface="Arial" panose="020B0604020202020204" pitchFamily="34" charset="0"/>
        <a:buChar char="•"/>
        <a:defRPr sz="1429" kern="1200">
          <a:solidFill>
            <a:schemeClr val="tx1"/>
          </a:solidFill>
          <a:latin typeface="+mn-lt"/>
          <a:ea typeface="+mn-ea"/>
          <a:cs typeface="+mn-cs"/>
        </a:defRPr>
      </a:lvl7pPr>
      <a:lvl8pPr marL="2449366" indent="-163292" algn="l" defTabSz="653164" rtl="0" eaLnBrk="1" latinLnBrk="0" hangingPunct="1">
        <a:spcBef>
          <a:spcPct val="20000"/>
        </a:spcBef>
        <a:buFont typeface="Arial" panose="020B0604020202020204" pitchFamily="34" charset="0"/>
        <a:buChar char="•"/>
        <a:defRPr sz="1429" kern="1200">
          <a:solidFill>
            <a:schemeClr val="tx1"/>
          </a:solidFill>
          <a:latin typeface="+mn-lt"/>
          <a:ea typeface="+mn-ea"/>
          <a:cs typeface="+mn-cs"/>
        </a:defRPr>
      </a:lvl8pPr>
      <a:lvl9pPr marL="2775948" indent="-163292" algn="l" defTabSz="653164" rtl="0" eaLnBrk="1" latinLnBrk="0" hangingPunct="1">
        <a:spcBef>
          <a:spcPct val="20000"/>
        </a:spcBef>
        <a:buFont typeface="Arial" panose="020B0604020202020204" pitchFamily="34" charset="0"/>
        <a:buChar char="•"/>
        <a:defRPr sz="1429" kern="1200">
          <a:solidFill>
            <a:schemeClr val="tx1"/>
          </a:solidFill>
          <a:latin typeface="+mn-lt"/>
          <a:ea typeface="+mn-ea"/>
          <a:cs typeface="+mn-cs"/>
        </a:defRPr>
      </a:lvl9pPr>
    </p:bodyStyle>
    <p:otherStyle>
      <a:defPPr>
        <a:defRPr lang="en-US"/>
      </a:defPPr>
      <a:lvl1pPr marL="0" algn="l" defTabSz="653164" rtl="0" eaLnBrk="1" latinLnBrk="0" hangingPunct="1">
        <a:defRPr sz="1286" kern="1200">
          <a:solidFill>
            <a:schemeClr val="tx1"/>
          </a:solidFill>
          <a:latin typeface="+mn-lt"/>
          <a:ea typeface="+mn-ea"/>
          <a:cs typeface="+mn-cs"/>
        </a:defRPr>
      </a:lvl1pPr>
      <a:lvl2pPr marL="326582" algn="l" defTabSz="653164" rtl="0" eaLnBrk="1" latinLnBrk="0" hangingPunct="1">
        <a:defRPr sz="1286" kern="1200">
          <a:solidFill>
            <a:schemeClr val="tx1"/>
          </a:solidFill>
          <a:latin typeface="+mn-lt"/>
          <a:ea typeface="+mn-ea"/>
          <a:cs typeface="+mn-cs"/>
        </a:defRPr>
      </a:lvl2pPr>
      <a:lvl3pPr marL="653164" algn="l" defTabSz="653164" rtl="0" eaLnBrk="1" latinLnBrk="0" hangingPunct="1">
        <a:defRPr sz="1286" kern="1200">
          <a:solidFill>
            <a:schemeClr val="tx1"/>
          </a:solidFill>
          <a:latin typeface="+mn-lt"/>
          <a:ea typeface="+mn-ea"/>
          <a:cs typeface="+mn-cs"/>
        </a:defRPr>
      </a:lvl3pPr>
      <a:lvl4pPr marL="979746" algn="l" defTabSz="653164" rtl="0" eaLnBrk="1" latinLnBrk="0" hangingPunct="1">
        <a:defRPr sz="1286" kern="1200">
          <a:solidFill>
            <a:schemeClr val="tx1"/>
          </a:solidFill>
          <a:latin typeface="+mn-lt"/>
          <a:ea typeface="+mn-ea"/>
          <a:cs typeface="+mn-cs"/>
        </a:defRPr>
      </a:lvl4pPr>
      <a:lvl5pPr marL="1306328" algn="l" defTabSz="653164" rtl="0" eaLnBrk="1" latinLnBrk="0" hangingPunct="1">
        <a:defRPr sz="1286" kern="1200">
          <a:solidFill>
            <a:schemeClr val="tx1"/>
          </a:solidFill>
          <a:latin typeface="+mn-lt"/>
          <a:ea typeface="+mn-ea"/>
          <a:cs typeface="+mn-cs"/>
        </a:defRPr>
      </a:lvl5pPr>
      <a:lvl6pPr marL="1632911" algn="l" defTabSz="653164" rtl="0" eaLnBrk="1" latinLnBrk="0" hangingPunct="1">
        <a:defRPr sz="1286" kern="1200">
          <a:solidFill>
            <a:schemeClr val="tx1"/>
          </a:solidFill>
          <a:latin typeface="+mn-lt"/>
          <a:ea typeface="+mn-ea"/>
          <a:cs typeface="+mn-cs"/>
        </a:defRPr>
      </a:lvl6pPr>
      <a:lvl7pPr marL="1959492" algn="l" defTabSz="653164" rtl="0" eaLnBrk="1" latinLnBrk="0" hangingPunct="1">
        <a:defRPr sz="1286" kern="1200">
          <a:solidFill>
            <a:schemeClr val="tx1"/>
          </a:solidFill>
          <a:latin typeface="+mn-lt"/>
          <a:ea typeface="+mn-ea"/>
          <a:cs typeface="+mn-cs"/>
        </a:defRPr>
      </a:lvl7pPr>
      <a:lvl8pPr marL="2286074" algn="l" defTabSz="653164" rtl="0" eaLnBrk="1" latinLnBrk="0" hangingPunct="1">
        <a:defRPr sz="1286" kern="1200">
          <a:solidFill>
            <a:schemeClr val="tx1"/>
          </a:solidFill>
          <a:latin typeface="+mn-lt"/>
          <a:ea typeface="+mn-ea"/>
          <a:cs typeface="+mn-cs"/>
        </a:defRPr>
      </a:lvl8pPr>
      <a:lvl9pPr marL="2612657" algn="l" defTabSz="653164" rtl="0" eaLnBrk="1" latinLnBrk="0" hangingPunct="1">
        <a:defRPr sz="128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31C3E8-5CEA-88E2-F00C-FABE0E65EBE8}"/>
              </a:ext>
            </a:extLst>
          </p:cNvPr>
          <p:cNvGraphicFramePr>
            <a:graphicFrameLocks noChangeAspect="1"/>
          </p:cNvGraphicFramePr>
          <p:nvPr userDrawn="1">
            <p:custDataLst>
              <p:tags r:id="rId35"/>
            </p:custDataLst>
            <p:extLst>
              <p:ext uri="{D42A27DB-BD31-4B8C-83A1-F6EECF244321}">
                <p14:modId xmlns:p14="http://schemas.microsoft.com/office/powerpoint/2010/main" val="260790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78" imgH="377" progId="TCLayout.ActiveDocument.1">
                  <p:embed/>
                </p:oleObj>
              </mc:Choice>
              <mc:Fallback>
                <p:oleObj name="think-cell Slide" r:id="rId36" imgW="378" imgH="377" progId="TCLayout.ActiveDocument.1">
                  <p:embed/>
                  <p:pic>
                    <p:nvPicPr>
                      <p:cNvPr id="5" name="Object 4" hidden="1">
                        <a:extLst>
                          <a:ext uri="{FF2B5EF4-FFF2-40B4-BE49-F238E27FC236}">
                            <a16:creationId xmlns:a16="http://schemas.microsoft.com/office/drawing/2014/main" id="{6B31C3E8-5CEA-88E2-F00C-FABE0E65EBE8}"/>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304800" y="612000"/>
            <a:ext cx="11582400" cy="338554"/>
          </a:xfrm>
          <a:prstGeom prst="rect">
            <a:avLst/>
          </a:prstGeom>
        </p:spPr>
        <p:txBody>
          <a:bodyPr vert="horz" lIns="0" tIns="0" rIns="0" bIns="0" rtlCol="0" anchor="b" anchorCtr="0">
            <a:spAutoFit/>
          </a:bodyPr>
          <a:lstStyle/>
          <a:p>
            <a:r>
              <a:rPr lang="de-CH" noProof="0" dirty="0"/>
              <a:t>Präsentationen</a:t>
            </a:r>
          </a:p>
        </p:txBody>
      </p:sp>
      <p:sp>
        <p:nvSpPr>
          <p:cNvPr id="3" name="Textplatzhalter 2"/>
          <p:cNvSpPr>
            <a:spLocks noGrp="1"/>
          </p:cNvSpPr>
          <p:nvPr>
            <p:ph type="body" idx="1"/>
          </p:nvPr>
        </p:nvSpPr>
        <p:spPr>
          <a:xfrm>
            <a:off x="304800" y="1440000"/>
            <a:ext cx="11582400" cy="4651918"/>
          </a:xfrm>
          <a:prstGeom prst="rect">
            <a:avLst/>
          </a:prstGeom>
        </p:spPr>
        <p:txBody>
          <a:bodyPr vert="horz" lIns="0" tIns="0" rIns="0" bIns="0" rtlCol="0">
            <a:normAutofit/>
          </a:bodyPr>
          <a:lstStyle/>
          <a:p>
            <a:pPr marL="179388" marR="0" lvl="0" indent="-179388" algn="l" defTabSz="653164" rtl="0" eaLnBrk="1" fontAlgn="auto" latinLnBrk="0" hangingPunct="1">
              <a:lnSpc>
                <a:spcPct val="150000"/>
              </a:lnSpc>
              <a:spcBef>
                <a:spcPts val="336"/>
              </a:spcBef>
              <a:spcAft>
                <a:spcPts val="0"/>
              </a:spcAft>
              <a:buClr>
                <a:srgbClr val="0E59D8"/>
              </a:buClr>
              <a:buSzPct val="12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lick to edit Master text styles</a:t>
            </a:r>
          </a:p>
          <a:p>
            <a:pPr marL="349250" marR="0" lvl="1" indent="-1698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ond level</a:t>
            </a:r>
          </a:p>
          <a:p>
            <a:pPr marL="573088" marR="0" lvl="2" indent="-204788"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ird level</a:t>
            </a:r>
          </a:p>
          <a:p>
            <a:pPr marL="798513" marR="0" lvl="3"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urth level</a:t>
            </a:r>
          </a:p>
          <a:p>
            <a:pPr marL="1066800" marR="0" lvl="4" indent="-233363" algn="l" defTabSz="653164" rtl="0" eaLnBrk="1" fontAlgn="auto" latinLnBrk="0" hangingPunct="1">
              <a:lnSpc>
                <a:spcPct val="100000"/>
              </a:lnSpc>
              <a:spcBef>
                <a:spcPts val="600"/>
              </a:spcBef>
              <a:spcAft>
                <a:spcPts val="0"/>
              </a:spcAft>
              <a:buClr>
                <a:srgbClr val="0E59D8"/>
              </a:buClr>
              <a:buSzPct val="110000"/>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fth level</a:t>
            </a:r>
            <a:endParaRPr kumimoji="0" lang="de-CH"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Datumsplatzhalter 7"/>
          <p:cNvSpPr>
            <a:spLocks noGrp="1"/>
          </p:cNvSpPr>
          <p:nvPr>
            <p:ph type="dt" sz="half" idx="2"/>
          </p:nvPr>
        </p:nvSpPr>
        <p:spPr>
          <a:xfrm>
            <a:off x="304800" y="972000"/>
            <a:ext cx="11582400" cy="276999"/>
          </a:xfrm>
          <a:prstGeom prst="rect">
            <a:avLst/>
          </a:prstGeom>
        </p:spPr>
        <p:txBody>
          <a:bodyPr vert="horz" lIns="0" tIns="0" rIns="0" bIns="0" rtlCol="0" anchor="t">
            <a:spAutoFit/>
          </a:bodyPr>
          <a:lstStyle>
            <a:lvl1pPr>
              <a:defRPr lang="en-DE" sz="1800" b="1" i="0" dirty="0">
                <a:solidFill>
                  <a:schemeClr val="tx2">
                    <a:lumMod val="40000"/>
                    <a:lumOff val="60000"/>
                  </a:schemeClr>
                </a:solidFill>
                <a:latin typeface="Arial" panose="020B0604020202020204" pitchFamily="34" charset="0"/>
                <a:ea typeface="+mj-ea"/>
                <a:cs typeface="Arial" panose="020B0604020202020204" pitchFamily="34" charset="0"/>
              </a:defRPr>
            </a:lvl1pPr>
          </a:lstStyle>
          <a:p>
            <a:pPr defTabSz="914343">
              <a:spcBef>
                <a:spcPct val="0"/>
              </a:spcBef>
              <a:buClr>
                <a:schemeClr val="accent1"/>
              </a:buClr>
              <a:buSzPct val="120000"/>
              <a:buFont typeface="Wingdings" panose="05000000000000000000" pitchFamily="2" charset="2"/>
              <a:buNone/>
            </a:pPr>
            <a:endParaRPr lang="de-DE" dirty="0"/>
          </a:p>
        </p:txBody>
      </p:sp>
      <p:sp>
        <p:nvSpPr>
          <p:cNvPr id="7" name="Footer Placeholder 2">
            <a:extLst>
              <a:ext uri="{FF2B5EF4-FFF2-40B4-BE49-F238E27FC236}">
                <a16:creationId xmlns:a16="http://schemas.microsoft.com/office/drawing/2014/main" id="{C9B0D56C-4B6D-4B4D-8399-052F9112BB52}"/>
              </a:ext>
            </a:extLst>
          </p:cNvPr>
          <p:cNvSpPr>
            <a:spLocks noGrp="1"/>
          </p:cNvSpPr>
          <p:nvPr>
            <p:ph type="ftr" sz="quarter" idx="3"/>
          </p:nvPr>
        </p:nvSpPr>
        <p:spPr>
          <a:xfrm>
            <a:off x="304800" y="6488137"/>
            <a:ext cx="9414646" cy="180000"/>
          </a:xfrm>
          <a:prstGeom prst="rect">
            <a:avLst/>
          </a:prstGeom>
        </p:spPr>
        <p:txBody>
          <a:bodyPr lIns="0" anchor="ctr"/>
          <a:lstStyle>
            <a:lvl1pPr>
              <a:defRPr sz="800" b="0" i="0">
                <a:solidFill>
                  <a:schemeClr val="tx2"/>
                </a:solidFill>
                <a:latin typeface="Arial" panose="020B0604020202020204" pitchFamily="34" charset="0"/>
                <a:cs typeface="Arial" panose="020B0604020202020204" pitchFamily="34" charset="0"/>
              </a:defRPr>
            </a:lvl1pPr>
          </a:lstStyle>
          <a:p>
            <a:r>
              <a:rPr lang="de-CH"/>
              <a:t>© LINK | CBD Image Studie 2023 | 12485 | Juni 2023</a:t>
            </a:r>
          </a:p>
        </p:txBody>
      </p:sp>
      <p:sp>
        <p:nvSpPr>
          <p:cNvPr id="9" name="Slide Number Placeholder 3">
            <a:extLst>
              <a:ext uri="{FF2B5EF4-FFF2-40B4-BE49-F238E27FC236}">
                <a16:creationId xmlns:a16="http://schemas.microsoft.com/office/drawing/2014/main" id="{A33D694A-0241-B449-B843-C411CFF44E70}"/>
              </a:ext>
            </a:extLst>
          </p:cNvPr>
          <p:cNvSpPr>
            <a:spLocks noGrp="1"/>
          </p:cNvSpPr>
          <p:nvPr>
            <p:ph type="sldNum" sz="quarter" idx="4"/>
          </p:nvPr>
        </p:nvSpPr>
        <p:spPr>
          <a:xfrm>
            <a:off x="10992544" y="6489360"/>
            <a:ext cx="894656" cy="180000"/>
          </a:xfrm>
          <a:prstGeom prst="rect">
            <a:avLst/>
          </a:prstGeom>
        </p:spPr>
        <p:txBody>
          <a:bodyPr lIns="0" rIns="0" anchor="ctr"/>
          <a:lstStyle>
            <a:lvl1pPr algn="r">
              <a:defRPr sz="900" b="0" i="0">
                <a:solidFill>
                  <a:schemeClr val="tx2"/>
                </a:solidFill>
                <a:latin typeface="Arial" panose="020B0604020202020204" pitchFamily="34" charset="0"/>
                <a:cs typeface="Arial" panose="020B0604020202020204" pitchFamily="34" charset="0"/>
              </a:defRPr>
            </a:lvl1pPr>
          </a:lstStyle>
          <a:p>
            <a:fld id="{3E554A25-EF9F-433F-A2C4-DF94129C44D1}" type="slidenum">
              <a:rPr lang="de-CH" smtClean="0"/>
              <a:pPr/>
              <a:t>‹Nr.›</a:t>
            </a:fld>
            <a:endParaRPr lang="de-CH"/>
          </a:p>
        </p:txBody>
      </p:sp>
      <p:sp>
        <p:nvSpPr>
          <p:cNvPr id="4" name="Text Placeholder 3">
            <a:extLst>
              <a:ext uri="{FF2B5EF4-FFF2-40B4-BE49-F238E27FC236}">
                <a16:creationId xmlns:a16="http://schemas.microsoft.com/office/drawing/2014/main" id="{D3A31216-504C-9D10-3D80-30C859D39619}"/>
              </a:ext>
            </a:extLst>
          </p:cNvPr>
          <p:cNvSpPr txBox="1">
            <a:spLocks/>
          </p:cNvSpPr>
          <p:nvPr userDrawn="1"/>
        </p:nvSpPr>
        <p:spPr>
          <a:xfrm>
            <a:off x="304799" y="159380"/>
            <a:ext cx="960487" cy="390930"/>
          </a:xfrm>
          <a:prstGeom prst="rect">
            <a:avLst/>
          </a:prstGeom>
          <a: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a:blipFill>
        </p:spPr>
        <p:txBody>
          <a:bodyPr/>
          <a:lstStyle>
            <a:lvl1pPr marL="179388" indent="-179388" algn="l" defTabSz="653164" rtl="0" eaLnBrk="1" latinLnBrk="0" hangingPunct="1">
              <a:lnSpc>
                <a:spcPct val="150000"/>
              </a:lnSpc>
              <a:spcBef>
                <a:spcPts val="600"/>
              </a:spcBef>
              <a:buClr>
                <a:schemeClr val="accent2"/>
              </a:buClr>
              <a:buSzPct val="120000"/>
              <a:buFont typeface="Wingdings" panose="05000000000000000000" pitchFamily="2" charset="2"/>
              <a:buChar char="§"/>
              <a:defRPr lang="de-CH" sz="300" kern="1200" noProof="0">
                <a:solidFill>
                  <a:schemeClr val="tx1"/>
                </a:solidFill>
                <a:latin typeface="+mn-lt"/>
                <a:ea typeface="+mn-ea"/>
                <a:cs typeface="+mn-cs"/>
              </a:defRPr>
            </a:lvl1pPr>
            <a:lvl2pPr marL="349250" indent="-169863" algn="l" defTabSz="653164" rtl="0" eaLnBrk="1" latinLnBrk="0" hangingPunct="1">
              <a:lnSpc>
                <a:spcPct val="150000"/>
              </a:lnSpc>
              <a:spcBef>
                <a:spcPts val="600"/>
              </a:spcBef>
              <a:buClr>
                <a:schemeClr val="accent2"/>
              </a:buClr>
              <a:buSzPct val="110000"/>
              <a:buFont typeface="Symbol" panose="05050102010706020507" pitchFamily="18" charset="2"/>
              <a:buChar char="-"/>
              <a:defRPr sz="1400" kern="1200">
                <a:solidFill>
                  <a:schemeClr val="tx1"/>
                </a:solidFill>
                <a:latin typeface="+mn-lt"/>
                <a:ea typeface="+mn-ea"/>
                <a:cs typeface="+mn-cs"/>
              </a:defRPr>
            </a:lvl2pPr>
            <a:lvl3pPr marL="573088" indent="-204788" algn="l" defTabSz="653164" rtl="0" eaLnBrk="1" latinLnBrk="0" hangingPunct="1">
              <a:lnSpc>
                <a:spcPct val="150000"/>
              </a:lnSpc>
              <a:spcBef>
                <a:spcPts val="600"/>
              </a:spcBef>
              <a:buClr>
                <a:schemeClr val="accent2"/>
              </a:buClr>
              <a:buSzPct val="110000"/>
              <a:buFont typeface="Symbol" panose="05050102010706020507" pitchFamily="18" charset="2"/>
              <a:buChar char="-"/>
              <a:defRPr sz="1400" kern="1200">
                <a:solidFill>
                  <a:schemeClr val="tx1"/>
                </a:solidFill>
                <a:latin typeface="+mn-lt"/>
                <a:ea typeface="+mn-ea"/>
                <a:cs typeface="+mn-cs"/>
              </a:defRPr>
            </a:lvl3pPr>
            <a:lvl4pPr marL="798513" indent="-233363" algn="l" defTabSz="653164" rtl="0" eaLnBrk="1" latinLnBrk="0" hangingPunct="1">
              <a:lnSpc>
                <a:spcPct val="150000"/>
              </a:lnSpc>
              <a:spcBef>
                <a:spcPts val="600"/>
              </a:spcBef>
              <a:buClr>
                <a:schemeClr val="accent2"/>
              </a:buClr>
              <a:buSzPct val="110000"/>
              <a:buFont typeface="Symbol" panose="05050102010706020507" pitchFamily="18" charset="2"/>
              <a:buChar char="-"/>
              <a:tabLst/>
              <a:defRPr sz="1400" kern="1200">
                <a:solidFill>
                  <a:schemeClr val="tx1"/>
                </a:solidFill>
                <a:latin typeface="+mn-lt"/>
                <a:ea typeface="+mn-ea"/>
                <a:cs typeface="+mn-cs"/>
              </a:defRPr>
            </a:lvl4pPr>
            <a:lvl5pPr marL="1066800" indent="-233363" algn="l" defTabSz="653164" rtl="0" eaLnBrk="1" latinLnBrk="0" hangingPunct="1">
              <a:lnSpc>
                <a:spcPct val="150000"/>
              </a:lnSpc>
              <a:spcBef>
                <a:spcPts val="600"/>
              </a:spcBef>
              <a:buClr>
                <a:schemeClr val="accent2"/>
              </a:buClr>
              <a:buSzPct val="110000"/>
              <a:buFont typeface="Symbol" panose="05050102010706020507" pitchFamily="18" charset="2"/>
              <a:buChar char="-"/>
              <a:defRPr sz="1400" kern="1200">
                <a:solidFill>
                  <a:schemeClr val="tx1"/>
                </a:solidFill>
                <a:latin typeface="+mn-lt"/>
                <a:ea typeface="+mn-ea"/>
                <a:cs typeface="+mn-cs"/>
              </a:defRPr>
            </a:lvl5pPr>
            <a:lvl6pPr marL="1796202" indent="-163292" algn="l" defTabSz="653164" rtl="0" eaLnBrk="1" latinLnBrk="0" hangingPunct="1">
              <a:spcBef>
                <a:spcPct val="20000"/>
              </a:spcBef>
              <a:buFont typeface="Arial" panose="020B0604020202020204" pitchFamily="34" charset="0"/>
              <a:buChar char="•"/>
              <a:defRPr sz="1429" kern="1200">
                <a:solidFill>
                  <a:schemeClr val="tx1"/>
                </a:solidFill>
                <a:latin typeface="+mn-lt"/>
                <a:ea typeface="+mn-ea"/>
                <a:cs typeface="+mn-cs"/>
              </a:defRPr>
            </a:lvl6pPr>
            <a:lvl7pPr marL="2122784" indent="-163292" algn="l" defTabSz="653164" rtl="0" eaLnBrk="1" latinLnBrk="0" hangingPunct="1">
              <a:spcBef>
                <a:spcPct val="20000"/>
              </a:spcBef>
              <a:buFont typeface="Arial" panose="020B0604020202020204" pitchFamily="34" charset="0"/>
              <a:buChar char="•"/>
              <a:defRPr sz="1429" kern="1200">
                <a:solidFill>
                  <a:schemeClr val="tx1"/>
                </a:solidFill>
                <a:latin typeface="+mn-lt"/>
                <a:ea typeface="+mn-ea"/>
                <a:cs typeface="+mn-cs"/>
              </a:defRPr>
            </a:lvl7pPr>
            <a:lvl8pPr marL="2449366" indent="-163292" algn="l" defTabSz="653164" rtl="0" eaLnBrk="1" latinLnBrk="0" hangingPunct="1">
              <a:spcBef>
                <a:spcPct val="20000"/>
              </a:spcBef>
              <a:buFont typeface="Arial" panose="020B0604020202020204" pitchFamily="34" charset="0"/>
              <a:buChar char="•"/>
              <a:defRPr sz="1429" kern="1200">
                <a:solidFill>
                  <a:schemeClr val="tx1"/>
                </a:solidFill>
                <a:latin typeface="+mn-lt"/>
                <a:ea typeface="+mn-ea"/>
                <a:cs typeface="+mn-cs"/>
              </a:defRPr>
            </a:lvl8pPr>
            <a:lvl9pPr marL="2775948" indent="-163292" algn="l" defTabSz="653164" rtl="0" eaLnBrk="1" latinLnBrk="0" hangingPunct="1">
              <a:spcBef>
                <a:spcPct val="20000"/>
              </a:spcBef>
              <a:buFont typeface="Arial" panose="020B0604020202020204" pitchFamily="34" charset="0"/>
              <a:buChar char="•"/>
              <a:defRPr sz="1429" kern="1200">
                <a:solidFill>
                  <a:schemeClr val="tx1"/>
                </a:solidFill>
                <a:latin typeface="+mn-lt"/>
                <a:ea typeface="+mn-ea"/>
                <a:cs typeface="+mn-cs"/>
              </a:defRPr>
            </a:lvl9pPr>
          </a:lstStyle>
          <a:p>
            <a:pPr marL="0" indent="0">
              <a:buNone/>
            </a:pPr>
            <a:r>
              <a:rPr lang="bg-BG" dirty="0"/>
              <a:t> </a:t>
            </a:r>
            <a:endParaRPr lang="en-BG" dirty="0"/>
          </a:p>
        </p:txBody>
      </p:sp>
    </p:spTree>
    <p:extLst>
      <p:ext uri="{BB962C8B-B14F-4D97-AF65-F5344CB8AC3E}">
        <p14:creationId xmlns:p14="http://schemas.microsoft.com/office/powerpoint/2010/main" val="87551597"/>
      </p:ext>
    </p:extLst>
  </p:cSld>
  <p:clrMap bg1="lt1" tx1="dk1" bg2="lt2" tx2="dk2" accent1="accent1" accent2="accent2" accent3="accent3" accent4="accent4" accent5="accent5" accent6="accent6" hlink="hlink" folHlink="folHlink"/>
  <p:sldLayoutIdLst>
    <p:sldLayoutId id="2147483836" r:id="rId1"/>
    <p:sldLayoutId id="2147483877" r:id="rId2"/>
    <p:sldLayoutId id="2147483887" r:id="rId3"/>
    <p:sldLayoutId id="2147483817" r:id="rId4"/>
    <p:sldLayoutId id="2147483818" r:id="rId5"/>
    <p:sldLayoutId id="2147483819" r:id="rId6"/>
    <p:sldLayoutId id="2147483747"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763" r:id="rId18"/>
    <p:sldLayoutId id="2147483771" r:id="rId19"/>
    <p:sldLayoutId id="2147483861" r:id="rId20"/>
    <p:sldLayoutId id="2147483859" r:id="rId21"/>
    <p:sldLayoutId id="2147483772" r:id="rId22"/>
    <p:sldLayoutId id="2147483862" r:id="rId23"/>
    <p:sldLayoutId id="2147483858" r:id="rId24"/>
    <p:sldLayoutId id="2147483835" r:id="rId25"/>
    <p:sldLayoutId id="2147483881" r:id="rId26"/>
    <p:sldLayoutId id="2147483882" r:id="rId27"/>
    <p:sldLayoutId id="2147483883" r:id="rId28"/>
    <p:sldLayoutId id="2147483884" r:id="rId29"/>
    <p:sldLayoutId id="2147483888" r:id="rId30"/>
    <p:sldLayoutId id="2147483890" r:id="rId31"/>
    <p:sldLayoutId id="2147483891" r:id="rId32"/>
    <p:sldLayoutId id="2147483889" r:id="rId33"/>
  </p:sldLayoutIdLst>
  <p:hf hdr="0" dt="0"/>
  <p:txStyles>
    <p:titleStyle>
      <a:lvl1pPr algn="l" defTabSz="653164" rtl="0" eaLnBrk="1" latinLnBrk="0" hangingPunct="1">
        <a:spcBef>
          <a:spcPct val="0"/>
        </a:spcBef>
        <a:buNone/>
        <a:defRPr lang="de-CH" sz="2200" b="1" i="0" kern="1200" noProof="0" dirty="0">
          <a:solidFill>
            <a:schemeClr val="tx1"/>
          </a:solidFill>
          <a:latin typeface="Arial" panose="020B0604020202020204" pitchFamily="34" charset="0"/>
          <a:ea typeface="+mj-ea"/>
          <a:cs typeface="Arial" panose="020B0604020202020204" pitchFamily="34" charset="0"/>
        </a:defRPr>
      </a:lvl1pPr>
    </p:titleStyle>
    <p:bodyStyle>
      <a:lvl1pPr marL="179388" indent="-179388" algn="l" defTabSz="653164" rtl="0" eaLnBrk="1" latinLnBrk="0" hangingPunct="1">
        <a:lnSpc>
          <a:spcPct val="150000"/>
        </a:lnSpc>
        <a:spcBef>
          <a:spcPts val="600"/>
        </a:spcBef>
        <a:buClr>
          <a:schemeClr val="accent2"/>
        </a:buClr>
        <a:buSzPct val="120000"/>
        <a:buFont typeface="Wingdings" panose="05000000000000000000" pitchFamily="2" charset="2"/>
        <a:buChar char="§"/>
        <a:defRPr lang="de-CH" sz="1400" kern="1200" noProof="0" dirty="0">
          <a:solidFill>
            <a:schemeClr val="tx1"/>
          </a:solidFill>
          <a:latin typeface="+mn-lt"/>
          <a:ea typeface="+mn-ea"/>
          <a:cs typeface="+mn-cs"/>
        </a:defRPr>
      </a:lvl1pPr>
      <a:lvl2pPr marL="349250" indent="-169863" algn="l" defTabSz="653164" rtl="0" eaLnBrk="1" latinLnBrk="0" hangingPunct="1">
        <a:lnSpc>
          <a:spcPct val="150000"/>
        </a:lnSpc>
        <a:spcBef>
          <a:spcPts val="600"/>
        </a:spcBef>
        <a:buClr>
          <a:schemeClr val="accent2"/>
        </a:buClr>
        <a:buSzPct val="110000"/>
        <a:buFont typeface="Symbol" panose="05050102010706020507" pitchFamily="18" charset="2"/>
        <a:buChar char="-"/>
        <a:defRPr sz="1400" kern="1200">
          <a:solidFill>
            <a:schemeClr val="tx1"/>
          </a:solidFill>
          <a:latin typeface="+mn-lt"/>
          <a:ea typeface="+mn-ea"/>
          <a:cs typeface="+mn-cs"/>
        </a:defRPr>
      </a:lvl2pPr>
      <a:lvl3pPr marL="573088" indent="-204788" algn="l" defTabSz="653164" rtl="0" eaLnBrk="1" latinLnBrk="0" hangingPunct="1">
        <a:lnSpc>
          <a:spcPct val="150000"/>
        </a:lnSpc>
        <a:spcBef>
          <a:spcPts val="600"/>
        </a:spcBef>
        <a:buClr>
          <a:schemeClr val="accent2"/>
        </a:buClr>
        <a:buSzPct val="110000"/>
        <a:buFont typeface="Symbol" panose="05050102010706020507" pitchFamily="18" charset="2"/>
        <a:buChar char="-"/>
        <a:defRPr sz="1400" kern="1200">
          <a:solidFill>
            <a:schemeClr val="tx1"/>
          </a:solidFill>
          <a:latin typeface="+mn-lt"/>
          <a:ea typeface="+mn-ea"/>
          <a:cs typeface="+mn-cs"/>
        </a:defRPr>
      </a:lvl3pPr>
      <a:lvl4pPr marL="798513" indent="-233363" algn="l" defTabSz="653164" rtl="0" eaLnBrk="1" latinLnBrk="0" hangingPunct="1">
        <a:lnSpc>
          <a:spcPct val="150000"/>
        </a:lnSpc>
        <a:spcBef>
          <a:spcPts val="600"/>
        </a:spcBef>
        <a:buClr>
          <a:schemeClr val="accent2"/>
        </a:buClr>
        <a:buSzPct val="110000"/>
        <a:buFont typeface="Symbol" panose="05050102010706020507" pitchFamily="18" charset="2"/>
        <a:buChar char="-"/>
        <a:tabLst/>
        <a:defRPr sz="1400" kern="1200">
          <a:solidFill>
            <a:schemeClr val="tx1"/>
          </a:solidFill>
          <a:latin typeface="+mn-lt"/>
          <a:ea typeface="+mn-ea"/>
          <a:cs typeface="+mn-cs"/>
        </a:defRPr>
      </a:lvl4pPr>
      <a:lvl5pPr marL="1066800" indent="-233363" algn="l" defTabSz="653164" rtl="0" eaLnBrk="1" latinLnBrk="0" hangingPunct="1">
        <a:lnSpc>
          <a:spcPct val="150000"/>
        </a:lnSpc>
        <a:spcBef>
          <a:spcPts val="600"/>
        </a:spcBef>
        <a:buClr>
          <a:schemeClr val="accent2"/>
        </a:buClr>
        <a:buSzPct val="110000"/>
        <a:buFont typeface="Symbol" panose="05050102010706020507" pitchFamily="18" charset="2"/>
        <a:buChar char="-"/>
        <a:defRPr sz="1400" kern="1200">
          <a:solidFill>
            <a:schemeClr val="tx1"/>
          </a:solidFill>
          <a:latin typeface="+mn-lt"/>
          <a:ea typeface="+mn-ea"/>
          <a:cs typeface="+mn-cs"/>
        </a:defRPr>
      </a:lvl5pPr>
      <a:lvl6pPr marL="1796202" indent="-163292" algn="l" defTabSz="653164" rtl="0" eaLnBrk="1" latinLnBrk="0" hangingPunct="1">
        <a:spcBef>
          <a:spcPct val="20000"/>
        </a:spcBef>
        <a:buFont typeface="Arial" panose="020B0604020202020204" pitchFamily="34" charset="0"/>
        <a:buChar char="•"/>
        <a:defRPr sz="1429" kern="1200">
          <a:solidFill>
            <a:schemeClr val="tx1"/>
          </a:solidFill>
          <a:latin typeface="+mn-lt"/>
          <a:ea typeface="+mn-ea"/>
          <a:cs typeface="+mn-cs"/>
        </a:defRPr>
      </a:lvl6pPr>
      <a:lvl7pPr marL="2122784" indent="-163292" algn="l" defTabSz="653164" rtl="0" eaLnBrk="1" latinLnBrk="0" hangingPunct="1">
        <a:spcBef>
          <a:spcPct val="20000"/>
        </a:spcBef>
        <a:buFont typeface="Arial" panose="020B0604020202020204" pitchFamily="34" charset="0"/>
        <a:buChar char="•"/>
        <a:defRPr sz="1429" kern="1200">
          <a:solidFill>
            <a:schemeClr val="tx1"/>
          </a:solidFill>
          <a:latin typeface="+mn-lt"/>
          <a:ea typeface="+mn-ea"/>
          <a:cs typeface="+mn-cs"/>
        </a:defRPr>
      </a:lvl7pPr>
      <a:lvl8pPr marL="2449366" indent="-163292" algn="l" defTabSz="653164" rtl="0" eaLnBrk="1" latinLnBrk="0" hangingPunct="1">
        <a:spcBef>
          <a:spcPct val="20000"/>
        </a:spcBef>
        <a:buFont typeface="Arial" panose="020B0604020202020204" pitchFamily="34" charset="0"/>
        <a:buChar char="•"/>
        <a:defRPr sz="1429" kern="1200">
          <a:solidFill>
            <a:schemeClr val="tx1"/>
          </a:solidFill>
          <a:latin typeface="+mn-lt"/>
          <a:ea typeface="+mn-ea"/>
          <a:cs typeface="+mn-cs"/>
        </a:defRPr>
      </a:lvl8pPr>
      <a:lvl9pPr marL="2775948" indent="-163292" algn="l" defTabSz="653164" rtl="0" eaLnBrk="1" latinLnBrk="0" hangingPunct="1">
        <a:spcBef>
          <a:spcPct val="20000"/>
        </a:spcBef>
        <a:buFont typeface="Arial" panose="020B0604020202020204" pitchFamily="34" charset="0"/>
        <a:buChar char="•"/>
        <a:defRPr sz="1429" kern="1200">
          <a:solidFill>
            <a:schemeClr val="tx1"/>
          </a:solidFill>
          <a:latin typeface="+mn-lt"/>
          <a:ea typeface="+mn-ea"/>
          <a:cs typeface="+mn-cs"/>
        </a:defRPr>
      </a:lvl9pPr>
    </p:bodyStyle>
    <p:otherStyle>
      <a:defPPr>
        <a:defRPr lang="en-US"/>
      </a:defPPr>
      <a:lvl1pPr marL="0" algn="l" defTabSz="653164" rtl="0" eaLnBrk="1" latinLnBrk="0" hangingPunct="1">
        <a:defRPr sz="1286" kern="1200">
          <a:solidFill>
            <a:schemeClr val="tx1"/>
          </a:solidFill>
          <a:latin typeface="+mn-lt"/>
          <a:ea typeface="+mn-ea"/>
          <a:cs typeface="+mn-cs"/>
        </a:defRPr>
      </a:lvl1pPr>
      <a:lvl2pPr marL="326582" algn="l" defTabSz="653164" rtl="0" eaLnBrk="1" latinLnBrk="0" hangingPunct="1">
        <a:defRPr sz="1286" kern="1200">
          <a:solidFill>
            <a:schemeClr val="tx1"/>
          </a:solidFill>
          <a:latin typeface="+mn-lt"/>
          <a:ea typeface="+mn-ea"/>
          <a:cs typeface="+mn-cs"/>
        </a:defRPr>
      </a:lvl2pPr>
      <a:lvl3pPr marL="653164" algn="l" defTabSz="653164" rtl="0" eaLnBrk="1" latinLnBrk="0" hangingPunct="1">
        <a:defRPr sz="1286" kern="1200">
          <a:solidFill>
            <a:schemeClr val="tx1"/>
          </a:solidFill>
          <a:latin typeface="+mn-lt"/>
          <a:ea typeface="+mn-ea"/>
          <a:cs typeface="+mn-cs"/>
        </a:defRPr>
      </a:lvl3pPr>
      <a:lvl4pPr marL="979746" algn="l" defTabSz="653164" rtl="0" eaLnBrk="1" latinLnBrk="0" hangingPunct="1">
        <a:defRPr sz="1286" kern="1200">
          <a:solidFill>
            <a:schemeClr val="tx1"/>
          </a:solidFill>
          <a:latin typeface="+mn-lt"/>
          <a:ea typeface="+mn-ea"/>
          <a:cs typeface="+mn-cs"/>
        </a:defRPr>
      </a:lvl4pPr>
      <a:lvl5pPr marL="1306328" algn="l" defTabSz="653164" rtl="0" eaLnBrk="1" latinLnBrk="0" hangingPunct="1">
        <a:defRPr sz="1286" kern="1200">
          <a:solidFill>
            <a:schemeClr val="tx1"/>
          </a:solidFill>
          <a:latin typeface="+mn-lt"/>
          <a:ea typeface="+mn-ea"/>
          <a:cs typeface="+mn-cs"/>
        </a:defRPr>
      </a:lvl5pPr>
      <a:lvl6pPr marL="1632911" algn="l" defTabSz="653164" rtl="0" eaLnBrk="1" latinLnBrk="0" hangingPunct="1">
        <a:defRPr sz="1286" kern="1200">
          <a:solidFill>
            <a:schemeClr val="tx1"/>
          </a:solidFill>
          <a:latin typeface="+mn-lt"/>
          <a:ea typeface="+mn-ea"/>
          <a:cs typeface="+mn-cs"/>
        </a:defRPr>
      </a:lvl6pPr>
      <a:lvl7pPr marL="1959492" algn="l" defTabSz="653164" rtl="0" eaLnBrk="1" latinLnBrk="0" hangingPunct="1">
        <a:defRPr sz="1286" kern="1200">
          <a:solidFill>
            <a:schemeClr val="tx1"/>
          </a:solidFill>
          <a:latin typeface="+mn-lt"/>
          <a:ea typeface="+mn-ea"/>
          <a:cs typeface="+mn-cs"/>
        </a:defRPr>
      </a:lvl7pPr>
      <a:lvl8pPr marL="2286074" algn="l" defTabSz="653164" rtl="0" eaLnBrk="1" latinLnBrk="0" hangingPunct="1">
        <a:defRPr sz="1286" kern="1200">
          <a:solidFill>
            <a:schemeClr val="tx1"/>
          </a:solidFill>
          <a:latin typeface="+mn-lt"/>
          <a:ea typeface="+mn-ea"/>
          <a:cs typeface="+mn-cs"/>
        </a:defRPr>
      </a:lvl8pPr>
      <a:lvl9pPr marL="2612657" algn="l" defTabSz="653164" rtl="0" eaLnBrk="1" latinLnBrk="0" hangingPunct="1">
        <a:defRPr sz="128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58">
          <p15:clr>
            <a:srgbClr val="F26B43"/>
          </p15:clr>
        </p15:guide>
        <p15:guide id="2" pos="192">
          <p15:clr>
            <a:srgbClr val="F26B43"/>
          </p15:clr>
        </p15:guide>
        <p15:guide id="3" pos="7488">
          <p15:clr>
            <a:srgbClr val="F26B43"/>
          </p15:clr>
        </p15:guide>
        <p15:guide id="5" orient="horz" pos="4168" userDrawn="1">
          <p15:clr>
            <a:srgbClr val="F26B43"/>
          </p15:clr>
        </p15:guide>
        <p15:guide id="6" orient="horz" pos="754" userDrawn="1">
          <p15:clr>
            <a:srgbClr val="F26B43"/>
          </p15:clr>
        </p15:guide>
        <p15:guide id="7" orient="horz" pos="565" userDrawn="1">
          <p15:clr>
            <a:srgbClr val="F26B43"/>
          </p15:clr>
        </p15:guide>
        <p15:guide id="8" orient="horz" pos="93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8.xml"/><Relationship Id="rId1" Type="http://schemas.openxmlformats.org/officeDocument/2006/relationships/tags" Target="../tags/tag4.xml"/><Relationship Id="rId5" Type="http://schemas.openxmlformats.org/officeDocument/2006/relationships/image" Target="../media/image8.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0.xml"/><Relationship Id="rId1" Type="http://schemas.openxmlformats.org/officeDocument/2006/relationships/tags" Target="../tags/tag12.xml"/><Relationship Id="rId5" Type="http://schemas.openxmlformats.org/officeDocument/2006/relationships/image" Target="../media/image9.jpe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chart" Target="../charts/chart20.xml"/><Relationship Id="rId3" Type="http://schemas.openxmlformats.org/officeDocument/2006/relationships/oleObject" Target="../embeddings/oleObject12.bin"/><Relationship Id="rId7" Type="http://schemas.openxmlformats.org/officeDocument/2006/relationships/chart" Target="../charts/chart19.xml"/><Relationship Id="rId2" Type="http://schemas.openxmlformats.org/officeDocument/2006/relationships/slideLayout" Target="../slideLayouts/slideLayout54.xml"/><Relationship Id="rId1" Type="http://schemas.openxmlformats.org/officeDocument/2006/relationships/tags" Target="../tags/tag13.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oleObject" Target="../embeddings/oleObject13.bin"/><Relationship Id="rId7" Type="http://schemas.openxmlformats.org/officeDocument/2006/relationships/chart" Target="../charts/chart23.xml"/><Relationship Id="rId2" Type="http://schemas.openxmlformats.org/officeDocument/2006/relationships/slideLayout" Target="../slideLayouts/slideLayout54.xml"/><Relationship Id="rId1" Type="http://schemas.openxmlformats.org/officeDocument/2006/relationships/tags" Target="../tags/tag14.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oleObject" Target="../embeddings/oleObject14.bin"/><Relationship Id="rId7" Type="http://schemas.openxmlformats.org/officeDocument/2006/relationships/chart" Target="../charts/chart27.xml"/><Relationship Id="rId2" Type="http://schemas.openxmlformats.org/officeDocument/2006/relationships/slideLayout" Target="../slideLayouts/slideLayout54.xml"/><Relationship Id="rId1" Type="http://schemas.openxmlformats.org/officeDocument/2006/relationships/tags" Target="../tags/tag15.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oleObject" Target="../embeddings/oleObject15.bin"/><Relationship Id="rId7" Type="http://schemas.openxmlformats.org/officeDocument/2006/relationships/chart" Target="../charts/chart31.xml"/><Relationship Id="rId2" Type="http://schemas.openxmlformats.org/officeDocument/2006/relationships/slideLayout" Target="../slideLayouts/slideLayout54.xml"/><Relationship Id="rId1" Type="http://schemas.openxmlformats.org/officeDocument/2006/relationships/tags" Target="../tags/tag16.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0.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18" Type="http://schemas.openxmlformats.org/officeDocument/2006/relationships/image" Target="../media/image26.png"/><Relationship Id="rId3" Type="http://schemas.openxmlformats.org/officeDocument/2006/relationships/image" Target="../media/image11.emf"/><Relationship Id="rId21" Type="http://schemas.openxmlformats.org/officeDocument/2006/relationships/image" Target="../media/image29.svg"/><Relationship Id="rId7" Type="http://schemas.openxmlformats.org/officeDocument/2006/relationships/image" Target="../media/image15.svg"/><Relationship Id="rId12" Type="http://schemas.openxmlformats.org/officeDocument/2006/relationships/image" Target="../media/image20.png"/><Relationship Id="rId17" Type="http://schemas.openxmlformats.org/officeDocument/2006/relationships/image" Target="../media/image25.svg"/><Relationship Id="rId2" Type="http://schemas.openxmlformats.org/officeDocument/2006/relationships/package" Target="../embeddings/Microsoft_Excel_Worksheet32.xlsx"/><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slideLayout" Target="../slideLayouts/slideLayout46.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3.svg"/><Relationship Id="rId15" Type="http://schemas.openxmlformats.org/officeDocument/2006/relationships/image" Target="../media/image23.svg"/><Relationship Id="rId23" Type="http://schemas.openxmlformats.org/officeDocument/2006/relationships/image" Target="../media/image31.svg"/><Relationship Id="rId10" Type="http://schemas.openxmlformats.org/officeDocument/2006/relationships/image" Target="../media/image18.png"/><Relationship Id="rId19" Type="http://schemas.openxmlformats.org/officeDocument/2006/relationships/image" Target="../media/image27.svg"/><Relationship Id="rId4" Type="http://schemas.openxmlformats.org/officeDocument/2006/relationships/image" Target="../media/image12.png"/><Relationship Id="rId9" Type="http://schemas.openxmlformats.org/officeDocument/2006/relationships/image" Target="../media/image17.svg"/><Relationship Id="rId14" Type="http://schemas.openxmlformats.org/officeDocument/2006/relationships/image" Target="../media/image22.png"/><Relationship Id="rId22" Type="http://schemas.openxmlformats.org/officeDocument/2006/relationships/image" Target="../media/image30.png"/></Relationships>
</file>

<file path=ppt/slides/_rels/slide17.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tags" Target="../tags/tag5.xml"/><Relationship Id="rId5" Type="http://schemas.openxmlformats.org/officeDocument/2006/relationships/image" Target="../media/image9.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0.xml"/><Relationship Id="rId1" Type="http://schemas.openxmlformats.org/officeDocument/2006/relationships/tags" Target="../tags/tag6.xml"/><Relationship Id="rId5" Type="http://schemas.openxmlformats.org/officeDocument/2006/relationships/image" Target="../media/image9.jpe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52.xml"/><Relationship Id="rId1" Type="http://schemas.openxmlformats.org/officeDocument/2006/relationships/tags" Target="../tags/tag7.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oleObject" Target="../embeddings/oleObject7.bin"/><Relationship Id="rId7" Type="http://schemas.openxmlformats.org/officeDocument/2006/relationships/chart" Target="../charts/chart5.xml"/><Relationship Id="rId2" Type="http://schemas.openxmlformats.org/officeDocument/2006/relationships/slideLayout" Target="../slideLayouts/slideLayout54.xml"/><Relationship Id="rId1" Type="http://schemas.openxmlformats.org/officeDocument/2006/relationships/tags" Target="../tags/tag8.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oleObject" Target="../embeddings/oleObject8.bin"/><Relationship Id="rId7" Type="http://schemas.openxmlformats.org/officeDocument/2006/relationships/chart" Target="../charts/chart9.xml"/><Relationship Id="rId2" Type="http://schemas.openxmlformats.org/officeDocument/2006/relationships/slideLayout" Target="../slideLayouts/slideLayout54.xml"/><Relationship Id="rId1" Type="http://schemas.openxmlformats.org/officeDocument/2006/relationships/tags" Target="../tags/tag9.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2.xml"/><Relationship Id="rId1" Type="http://schemas.openxmlformats.org/officeDocument/2006/relationships/tags" Target="../tags/tag10.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oleObject" Target="../embeddings/oleObject10.bin"/><Relationship Id="rId7" Type="http://schemas.openxmlformats.org/officeDocument/2006/relationships/chart" Target="../charts/chart15.xml"/><Relationship Id="rId2" Type="http://schemas.openxmlformats.org/officeDocument/2006/relationships/slideLayout" Target="../slideLayouts/slideLayout54.xml"/><Relationship Id="rId1" Type="http://schemas.openxmlformats.org/officeDocument/2006/relationships/tags" Target="../tags/tag11.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987775-02A0-A86C-B8B9-575DD55B1E27}"/>
              </a:ext>
            </a:extLst>
          </p:cNvPr>
          <p:cNvGraphicFramePr>
            <a:graphicFrameLocks noChangeAspect="1"/>
          </p:cNvGraphicFramePr>
          <p:nvPr>
            <p:custDataLst>
              <p:tags r:id="rId1"/>
            </p:custDataLst>
            <p:extLst>
              <p:ext uri="{D42A27DB-BD31-4B8C-83A1-F6EECF244321}">
                <p14:modId xmlns:p14="http://schemas.microsoft.com/office/powerpoint/2010/main" val="363847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a:extLst>
                          <a:ext uri="{FF2B5EF4-FFF2-40B4-BE49-F238E27FC236}">
                            <a16:creationId xmlns:a16="http://schemas.microsoft.com/office/drawing/2014/main" id="{CC987775-02A0-A86C-B8B9-575DD55B1E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7">
            <a:extLst>
              <a:ext uri="{FF2B5EF4-FFF2-40B4-BE49-F238E27FC236}">
                <a16:creationId xmlns:a16="http://schemas.microsoft.com/office/drawing/2014/main" id="{0EBCDB79-B9CD-6949-8345-34B192AC5BEC}"/>
              </a:ext>
            </a:extLst>
          </p:cNvPr>
          <p:cNvSpPr>
            <a:spLocks noGrp="1"/>
          </p:cNvSpPr>
          <p:nvPr>
            <p:ph type="title"/>
          </p:nvPr>
        </p:nvSpPr>
        <p:spPr/>
        <p:txBody>
          <a:bodyPr vert="horz"/>
          <a:lstStyle/>
          <a:p>
            <a:r>
              <a:rPr lang="de-DE" dirty="0"/>
              <a:t>CBD Nutzungs-Studie 2023</a:t>
            </a:r>
          </a:p>
        </p:txBody>
      </p:sp>
      <p:sp>
        <p:nvSpPr>
          <p:cNvPr id="10" name="Textplatzhalter 9">
            <a:extLst>
              <a:ext uri="{FF2B5EF4-FFF2-40B4-BE49-F238E27FC236}">
                <a16:creationId xmlns:a16="http://schemas.microsoft.com/office/drawing/2014/main" id="{876B3156-076A-7161-66B7-FA8E5C463F21}"/>
              </a:ext>
            </a:extLst>
          </p:cNvPr>
          <p:cNvSpPr>
            <a:spLocks noGrp="1"/>
          </p:cNvSpPr>
          <p:nvPr>
            <p:ph type="body" sz="quarter" idx="22"/>
          </p:nvPr>
        </p:nvSpPr>
        <p:spPr/>
        <p:txBody>
          <a:bodyPr/>
          <a:lstStyle/>
          <a:p>
            <a:r>
              <a:rPr lang="de-DE" dirty="0"/>
              <a:t>Zürich, 13. Juli 2023</a:t>
            </a:r>
          </a:p>
        </p:txBody>
      </p:sp>
      <p:sp>
        <p:nvSpPr>
          <p:cNvPr id="9" name="Textplatzhalter 8">
            <a:extLst>
              <a:ext uri="{FF2B5EF4-FFF2-40B4-BE49-F238E27FC236}">
                <a16:creationId xmlns:a16="http://schemas.microsoft.com/office/drawing/2014/main" id="{2CCE26BC-CAF9-0165-3038-0C945884A45E}"/>
              </a:ext>
            </a:extLst>
          </p:cNvPr>
          <p:cNvSpPr>
            <a:spLocks noGrp="1"/>
          </p:cNvSpPr>
          <p:nvPr>
            <p:ph type="body" sz="quarter" idx="17"/>
          </p:nvPr>
        </p:nvSpPr>
        <p:spPr/>
        <p:txBody>
          <a:bodyPr/>
          <a:lstStyle/>
          <a:p>
            <a:r>
              <a:rPr lang="de-DE" dirty="0"/>
              <a:t>Report erstellt durch LINK</a:t>
            </a:r>
          </a:p>
        </p:txBody>
      </p:sp>
      <p:sp>
        <p:nvSpPr>
          <p:cNvPr id="12" name="Textplatzhalter 11">
            <a:extLst>
              <a:ext uri="{FF2B5EF4-FFF2-40B4-BE49-F238E27FC236}">
                <a16:creationId xmlns:a16="http://schemas.microsoft.com/office/drawing/2014/main" id="{24BFBFD9-CB2C-F20A-25F9-944D385EE91D}"/>
              </a:ext>
            </a:extLst>
          </p:cNvPr>
          <p:cNvSpPr>
            <a:spLocks noGrp="1"/>
          </p:cNvSpPr>
          <p:nvPr>
            <p:ph type="body" sz="quarter" idx="24"/>
          </p:nvPr>
        </p:nvSpPr>
        <p:spPr/>
        <p:txBody>
          <a:bodyPr/>
          <a:lstStyle/>
          <a:p>
            <a:endParaRPr lang="de-DE"/>
          </a:p>
        </p:txBody>
      </p:sp>
      <p:pic>
        <p:nvPicPr>
          <p:cNvPr id="13" name="Picture Placeholder 12" descr="A picture containing toy, indoor, plant, LEGO&#10;&#10;Description automatically generated">
            <a:extLst>
              <a:ext uri="{FF2B5EF4-FFF2-40B4-BE49-F238E27FC236}">
                <a16:creationId xmlns:a16="http://schemas.microsoft.com/office/drawing/2014/main" id="{9C154E1F-8BD1-BE20-869D-E8D5842331A4}"/>
              </a:ext>
            </a:extLst>
          </p:cNvPr>
          <p:cNvPicPr>
            <a:picLocks noGrp="1" noChangeAspect="1"/>
          </p:cNvPicPr>
          <p:nvPr>
            <p:ph type="pic" sz="quarter" idx="12"/>
          </p:nvPr>
        </p:nvPicPr>
        <p:blipFill rotWithShape="1">
          <a:blip r:embed="rId5" cstate="print">
            <a:extLst>
              <a:ext uri="{28A0092B-C50C-407E-A947-70E740481C1C}">
                <a14:useLocalDpi xmlns:a14="http://schemas.microsoft.com/office/drawing/2010/main" val="0"/>
              </a:ext>
            </a:extLst>
          </a:blip>
          <a:srcRect t="28876" b="18019"/>
          <a:stretch/>
        </p:blipFill>
        <p:spPr>
          <a:xfrm>
            <a:off x="0" y="-817"/>
            <a:ext cx="12192000" cy="4320000"/>
          </a:xfrm>
        </p:spPr>
      </p:pic>
    </p:spTree>
    <p:extLst>
      <p:ext uri="{BB962C8B-B14F-4D97-AF65-F5344CB8AC3E}">
        <p14:creationId xmlns:p14="http://schemas.microsoft.com/office/powerpoint/2010/main" val="13130179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3A3389-F30C-D3E0-0E99-61C0DA77729E}"/>
              </a:ext>
            </a:extLst>
          </p:cNvPr>
          <p:cNvGraphicFramePr>
            <a:graphicFrameLocks noChangeAspect="1"/>
          </p:cNvGraphicFramePr>
          <p:nvPr>
            <p:custDataLst>
              <p:tags r:id="rId1"/>
            </p:custDataLst>
            <p:extLst>
              <p:ext uri="{D42A27DB-BD31-4B8C-83A1-F6EECF244321}">
                <p14:modId xmlns:p14="http://schemas.microsoft.com/office/powerpoint/2010/main" val="261876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12" name="Object 11" hidden="1">
                        <a:extLst>
                          <a:ext uri="{FF2B5EF4-FFF2-40B4-BE49-F238E27FC236}">
                            <a16:creationId xmlns:a16="http://schemas.microsoft.com/office/drawing/2014/main" id="{5C3A3389-F30C-D3E0-0E99-61C0DA7772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BE7892E-8464-4AF5-BAA4-3DF368ABB83C}"/>
              </a:ext>
            </a:extLst>
          </p:cNvPr>
          <p:cNvSpPr>
            <a:spLocks noGrp="1"/>
          </p:cNvSpPr>
          <p:nvPr>
            <p:ph type="body" sz="quarter" idx="14"/>
          </p:nvPr>
        </p:nvSpPr>
        <p:spPr/>
        <p:txBody>
          <a:bodyPr/>
          <a:lstStyle/>
          <a:p>
            <a:r>
              <a:rPr lang="de-CH" dirty="0"/>
              <a:t>3</a:t>
            </a:r>
          </a:p>
        </p:txBody>
      </p:sp>
      <p:sp>
        <p:nvSpPr>
          <p:cNvPr id="5" name="Title 4">
            <a:extLst>
              <a:ext uri="{FF2B5EF4-FFF2-40B4-BE49-F238E27FC236}">
                <a16:creationId xmlns:a16="http://schemas.microsoft.com/office/drawing/2014/main" id="{4EF865F6-91D8-2744-9F66-579D7BA99771}"/>
              </a:ext>
            </a:extLst>
          </p:cNvPr>
          <p:cNvSpPr>
            <a:spLocks noGrp="1"/>
          </p:cNvSpPr>
          <p:nvPr>
            <p:ph type="title"/>
          </p:nvPr>
        </p:nvSpPr>
        <p:spPr/>
        <p:txBody>
          <a:bodyPr vert="horz"/>
          <a:lstStyle/>
          <a:p>
            <a:r>
              <a:rPr lang="de-CH" noProof="0" dirty="0"/>
              <a:t>Vertiefung Nutzung</a:t>
            </a:r>
          </a:p>
        </p:txBody>
      </p:sp>
      <p:sp>
        <p:nvSpPr>
          <p:cNvPr id="9" name="Textplatzhalter 8">
            <a:extLst>
              <a:ext uri="{FF2B5EF4-FFF2-40B4-BE49-F238E27FC236}">
                <a16:creationId xmlns:a16="http://schemas.microsoft.com/office/drawing/2014/main" id="{DB23B5F9-7395-21DA-4F30-C73021CCBCF5}"/>
              </a:ext>
            </a:extLst>
          </p:cNvPr>
          <p:cNvSpPr>
            <a:spLocks noGrp="1"/>
          </p:cNvSpPr>
          <p:nvPr>
            <p:ph type="body" sz="quarter" idx="24"/>
          </p:nvPr>
        </p:nvSpPr>
        <p:spPr/>
        <p:txBody>
          <a:bodyPr/>
          <a:lstStyle/>
          <a:p>
            <a:endParaRPr lang="de-DE"/>
          </a:p>
        </p:txBody>
      </p:sp>
      <p:pic>
        <p:nvPicPr>
          <p:cNvPr id="11" name="Picture Placeholder 10">
            <a:extLst>
              <a:ext uri="{FF2B5EF4-FFF2-40B4-BE49-F238E27FC236}">
                <a16:creationId xmlns:a16="http://schemas.microsoft.com/office/drawing/2014/main" id="{62ABFC61-451F-78BC-BADF-F9383F8B706C}"/>
              </a:ext>
            </a:extLst>
          </p:cNvPr>
          <p:cNvPicPr>
            <a:picLocks noGrp="1" noChangeAspect="1"/>
          </p:cNvPicPr>
          <p:nvPr>
            <p:ph type="pic" sz="quarter" idx="15"/>
          </p:nvPr>
        </p:nvPicPr>
        <p:blipFill>
          <a:blip r:embed="rId5" cstate="print">
            <a:extLst>
              <a:ext uri="{28A0092B-C50C-407E-A947-70E740481C1C}">
                <a14:useLocalDpi xmlns:a14="http://schemas.microsoft.com/office/drawing/2010/main" val="0"/>
              </a:ext>
            </a:extLst>
          </a:blip>
          <a:srcRect t="25737" b="25737"/>
          <a:stretch>
            <a:fillRect/>
          </a:stretch>
        </p:blipFill>
        <p:spPr/>
      </p:pic>
    </p:spTree>
    <p:extLst>
      <p:ext uri="{BB962C8B-B14F-4D97-AF65-F5344CB8AC3E}">
        <p14:creationId xmlns:p14="http://schemas.microsoft.com/office/powerpoint/2010/main" val="20153838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D31909-F4A1-1142-4CAA-0618715E9F56}"/>
              </a:ext>
            </a:extLst>
          </p:cNvPr>
          <p:cNvGraphicFramePr>
            <a:graphicFrameLocks noChangeAspect="1"/>
          </p:cNvGraphicFramePr>
          <p:nvPr>
            <p:custDataLst>
              <p:tags r:id="rId1"/>
            </p:custDataLst>
            <p:extLst>
              <p:ext uri="{D42A27DB-BD31-4B8C-83A1-F6EECF244321}">
                <p14:modId xmlns:p14="http://schemas.microsoft.com/office/powerpoint/2010/main" val="2276936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a:extLst>
                          <a:ext uri="{FF2B5EF4-FFF2-40B4-BE49-F238E27FC236}">
                            <a16:creationId xmlns:a16="http://schemas.microsoft.com/office/drawing/2014/main" id="{63D31909-F4A1-1142-4CAA-0618715E9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2" name="Inhaltsplatzhalter 7">
            <a:extLst>
              <a:ext uri="{FF2B5EF4-FFF2-40B4-BE49-F238E27FC236}">
                <a16:creationId xmlns:a16="http://schemas.microsoft.com/office/drawing/2014/main" id="{A3C7FC8F-A93B-4232-9C69-CD1C4BE5E8DA}"/>
              </a:ext>
            </a:extLst>
          </p:cNvPr>
          <p:cNvGraphicFramePr>
            <a:graphicFrameLocks noGrp="1"/>
          </p:cNvGraphicFramePr>
          <p:nvPr>
            <p:ph sz="quarter" idx="22"/>
            <p:extLst>
              <p:ext uri="{D42A27DB-BD31-4B8C-83A1-F6EECF244321}">
                <p14:modId xmlns:p14="http://schemas.microsoft.com/office/powerpoint/2010/main" val="1812160719"/>
              </p:ext>
            </p:extLst>
          </p:nvPr>
        </p:nvGraphicFramePr>
        <p:xfrm>
          <a:off x="304798" y="1177871"/>
          <a:ext cx="4642329" cy="4860000"/>
        </p:xfrm>
        <a:graphic>
          <a:graphicData uri="http://schemas.openxmlformats.org/drawingml/2006/chart">
            <c:chart xmlns:c="http://schemas.openxmlformats.org/drawingml/2006/chart" xmlns:r="http://schemas.openxmlformats.org/officeDocument/2006/relationships" r:id="rId5"/>
          </a:graphicData>
        </a:graphic>
      </p:graphicFrame>
      <p:sp>
        <p:nvSpPr>
          <p:cNvPr id="5" name="Titel 4">
            <a:extLst>
              <a:ext uri="{FF2B5EF4-FFF2-40B4-BE49-F238E27FC236}">
                <a16:creationId xmlns:a16="http://schemas.microsoft.com/office/drawing/2014/main" id="{32DE6835-2BA5-4907-960B-26860B9E3DE3}"/>
              </a:ext>
            </a:extLst>
          </p:cNvPr>
          <p:cNvSpPr>
            <a:spLocks noGrp="1"/>
          </p:cNvSpPr>
          <p:nvPr>
            <p:ph type="title"/>
          </p:nvPr>
        </p:nvSpPr>
        <p:spPr/>
        <p:txBody>
          <a:bodyPr vert="horz"/>
          <a:lstStyle/>
          <a:p>
            <a:r>
              <a:rPr lang="de-CH" dirty="0" err="1"/>
              <a:t>Nutzungsgr</a:t>
            </a:r>
            <a:r>
              <a:rPr lang="de-DE" dirty="0" err="1"/>
              <a:t>ünde</a:t>
            </a:r>
            <a:r>
              <a:rPr lang="de-DE" dirty="0"/>
              <a:t> von Personen die CBD nutzen / genutzt haben</a:t>
            </a:r>
            <a:endParaRPr lang="de-CH" dirty="0"/>
          </a:p>
        </p:txBody>
      </p:sp>
      <p:sp>
        <p:nvSpPr>
          <p:cNvPr id="3" name="Fußzeilenplatzhalter 2">
            <a:extLst>
              <a:ext uri="{FF2B5EF4-FFF2-40B4-BE49-F238E27FC236}">
                <a16:creationId xmlns:a16="http://schemas.microsoft.com/office/drawing/2014/main" id="{EEAA9A00-01CA-433A-84C7-95D45FA98B7F}"/>
              </a:ext>
            </a:extLst>
          </p:cNvPr>
          <p:cNvSpPr>
            <a:spLocks noGrp="1"/>
          </p:cNvSpPr>
          <p:nvPr>
            <p:ph type="ftr" sz="quarter" idx="10"/>
          </p:nvPr>
        </p:nvSpPr>
        <p:spPr/>
        <p:txBody>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8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rPr>
              <a:t>© LINK | CBD Image Studie 2023 | 12485 | Juni 2023</a:t>
            </a:r>
          </a:p>
        </p:txBody>
      </p:sp>
      <p:sp>
        <p:nvSpPr>
          <p:cNvPr id="4" name="Foliennummernplatzhalter 3">
            <a:extLst>
              <a:ext uri="{FF2B5EF4-FFF2-40B4-BE49-F238E27FC236}">
                <a16:creationId xmlns:a16="http://schemas.microsoft.com/office/drawing/2014/main" id="{23749EA7-1EEE-426D-A122-5F4BF08D59E6}"/>
              </a:ext>
            </a:extLst>
          </p:cNvPr>
          <p:cNvSpPr>
            <a:spLocks noGrp="1"/>
          </p:cNvSpPr>
          <p:nvPr>
            <p:ph type="sldNum" sz="quarter" idx="11"/>
          </p:nvPr>
        </p:nvSpPr>
        <p:spPr/>
        <p:txBody>
          <a:bodyPr/>
          <a:lstStyle/>
          <a:p>
            <a:pPr marL="0" marR="0" lvl="0" indent="0" algn="r" defTabSz="768004" rtl="0" eaLnBrk="1" fontAlgn="auto" latinLnBrk="0" hangingPunct="1">
              <a:lnSpc>
                <a:spcPct val="100000"/>
              </a:lnSpc>
              <a:spcBef>
                <a:spcPts val="0"/>
              </a:spcBef>
              <a:spcAft>
                <a:spcPts val="0"/>
              </a:spcAft>
              <a:buClrTx/>
              <a:buSzTx/>
              <a:buFontTx/>
              <a:buNone/>
              <a:tabLst/>
              <a:defRPr/>
            </a:pPr>
            <a:fld id="{3E554A25-EF9F-433F-A2C4-DF94129C44D1}" type="slidenum">
              <a:rPr kumimoji="0" lang="de-CH" sz="900" b="0" i="0" u="none" strike="noStrike" kern="1200" cap="none" spc="0" normalizeH="0" baseline="0" noProof="0" smtClean="0">
                <a:ln>
                  <a:noFill/>
                </a:ln>
                <a:solidFill>
                  <a:srgbClr val="4D514E"/>
                </a:solidFill>
                <a:effectLst/>
                <a:uLnTx/>
                <a:uFillTx/>
                <a:latin typeface="Arial" panose="020B0604020202020204" pitchFamily="34" charset="0"/>
                <a:ea typeface="+mn-ea"/>
                <a:cs typeface="Arial" panose="020B0604020202020204" pitchFamily="34" charset="0"/>
              </a:rPr>
              <a:pPr marL="0" marR="0" lvl="0" indent="0" algn="r" defTabSz="768004" rtl="0" eaLnBrk="1" fontAlgn="auto" latinLnBrk="0" hangingPunct="1">
                <a:lnSpc>
                  <a:spcPct val="100000"/>
                </a:lnSpc>
                <a:spcBef>
                  <a:spcPts val="0"/>
                </a:spcBef>
                <a:spcAft>
                  <a:spcPts val="0"/>
                </a:spcAft>
                <a:buClrTx/>
                <a:buSzTx/>
                <a:buFontTx/>
                <a:buNone/>
                <a:tabLst/>
                <a:defRPr/>
              </a:pPr>
              <a:t>11</a:t>
            </a:fld>
            <a:endParaRPr kumimoji="0" lang="de-CH" sz="9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endParaRPr>
          </a:p>
        </p:txBody>
      </p:sp>
      <p:sp>
        <p:nvSpPr>
          <p:cNvPr id="12" name="Inhaltsplatzhalter 11">
            <a:extLst>
              <a:ext uri="{FF2B5EF4-FFF2-40B4-BE49-F238E27FC236}">
                <a16:creationId xmlns:a16="http://schemas.microsoft.com/office/drawing/2014/main" id="{CA6F02A4-D978-41C9-9C79-EEA6C42D7CCB}"/>
              </a:ext>
            </a:extLst>
          </p:cNvPr>
          <p:cNvSpPr>
            <a:spLocks noGrp="1"/>
          </p:cNvSpPr>
          <p:nvPr>
            <p:ph sz="quarter" idx="14"/>
          </p:nvPr>
        </p:nvSpPr>
        <p:spPr/>
        <p:txBody>
          <a:bodyPr>
            <a:noAutofit/>
          </a:bodyPr>
          <a:lstStyle/>
          <a:p>
            <a:pPr>
              <a:lnSpc>
                <a:spcPct val="100000"/>
              </a:lnSpc>
            </a:pPr>
            <a:r>
              <a:rPr lang="de-CH" dirty="0"/>
              <a:t>F200: </a:t>
            </a:r>
            <a:r>
              <a:rPr lang="de-DE" dirty="0"/>
              <a:t>Was sind die Gründe, dass Sie frei erhältliche CBD-Produkte nutzen oder genutzt haben? Bitte geben Sie alle Gründe an, die für Sie wichtig sind.   </a:t>
            </a:r>
            <a:endParaRPr lang="de-CH" dirty="0"/>
          </a:p>
          <a:p>
            <a:pPr>
              <a:lnSpc>
                <a:spcPct val="100000"/>
              </a:lnSpc>
            </a:pPr>
            <a:r>
              <a:rPr lang="de-CH" dirty="0"/>
              <a:t>Basis: n=[ ] | Filter: Nutzen oder haben CBD Produkte genutzt | Geschlossene Frage | Top 10 ausgewiesen | *Kleine Basis n&lt;50</a:t>
            </a:r>
            <a:br>
              <a:rPr lang="de-CH" dirty="0"/>
            </a:br>
            <a:r>
              <a:rPr lang="de-DE" dirty="0"/>
              <a:t>Die hinter den Wert gesetzten Buchstaben bedeuten einen signifikanten Unterschied (95% Niveau) im Vergleich zu den jeweiligen Gruppen, für die die Buchstaben stellvertretend stehen.</a:t>
            </a:r>
            <a:endParaRPr lang="de-CH" dirty="0"/>
          </a:p>
        </p:txBody>
      </p:sp>
      <p:sp>
        <p:nvSpPr>
          <p:cNvPr id="24" name="Textfeld 23">
            <a:extLst>
              <a:ext uri="{FF2B5EF4-FFF2-40B4-BE49-F238E27FC236}">
                <a16:creationId xmlns:a16="http://schemas.microsoft.com/office/drawing/2014/main" id="{2461A25D-BCCE-44BA-AD87-54BC5ADFD421}"/>
              </a:ext>
            </a:extLst>
          </p:cNvPr>
          <p:cNvSpPr txBox="1"/>
          <p:nvPr/>
        </p:nvSpPr>
        <p:spPr>
          <a:xfrm>
            <a:off x="2343147" y="1331239"/>
            <a:ext cx="741998"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Total </a:t>
            </a:r>
            <a:r>
              <a:rPr kumimoji="0" lang="en-US" sz="1200" b="0" i="0" u="none" strike="noStrike" kern="1200" cap="none" spc="0" normalizeH="0" baseline="0" noProof="0" dirty="0">
                <a:ln>
                  <a:noFill/>
                </a:ln>
                <a:solidFill>
                  <a:srgbClr val="000000"/>
                </a:solidFill>
                <a:effectLst/>
                <a:uLnTx/>
                <a:uFillTx/>
                <a:latin typeface="Arial"/>
                <a:ea typeface="+mn-ea"/>
                <a:cs typeface="+mn-cs"/>
              </a:rPr>
              <a:t>[406]</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25" name="Inhaltsplatzhalter 7">
            <a:extLst>
              <a:ext uri="{FF2B5EF4-FFF2-40B4-BE49-F238E27FC236}">
                <a16:creationId xmlns:a16="http://schemas.microsoft.com/office/drawing/2014/main" id="{1440A966-AD3C-25F4-1046-B6FAA5001C33}"/>
              </a:ext>
            </a:extLst>
          </p:cNvPr>
          <p:cNvGraphicFramePr>
            <a:graphicFrameLocks/>
          </p:cNvGraphicFramePr>
          <p:nvPr>
            <p:extLst>
              <p:ext uri="{D42A27DB-BD31-4B8C-83A1-F6EECF244321}">
                <p14:modId xmlns:p14="http://schemas.microsoft.com/office/powerpoint/2010/main" val="1206084217"/>
              </p:ext>
            </p:extLst>
          </p:nvPr>
        </p:nvGraphicFramePr>
        <p:xfrm>
          <a:off x="4178521" y="1177871"/>
          <a:ext cx="2829526" cy="4860000"/>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feld 23">
            <a:extLst>
              <a:ext uri="{FF2B5EF4-FFF2-40B4-BE49-F238E27FC236}">
                <a16:creationId xmlns:a16="http://schemas.microsoft.com/office/drawing/2014/main" id="{9630AF65-02CE-2356-BAE0-AFE0CBCE6578}"/>
              </a:ext>
            </a:extLst>
          </p:cNvPr>
          <p:cNvSpPr txBox="1"/>
          <p:nvPr/>
        </p:nvSpPr>
        <p:spPr>
          <a:xfrm>
            <a:off x="5239516" y="1328156"/>
            <a:ext cx="743658" cy="177189"/>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Geschlecht</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51" name="Inhaltsplatzhalter 7">
            <a:extLst>
              <a:ext uri="{FF2B5EF4-FFF2-40B4-BE49-F238E27FC236}">
                <a16:creationId xmlns:a16="http://schemas.microsoft.com/office/drawing/2014/main" id="{DDD2DDA6-3F9B-6616-7EB2-35B7DE6DD733}"/>
              </a:ext>
            </a:extLst>
          </p:cNvPr>
          <p:cNvGraphicFramePr>
            <a:graphicFrameLocks/>
          </p:cNvGraphicFramePr>
          <p:nvPr>
            <p:extLst>
              <p:ext uri="{D42A27DB-BD31-4B8C-83A1-F6EECF244321}">
                <p14:modId xmlns:p14="http://schemas.microsoft.com/office/powerpoint/2010/main" val="4272412672"/>
              </p:ext>
            </p:extLst>
          </p:nvPr>
        </p:nvGraphicFramePr>
        <p:xfrm>
          <a:off x="7019327" y="1177871"/>
          <a:ext cx="2829526" cy="4860000"/>
        </p:xfrm>
        <a:graphic>
          <a:graphicData uri="http://schemas.openxmlformats.org/drawingml/2006/chart">
            <c:chart xmlns:c="http://schemas.openxmlformats.org/drawingml/2006/chart" xmlns:r="http://schemas.openxmlformats.org/officeDocument/2006/relationships" r:id="rId7"/>
          </a:graphicData>
        </a:graphic>
      </p:graphicFrame>
      <p:sp>
        <p:nvSpPr>
          <p:cNvPr id="52" name="Textfeld 23">
            <a:extLst>
              <a:ext uri="{FF2B5EF4-FFF2-40B4-BE49-F238E27FC236}">
                <a16:creationId xmlns:a16="http://schemas.microsoft.com/office/drawing/2014/main" id="{6EC0FB9F-DCE5-FC80-F38F-804B05EB5CAD}"/>
              </a:ext>
            </a:extLst>
          </p:cNvPr>
          <p:cNvSpPr txBox="1"/>
          <p:nvPr/>
        </p:nvSpPr>
        <p:spPr>
          <a:xfrm>
            <a:off x="7533857" y="1328156"/>
            <a:ext cx="349455"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Alter</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58" name="Inhaltsplatzhalter 7">
            <a:extLst>
              <a:ext uri="{FF2B5EF4-FFF2-40B4-BE49-F238E27FC236}">
                <a16:creationId xmlns:a16="http://schemas.microsoft.com/office/drawing/2014/main" id="{D4E0DF3A-5CF2-B3BD-31D9-609AC7CF8A19}"/>
              </a:ext>
            </a:extLst>
          </p:cNvPr>
          <p:cNvGraphicFramePr>
            <a:graphicFrameLocks/>
          </p:cNvGraphicFramePr>
          <p:nvPr>
            <p:extLst>
              <p:ext uri="{D42A27DB-BD31-4B8C-83A1-F6EECF244321}">
                <p14:modId xmlns:p14="http://schemas.microsoft.com/office/powerpoint/2010/main" val="596067433"/>
              </p:ext>
            </p:extLst>
          </p:nvPr>
        </p:nvGraphicFramePr>
        <p:xfrm>
          <a:off x="9181919" y="1177871"/>
          <a:ext cx="2829526" cy="4860000"/>
        </p:xfrm>
        <a:graphic>
          <a:graphicData uri="http://schemas.openxmlformats.org/drawingml/2006/chart">
            <c:chart xmlns:c="http://schemas.openxmlformats.org/drawingml/2006/chart" xmlns:r="http://schemas.openxmlformats.org/officeDocument/2006/relationships" r:id="rId8"/>
          </a:graphicData>
        </a:graphic>
      </p:graphicFrame>
      <p:sp>
        <p:nvSpPr>
          <p:cNvPr id="59" name="Textfeld 23">
            <a:extLst>
              <a:ext uri="{FF2B5EF4-FFF2-40B4-BE49-F238E27FC236}">
                <a16:creationId xmlns:a16="http://schemas.microsoft.com/office/drawing/2014/main" id="{3CA27929-D145-613E-ED90-C573BAEEE99C}"/>
              </a:ext>
            </a:extLst>
          </p:cNvPr>
          <p:cNvSpPr txBox="1"/>
          <p:nvPr/>
        </p:nvSpPr>
        <p:spPr>
          <a:xfrm>
            <a:off x="9918402" y="1328156"/>
            <a:ext cx="522579"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Region</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extfeld 8">
            <a:extLst>
              <a:ext uri="{FF2B5EF4-FFF2-40B4-BE49-F238E27FC236}">
                <a16:creationId xmlns:a16="http://schemas.microsoft.com/office/drawing/2014/main" id="{3581C346-B946-B926-24A4-718E6CDA1F5E}"/>
              </a:ext>
            </a:extLst>
          </p:cNvPr>
          <p:cNvSpPr txBox="1"/>
          <p:nvPr/>
        </p:nvSpPr>
        <p:spPr>
          <a:xfrm>
            <a:off x="7289961" y="2007751"/>
            <a:ext cx="1471343" cy="434459"/>
          </a:xfrm>
          <a:prstGeom prst="rect">
            <a:avLst/>
          </a:prstGeom>
          <a:noFill/>
          <a:ln>
            <a:solidFill>
              <a:schemeClr val="accent2"/>
            </a:solidFill>
          </a:ln>
        </p:spPr>
        <p:txBody>
          <a:bodyPr wrap="square" lIns="0" tIns="0" rIns="0" bIns="0" rtlCol="0">
            <a:spAutoFit/>
          </a:bodyPr>
          <a:lstStyle/>
          <a:p>
            <a:pPr algn="l"/>
            <a:endParaRPr lang="de-CH" sz="1400" dirty="0"/>
          </a:p>
        </p:txBody>
      </p:sp>
      <p:sp>
        <p:nvSpPr>
          <p:cNvPr id="39" name="Textfeld 38">
            <a:extLst>
              <a:ext uri="{FF2B5EF4-FFF2-40B4-BE49-F238E27FC236}">
                <a16:creationId xmlns:a16="http://schemas.microsoft.com/office/drawing/2014/main" id="{E0E048B3-B0FC-51D2-8196-0C180A3DA908}"/>
              </a:ext>
            </a:extLst>
          </p:cNvPr>
          <p:cNvSpPr txBox="1"/>
          <p:nvPr/>
        </p:nvSpPr>
        <p:spPr>
          <a:xfrm>
            <a:off x="7287307" y="2442210"/>
            <a:ext cx="1471343" cy="434459"/>
          </a:xfrm>
          <a:prstGeom prst="rect">
            <a:avLst/>
          </a:prstGeom>
          <a:noFill/>
          <a:ln>
            <a:solidFill>
              <a:schemeClr val="accent2"/>
            </a:solidFill>
          </a:ln>
        </p:spPr>
        <p:txBody>
          <a:bodyPr wrap="square" lIns="0" tIns="0" rIns="0" bIns="0" rtlCol="0">
            <a:spAutoFit/>
          </a:bodyPr>
          <a:lstStyle/>
          <a:p>
            <a:pPr algn="l"/>
            <a:endParaRPr lang="de-CH" sz="1400" dirty="0"/>
          </a:p>
        </p:txBody>
      </p:sp>
      <p:sp>
        <p:nvSpPr>
          <p:cNvPr id="40" name="Textfeld 39">
            <a:extLst>
              <a:ext uri="{FF2B5EF4-FFF2-40B4-BE49-F238E27FC236}">
                <a16:creationId xmlns:a16="http://schemas.microsoft.com/office/drawing/2014/main" id="{BAEE7448-F8C9-DED2-F09D-9F6BEB02AB90}"/>
              </a:ext>
            </a:extLst>
          </p:cNvPr>
          <p:cNvSpPr txBox="1"/>
          <p:nvPr/>
        </p:nvSpPr>
        <p:spPr>
          <a:xfrm>
            <a:off x="4958407" y="2014043"/>
            <a:ext cx="1471343" cy="861774"/>
          </a:xfrm>
          <a:prstGeom prst="rect">
            <a:avLst/>
          </a:prstGeom>
          <a:noFill/>
          <a:ln>
            <a:solidFill>
              <a:schemeClr val="accent2"/>
            </a:solidFill>
          </a:ln>
        </p:spPr>
        <p:txBody>
          <a:bodyPr wrap="square" lIns="0" tIns="0" rIns="0" bIns="0" rtlCol="0">
            <a:spAutoFit/>
          </a:bodyPr>
          <a:lstStyle/>
          <a:p>
            <a:pPr algn="l"/>
            <a:endParaRPr lang="de-CH" sz="1400" dirty="0"/>
          </a:p>
          <a:p>
            <a:pPr algn="l"/>
            <a:endParaRPr lang="de-CH" sz="1400" dirty="0"/>
          </a:p>
          <a:p>
            <a:pPr algn="l"/>
            <a:endParaRPr lang="de-CH" sz="1400" dirty="0"/>
          </a:p>
          <a:p>
            <a:pPr algn="l"/>
            <a:endParaRPr lang="de-CH" sz="1400" dirty="0"/>
          </a:p>
        </p:txBody>
      </p:sp>
      <p:sp>
        <p:nvSpPr>
          <p:cNvPr id="41" name="Textfeld 40">
            <a:extLst>
              <a:ext uri="{FF2B5EF4-FFF2-40B4-BE49-F238E27FC236}">
                <a16:creationId xmlns:a16="http://schemas.microsoft.com/office/drawing/2014/main" id="{4D9C3D4F-F161-F322-2852-5B31A32ADDF0}"/>
              </a:ext>
            </a:extLst>
          </p:cNvPr>
          <p:cNvSpPr txBox="1"/>
          <p:nvPr/>
        </p:nvSpPr>
        <p:spPr>
          <a:xfrm>
            <a:off x="4955753" y="2875817"/>
            <a:ext cx="1471343" cy="434459"/>
          </a:xfrm>
          <a:prstGeom prst="rect">
            <a:avLst/>
          </a:prstGeom>
          <a:noFill/>
          <a:ln>
            <a:solidFill>
              <a:schemeClr val="accent2"/>
            </a:solidFill>
          </a:ln>
        </p:spPr>
        <p:txBody>
          <a:bodyPr wrap="square" lIns="0" tIns="0" rIns="0" bIns="0" rtlCol="0">
            <a:spAutoFit/>
          </a:bodyPr>
          <a:lstStyle/>
          <a:p>
            <a:pPr algn="l"/>
            <a:endParaRPr lang="de-CH" sz="1400" dirty="0"/>
          </a:p>
        </p:txBody>
      </p:sp>
      <p:sp>
        <p:nvSpPr>
          <p:cNvPr id="43" name="Textplatzhalter 42">
            <a:extLst>
              <a:ext uri="{FF2B5EF4-FFF2-40B4-BE49-F238E27FC236}">
                <a16:creationId xmlns:a16="http://schemas.microsoft.com/office/drawing/2014/main" id="{3FB12082-BDC8-54DF-67CE-3A028F7965A6}"/>
              </a:ext>
            </a:extLst>
          </p:cNvPr>
          <p:cNvSpPr>
            <a:spLocks noGrp="1"/>
          </p:cNvSpPr>
          <p:nvPr>
            <p:ph type="body" sz="quarter" idx="26"/>
          </p:nvPr>
        </p:nvSpPr>
        <p:spPr/>
        <p:txBody>
          <a:bodyPr/>
          <a:lstStyle/>
          <a:p>
            <a:endParaRPr lang="de-CH"/>
          </a:p>
        </p:txBody>
      </p:sp>
      <p:sp>
        <p:nvSpPr>
          <p:cNvPr id="44" name="Textfeld 43">
            <a:extLst>
              <a:ext uri="{FF2B5EF4-FFF2-40B4-BE49-F238E27FC236}">
                <a16:creationId xmlns:a16="http://schemas.microsoft.com/office/drawing/2014/main" id="{25D72F31-2E1E-5113-121C-655B436FA697}"/>
              </a:ext>
            </a:extLst>
          </p:cNvPr>
          <p:cNvSpPr txBox="1"/>
          <p:nvPr/>
        </p:nvSpPr>
        <p:spPr>
          <a:xfrm>
            <a:off x="7287306" y="3635220"/>
            <a:ext cx="1471343" cy="434459"/>
          </a:xfrm>
          <a:prstGeom prst="rect">
            <a:avLst/>
          </a:prstGeom>
          <a:noFill/>
          <a:ln>
            <a:solidFill>
              <a:schemeClr val="accent2"/>
            </a:solidFill>
          </a:ln>
        </p:spPr>
        <p:txBody>
          <a:bodyPr wrap="square" lIns="0" tIns="0" rIns="0" bIns="0" rtlCol="0">
            <a:spAutoFit/>
          </a:bodyPr>
          <a:lstStyle/>
          <a:p>
            <a:pPr algn="l"/>
            <a:endParaRPr lang="de-CH" sz="1400" dirty="0"/>
          </a:p>
        </p:txBody>
      </p:sp>
    </p:spTree>
    <p:extLst>
      <p:ext uri="{BB962C8B-B14F-4D97-AF65-F5344CB8AC3E}">
        <p14:creationId xmlns:p14="http://schemas.microsoft.com/office/powerpoint/2010/main" val="3736428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D31909-F4A1-1142-4CAA-0618715E9F56}"/>
              </a:ext>
            </a:extLst>
          </p:cNvPr>
          <p:cNvGraphicFramePr>
            <a:graphicFrameLocks noChangeAspect="1"/>
          </p:cNvGraphicFramePr>
          <p:nvPr>
            <p:custDataLst>
              <p:tags r:id="rId1"/>
            </p:custDataLst>
            <p:extLst>
              <p:ext uri="{D42A27DB-BD31-4B8C-83A1-F6EECF244321}">
                <p14:modId xmlns:p14="http://schemas.microsoft.com/office/powerpoint/2010/main" val="8620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a:extLst>
                          <a:ext uri="{FF2B5EF4-FFF2-40B4-BE49-F238E27FC236}">
                            <a16:creationId xmlns:a16="http://schemas.microsoft.com/office/drawing/2014/main" id="{63D31909-F4A1-1142-4CAA-0618715E9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2" name="Inhaltsplatzhalter 7">
            <a:extLst>
              <a:ext uri="{FF2B5EF4-FFF2-40B4-BE49-F238E27FC236}">
                <a16:creationId xmlns:a16="http://schemas.microsoft.com/office/drawing/2014/main" id="{A3C7FC8F-A93B-4232-9C69-CD1C4BE5E8DA}"/>
              </a:ext>
            </a:extLst>
          </p:cNvPr>
          <p:cNvGraphicFramePr>
            <a:graphicFrameLocks noGrp="1"/>
          </p:cNvGraphicFramePr>
          <p:nvPr>
            <p:ph sz="quarter" idx="22"/>
            <p:extLst>
              <p:ext uri="{D42A27DB-BD31-4B8C-83A1-F6EECF244321}">
                <p14:modId xmlns:p14="http://schemas.microsoft.com/office/powerpoint/2010/main" val="3484892045"/>
              </p:ext>
            </p:extLst>
          </p:nvPr>
        </p:nvGraphicFramePr>
        <p:xfrm>
          <a:off x="304798" y="1154350"/>
          <a:ext cx="4642329" cy="4863600"/>
        </p:xfrm>
        <a:graphic>
          <a:graphicData uri="http://schemas.openxmlformats.org/drawingml/2006/chart">
            <c:chart xmlns:c="http://schemas.openxmlformats.org/drawingml/2006/chart" xmlns:r="http://schemas.openxmlformats.org/officeDocument/2006/relationships" r:id="rId5"/>
          </a:graphicData>
        </a:graphic>
      </p:graphicFrame>
      <p:sp>
        <p:nvSpPr>
          <p:cNvPr id="5" name="Titel 4">
            <a:extLst>
              <a:ext uri="{FF2B5EF4-FFF2-40B4-BE49-F238E27FC236}">
                <a16:creationId xmlns:a16="http://schemas.microsoft.com/office/drawing/2014/main" id="{32DE6835-2BA5-4907-960B-26860B9E3DE3}"/>
              </a:ext>
            </a:extLst>
          </p:cNvPr>
          <p:cNvSpPr>
            <a:spLocks noGrp="1"/>
          </p:cNvSpPr>
          <p:nvPr>
            <p:ph type="title"/>
          </p:nvPr>
        </p:nvSpPr>
        <p:spPr/>
        <p:txBody>
          <a:bodyPr vert="horz"/>
          <a:lstStyle/>
          <a:p>
            <a:r>
              <a:rPr lang="de-CH" dirty="0"/>
              <a:t>Wichtigster Nutzungs-Grund</a:t>
            </a:r>
          </a:p>
        </p:txBody>
      </p:sp>
      <p:sp>
        <p:nvSpPr>
          <p:cNvPr id="3" name="Fußzeilenplatzhalter 2">
            <a:extLst>
              <a:ext uri="{FF2B5EF4-FFF2-40B4-BE49-F238E27FC236}">
                <a16:creationId xmlns:a16="http://schemas.microsoft.com/office/drawing/2014/main" id="{EEAA9A00-01CA-433A-84C7-95D45FA98B7F}"/>
              </a:ext>
            </a:extLst>
          </p:cNvPr>
          <p:cNvSpPr>
            <a:spLocks noGrp="1"/>
          </p:cNvSpPr>
          <p:nvPr>
            <p:ph type="ftr" sz="quarter" idx="10"/>
          </p:nvPr>
        </p:nvSpPr>
        <p:spPr/>
        <p:txBody>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8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rPr>
              <a:t>© LINK | CBD Image Studie 2023 | 12485 | Juni 2023</a:t>
            </a:r>
          </a:p>
        </p:txBody>
      </p:sp>
      <p:sp>
        <p:nvSpPr>
          <p:cNvPr id="4" name="Foliennummernplatzhalter 3">
            <a:extLst>
              <a:ext uri="{FF2B5EF4-FFF2-40B4-BE49-F238E27FC236}">
                <a16:creationId xmlns:a16="http://schemas.microsoft.com/office/drawing/2014/main" id="{23749EA7-1EEE-426D-A122-5F4BF08D59E6}"/>
              </a:ext>
            </a:extLst>
          </p:cNvPr>
          <p:cNvSpPr>
            <a:spLocks noGrp="1"/>
          </p:cNvSpPr>
          <p:nvPr>
            <p:ph type="sldNum" sz="quarter" idx="11"/>
          </p:nvPr>
        </p:nvSpPr>
        <p:spPr/>
        <p:txBody>
          <a:bodyPr/>
          <a:lstStyle/>
          <a:p>
            <a:pPr marL="0" marR="0" lvl="0" indent="0" algn="r" defTabSz="768004" rtl="0" eaLnBrk="1" fontAlgn="auto" latinLnBrk="0" hangingPunct="1">
              <a:lnSpc>
                <a:spcPct val="100000"/>
              </a:lnSpc>
              <a:spcBef>
                <a:spcPts val="0"/>
              </a:spcBef>
              <a:spcAft>
                <a:spcPts val="0"/>
              </a:spcAft>
              <a:buClrTx/>
              <a:buSzTx/>
              <a:buFontTx/>
              <a:buNone/>
              <a:tabLst/>
              <a:defRPr/>
            </a:pPr>
            <a:fld id="{3E554A25-EF9F-433F-A2C4-DF94129C44D1}" type="slidenum">
              <a:rPr kumimoji="0" lang="de-CH" sz="900" b="0" i="0" u="none" strike="noStrike" kern="1200" cap="none" spc="0" normalizeH="0" baseline="0" noProof="0" smtClean="0">
                <a:ln>
                  <a:noFill/>
                </a:ln>
                <a:solidFill>
                  <a:srgbClr val="4D514E"/>
                </a:solidFill>
                <a:effectLst/>
                <a:uLnTx/>
                <a:uFillTx/>
                <a:latin typeface="Arial" panose="020B0604020202020204" pitchFamily="34" charset="0"/>
                <a:ea typeface="+mn-ea"/>
                <a:cs typeface="Arial" panose="020B0604020202020204" pitchFamily="34" charset="0"/>
              </a:rPr>
              <a:pPr marL="0" marR="0" lvl="0" indent="0" algn="r" defTabSz="768004" rtl="0" eaLnBrk="1" fontAlgn="auto" latinLnBrk="0" hangingPunct="1">
                <a:lnSpc>
                  <a:spcPct val="100000"/>
                </a:lnSpc>
                <a:spcBef>
                  <a:spcPts val="0"/>
                </a:spcBef>
                <a:spcAft>
                  <a:spcPts val="0"/>
                </a:spcAft>
                <a:buClrTx/>
                <a:buSzTx/>
                <a:buFontTx/>
                <a:buNone/>
                <a:tabLst/>
                <a:defRPr/>
              </a:pPr>
              <a:t>12</a:t>
            </a:fld>
            <a:endParaRPr kumimoji="0" lang="de-CH" sz="9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endParaRPr>
          </a:p>
        </p:txBody>
      </p:sp>
      <p:sp>
        <p:nvSpPr>
          <p:cNvPr id="12" name="Inhaltsplatzhalter 11">
            <a:extLst>
              <a:ext uri="{FF2B5EF4-FFF2-40B4-BE49-F238E27FC236}">
                <a16:creationId xmlns:a16="http://schemas.microsoft.com/office/drawing/2014/main" id="{CA6F02A4-D978-41C9-9C79-EEA6C42D7CCB}"/>
              </a:ext>
            </a:extLst>
          </p:cNvPr>
          <p:cNvSpPr>
            <a:spLocks noGrp="1"/>
          </p:cNvSpPr>
          <p:nvPr>
            <p:ph sz="quarter" idx="14"/>
          </p:nvPr>
        </p:nvSpPr>
        <p:spPr/>
        <p:txBody>
          <a:bodyPr>
            <a:noAutofit/>
          </a:bodyPr>
          <a:lstStyle/>
          <a:p>
            <a:pPr>
              <a:lnSpc>
                <a:spcPct val="100000"/>
              </a:lnSpc>
            </a:pPr>
            <a:r>
              <a:rPr lang="de-CH" dirty="0"/>
              <a:t>F205: </a:t>
            </a:r>
            <a:r>
              <a:rPr lang="de-DE" dirty="0"/>
              <a:t>Und was ist für Sie der wichtigste Grund? </a:t>
            </a:r>
            <a:endParaRPr lang="de-CH" dirty="0"/>
          </a:p>
          <a:p>
            <a:pPr>
              <a:lnSpc>
                <a:spcPct val="100000"/>
              </a:lnSpc>
            </a:pPr>
            <a:r>
              <a:rPr lang="de-CH" dirty="0"/>
              <a:t>Basis: n=[ ] | Filter: Nutzen oder haben CBD Produkte genutzt | Geschlossene Frage | Top 10 ausgewiesen | *Kleine Basis n&lt;50</a:t>
            </a:r>
            <a:br>
              <a:rPr lang="de-CH" dirty="0"/>
            </a:br>
            <a:r>
              <a:rPr lang="de-DE" dirty="0"/>
              <a:t>Die hinter den Wert gesetzten Buchstaben bedeuten einen signifikanten Unterschied (95% Niveau) im Vergleich zu den jeweiligen Gruppen, für die die Buchstaben stellvertretend stehen.</a:t>
            </a:r>
            <a:endParaRPr lang="de-CH" dirty="0"/>
          </a:p>
        </p:txBody>
      </p:sp>
      <p:graphicFrame>
        <p:nvGraphicFramePr>
          <p:cNvPr id="25" name="Inhaltsplatzhalter 7">
            <a:extLst>
              <a:ext uri="{FF2B5EF4-FFF2-40B4-BE49-F238E27FC236}">
                <a16:creationId xmlns:a16="http://schemas.microsoft.com/office/drawing/2014/main" id="{1440A966-AD3C-25F4-1046-B6FAA5001C33}"/>
              </a:ext>
            </a:extLst>
          </p:cNvPr>
          <p:cNvGraphicFramePr>
            <a:graphicFrameLocks/>
          </p:cNvGraphicFramePr>
          <p:nvPr>
            <p:extLst>
              <p:ext uri="{D42A27DB-BD31-4B8C-83A1-F6EECF244321}">
                <p14:modId xmlns:p14="http://schemas.microsoft.com/office/powerpoint/2010/main" val="2863487001"/>
              </p:ext>
            </p:extLst>
          </p:nvPr>
        </p:nvGraphicFramePr>
        <p:xfrm>
          <a:off x="4178521" y="1154350"/>
          <a:ext cx="2829526" cy="48636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1" name="Inhaltsplatzhalter 7">
            <a:extLst>
              <a:ext uri="{FF2B5EF4-FFF2-40B4-BE49-F238E27FC236}">
                <a16:creationId xmlns:a16="http://schemas.microsoft.com/office/drawing/2014/main" id="{DDD2DDA6-3F9B-6616-7EB2-35B7DE6DD733}"/>
              </a:ext>
            </a:extLst>
          </p:cNvPr>
          <p:cNvGraphicFramePr>
            <a:graphicFrameLocks/>
          </p:cNvGraphicFramePr>
          <p:nvPr>
            <p:extLst>
              <p:ext uri="{D42A27DB-BD31-4B8C-83A1-F6EECF244321}">
                <p14:modId xmlns:p14="http://schemas.microsoft.com/office/powerpoint/2010/main" val="836740712"/>
              </p:ext>
            </p:extLst>
          </p:nvPr>
        </p:nvGraphicFramePr>
        <p:xfrm>
          <a:off x="7019327" y="1154350"/>
          <a:ext cx="2829526" cy="48636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8" name="Inhaltsplatzhalter 7">
            <a:extLst>
              <a:ext uri="{FF2B5EF4-FFF2-40B4-BE49-F238E27FC236}">
                <a16:creationId xmlns:a16="http://schemas.microsoft.com/office/drawing/2014/main" id="{D4E0DF3A-5CF2-B3BD-31D9-609AC7CF8A19}"/>
              </a:ext>
            </a:extLst>
          </p:cNvPr>
          <p:cNvGraphicFramePr>
            <a:graphicFrameLocks/>
          </p:cNvGraphicFramePr>
          <p:nvPr>
            <p:extLst>
              <p:ext uri="{D42A27DB-BD31-4B8C-83A1-F6EECF244321}">
                <p14:modId xmlns:p14="http://schemas.microsoft.com/office/powerpoint/2010/main" val="2052728451"/>
              </p:ext>
            </p:extLst>
          </p:nvPr>
        </p:nvGraphicFramePr>
        <p:xfrm>
          <a:off x="9181919" y="1154350"/>
          <a:ext cx="2829526" cy="4863600"/>
        </p:xfrm>
        <a:graphic>
          <a:graphicData uri="http://schemas.openxmlformats.org/drawingml/2006/chart">
            <c:chart xmlns:c="http://schemas.openxmlformats.org/drawingml/2006/chart" xmlns:r="http://schemas.openxmlformats.org/officeDocument/2006/relationships" r:id="rId8"/>
          </a:graphicData>
        </a:graphic>
      </p:graphicFrame>
      <p:sp>
        <p:nvSpPr>
          <p:cNvPr id="7" name="Textfeld 6">
            <a:extLst>
              <a:ext uri="{FF2B5EF4-FFF2-40B4-BE49-F238E27FC236}">
                <a16:creationId xmlns:a16="http://schemas.microsoft.com/office/drawing/2014/main" id="{6F6AE0BD-3292-37DD-A019-5FDF6C376950}"/>
              </a:ext>
            </a:extLst>
          </p:cNvPr>
          <p:cNvSpPr txBox="1"/>
          <p:nvPr/>
        </p:nvSpPr>
        <p:spPr>
          <a:xfrm>
            <a:off x="2343147" y="1331239"/>
            <a:ext cx="741998"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Total </a:t>
            </a:r>
            <a:r>
              <a:rPr kumimoji="0" lang="en-US" sz="1200" b="0" i="0" u="none" strike="noStrike" kern="1200" cap="none" spc="0" normalizeH="0" baseline="0" noProof="0" dirty="0">
                <a:ln>
                  <a:noFill/>
                </a:ln>
                <a:solidFill>
                  <a:srgbClr val="000000"/>
                </a:solidFill>
                <a:effectLst/>
                <a:uLnTx/>
                <a:uFillTx/>
                <a:latin typeface="Arial"/>
                <a:ea typeface="+mn-ea"/>
                <a:cs typeface="+mn-cs"/>
              </a:rPr>
              <a:t>[406]</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feld 23">
            <a:extLst>
              <a:ext uri="{FF2B5EF4-FFF2-40B4-BE49-F238E27FC236}">
                <a16:creationId xmlns:a16="http://schemas.microsoft.com/office/drawing/2014/main" id="{0A9AA055-98C7-38B9-43CA-6271C8FBF964}"/>
              </a:ext>
            </a:extLst>
          </p:cNvPr>
          <p:cNvSpPr txBox="1"/>
          <p:nvPr/>
        </p:nvSpPr>
        <p:spPr>
          <a:xfrm>
            <a:off x="5239516" y="1328156"/>
            <a:ext cx="743658" cy="177189"/>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Geschlecht</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Textfeld 23">
            <a:extLst>
              <a:ext uri="{FF2B5EF4-FFF2-40B4-BE49-F238E27FC236}">
                <a16:creationId xmlns:a16="http://schemas.microsoft.com/office/drawing/2014/main" id="{8827A34B-993D-5DD3-582C-9400CC8CF4C5}"/>
              </a:ext>
            </a:extLst>
          </p:cNvPr>
          <p:cNvSpPr txBox="1"/>
          <p:nvPr/>
        </p:nvSpPr>
        <p:spPr>
          <a:xfrm>
            <a:off x="7533857" y="1328156"/>
            <a:ext cx="349455"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Alter</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feld 23">
            <a:extLst>
              <a:ext uri="{FF2B5EF4-FFF2-40B4-BE49-F238E27FC236}">
                <a16:creationId xmlns:a16="http://schemas.microsoft.com/office/drawing/2014/main" id="{8B621C1B-233D-CE7C-A98D-13DBB2D04D53}"/>
              </a:ext>
            </a:extLst>
          </p:cNvPr>
          <p:cNvSpPr txBox="1"/>
          <p:nvPr/>
        </p:nvSpPr>
        <p:spPr>
          <a:xfrm>
            <a:off x="9918402" y="1328156"/>
            <a:ext cx="522579"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Region</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extfeld 8">
            <a:extLst>
              <a:ext uri="{FF2B5EF4-FFF2-40B4-BE49-F238E27FC236}">
                <a16:creationId xmlns:a16="http://schemas.microsoft.com/office/drawing/2014/main" id="{8AB6314F-A756-D28F-E8A8-FB70BCC89311}"/>
              </a:ext>
            </a:extLst>
          </p:cNvPr>
          <p:cNvSpPr txBox="1"/>
          <p:nvPr/>
        </p:nvSpPr>
        <p:spPr>
          <a:xfrm>
            <a:off x="7289961" y="1547623"/>
            <a:ext cx="1471343" cy="861774"/>
          </a:xfrm>
          <a:prstGeom prst="rect">
            <a:avLst/>
          </a:prstGeom>
          <a:noFill/>
          <a:ln>
            <a:solidFill>
              <a:schemeClr val="accent2"/>
            </a:solidFill>
          </a:ln>
        </p:spPr>
        <p:txBody>
          <a:bodyPr wrap="square" lIns="0" tIns="0" rIns="0" bIns="0" rtlCol="0">
            <a:spAutoFit/>
          </a:bodyPr>
          <a:lstStyle/>
          <a:p>
            <a:pPr algn="l"/>
            <a:endParaRPr lang="de-CH" sz="1400" dirty="0"/>
          </a:p>
          <a:p>
            <a:pPr algn="l"/>
            <a:endParaRPr lang="de-CH" sz="1400" dirty="0"/>
          </a:p>
          <a:p>
            <a:pPr algn="l"/>
            <a:endParaRPr lang="de-CH" sz="1400" dirty="0"/>
          </a:p>
          <a:p>
            <a:pPr algn="l"/>
            <a:endParaRPr lang="de-CH" sz="1400" dirty="0"/>
          </a:p>
        </p:txBody>
      </p:sp>
      <p:sp>
        <p:nvSpPr>
          <p:cNvPr id="30" name="Textplatzhalter 29">
            <a:extLst>
              <a:ext uri="{FF2B5EF4-FFF2-40B4-BE49-F238E27FC236}">
                <a16:creationId xmlns:a16="http://schemas.microsoft.com/office/drawing/2014/main" id="{D8F89A79-EE3B-6111-72E9-6C49FA634301}"/>
              </a:ext>
            </a:extLst>
          </p:cNvPr>
          <p:cNvSpPr>
            <a:spLocks noGrp="1"/>
          </p:cNvSpPr>
          <p:nvPr>
            <p:ph type="body" sz="quarter" idx="26"/>
          </p:nvPr>
        </p:nvSpPr>
        <p:spPr/>
        <p:txBody>
          <a:bodyPr/>
          <a:lstStyle/>
          <a:p>
            <a:endParaRPr lang="de-CH"/>
          </a:p>
        </p:txBody>
      </p:sp>
    </p:spTree>
    <p:extLst>
      <p:ext uri="{BB962C8B-B14F-4D97-AF65-F5344CB8AC3E}">
        <p14:creationId xmlns:p14="http://schemas.microsoft.com/office/powerpoint/2010/main" val="28105030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D31909-F4A1-1142-4CAA-0618715E9F56}"/>
              </a:ext>
            </a:extLst>
          </p:cNvPr>
          <p:cNvGraphicFramePr>
            <a:graphicFrameLocks noChangeAspect="1"/>
          </p:cNvGraphicFramePr>
          <p:nvPr>
            <p:custDataLst>
              <p:tags r:id="rId1"/>
            </p:custDataLst>
            <p:extLst>
              <p:ext uri="{D42A27DB-BD31-4B8C-83A1-F6EECF244321}">
                <p14:modId xmlns:p14="http://schemas.microsoft.com/office/powerpoint/2010/main" val="1133304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a:extLst>
                          <a:ext uri="{FF2B5EF4-FFF2-40B4-BE49-F238E27FC236}">
                            <a16:creationId xmlns:a16="http://schemas.microsoft.com/office/drawing/2014/main" id="{63D31909-F4A1-1142-4CAA-0618715E9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2" name="Inhaltsplatzhalter 7">
            <a:extLst>
              <a:ext uri="{FF2B5EF4-FFF2-40B4-BE49-F238E27FC236}">
                <a16:creationId xmlns:a16="http://schemas.microsoft.com/office/drawing/2014/main" id="{A3C7FC8F-A93B-4232-9C69-CD1C4BE5E8DA}"/>
              </a:ext>
            </a:extLst>
          </p:cNvPr>
          <p:cNvGraphicFramePr>
            <a:graphicFrameLocks noGrp="1"/>
          </p:cNvGraphicFramePr>
          <p:nvPr>
            <p:ph sz="quarter" idx="22"/>
            <p:extLst>
              <p:ext uri="{D42A27DB-BD31-4B8C-83A1-F6EECF244321}">
                <p14:modId xmlns:p14="http://schemas.microsoft.com/office/powerpoint/2010/main" val="1759130927"/>
              </p:ext>
            </p:extLst>
          </p:nvPr>
        </p:nvGraphicFramePr>
        <p:xfrm>
          <a:off x="304798" y="1154350"/>
          <a:ext cx="4642329" cy="4863600"/>
        </p:xfrm>
        <a:graphic>
          <a:graphicData uri="http://schemas.openxmlformats.org/drawingml/2006/chart">
            <c:chart xmlns:c="http://schemas.openxmlformats.org/drawingml/2006/chart" xmlns:r="http://schemas.openxmlformats.org/officeDocument/2006/relationships" r:id="rId5"/>
          </a:graphicData>
        </a:graphic>
      </p:graphicFrame>
      <p:sp>
        <p:nvSpPr>
          <p:cNvPr id="5" name="Titel 4">
            <a:extLst>
              <a:ext uri="{FF2B5EF4-FFF2-40B4-BE49-F238E27FC236}">
                <a16:creationId xmlns:a16="http://schemas.microsoft.com/office/drawing/2014/main" id="{32DE6835-2BA5-4907-960B-26860B9E3DE3}"/>
              </a:ext>
            </a:extLst>
          </p:cNvPr>
          <p:cNvSpPr>
            <a:spLocks noGrp="1"/>
          </p:cNvSpPr>
          <p:nvPr>
            <p:ph type="title"/>
          </p:nvPr>
        </p:nvSpPr>
        <p:spPr/>
        <p:txBody>
          <a:bodyPr vert="horz"/>
          <a:lstStyle/>
          <a:p>
            <a:r>
              <a:rPr lang="de-CH" dirty="0"/>
              <a:t>Kaufkriterien von Personen, die CBD in den letzten 12 Monaten genutzt haben</a:t>
            </a:r>
          </a:p>
        </p:txBody>
      </p:sp>
      <p:sp>
        <p:nvSpPr>
          <p:cNvPr id="3" name="Fußzeilenplatzhalter 2">
            <a:extLst>
              <a:ext uri="{FF2B5EF4-FFF2-40B4-BE49-F238E27FC236}">
                <a16:creationId xmlns:a16="http://schemas.microsoft.com/office/drawing/2014/main" id="{EEAA9A00-01CA-433A-84C7-95D45FA98B7F}"/>
              </a:ext>
            </a:extLst>
          </p:cNvPr>
          <p:cNvSpPr>
            <a:spLocks noGrp="1"/>
          </p:cNvSpPr>
          <p:nvPr>
            <p:ph type="ftr" sz="quarter" idx="10"/>
          </p:nvPr>
        </p:nvSpPr>
        <p:spPr/>
        <p:txBody>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8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rPr>
              <a:t>© LINK | CBD Image Studie 2023 | 12485 | Juni 2023</a:t>
            </a:r>
          </a:p>
        </p:txBody>
      </p:sp>
      <p:sp>
        <p:nvSpPr>
          <p:cNvPr id="4" name="Foliennummernplatzhalter 3">
            <a:extLst>
              <a:ext uri="{FF2B5EF4-FFF2-40B4-BE49-F238E27FC236}">
                <a16:creationId xmlns:a16="http://schemas.microsoft.com/office/drawing/2014/main" id="{23749EA7-1EEE-426D-A122-5F4BF08D59E6}"/>
              </a:ext>
            </a:extLst>
          </p:cNvPr>
          <p:cNvSpPr>
            <a:spLocks noGrp="1"/>
          </p:cNvSpPr>
          <p:nvPr>
            <p:ph type="sldNum" sz="quarter" idx="11"/>
          </p:nvPr>
        </p:nvSpPr>
        <p:spPr/>
        <p:txBody>
          <a:bodyPr/>
          <a:lstStyle/>
          <a:p>
            <a:pPr marL="0" marR="0" lvl="0" indent="0" algn="r" defTabSz="768004" rtl="0" eaLnBrk="1" fontAlgn="auto" latinLnBrk="0" hangingPunct="1">
              <a:lnSpc>
                <a:spcPct val="100000"/>
              </a:lnSpc>
              <a:spcBef>
                <a:spcPts val="0"/>
              </a:spcBef>
              <a:spcAft>
                <a:spcPts val="0"/>
              </a:spcAft>
              <a:buClrTx/>
              <a:buSzTx/>
              <a:buFontTx/>
              <a:buNone/>
              <a:tabLst/>
              <a:defRPr/>
            </a:pPr>
            <a:fld id="{3E554A25-EF9F-433F-A2C4-DF94129C44D1}" type="slidenum">
              <a:rPr kumimoji="0" lang="de-CH" sz="900" b="0" i="0" u="none" strike="noStrike" kern="1200" cap="none" spc="0" normalizeH="0" baseline="0" noProof="0" smtClean="0">
                <a:ln>
                  <a:noFill/>
                </a:ln>
                <a:solidFill>
                  <a:srgbClr val="4D514E"/>
                </a:solidFill>
                <a:effectLst/>
                <a:uLnTx/>
                <a:uFillTx/>
                <a:latin typeface="Arial" panose="020B0604020202020204" pitchFamily="34" charset="0"/>
                <a:ea typeface="+mn-ea"/>
                <a:cs typeface="Arial" panose="020B0604020202020204" pitchFamily="34" charset="0"/>
              </a:rPr>
              <a:pPr marL="0" marR="0" lvl="0" indent="0" algn="r" defTabSz="768004" rtl="0" eaLnBrk="1" fontAlgn="auto" latinLnBrk="0" hangingPunct="1">
                <a:lnSpc>
                  <a:spcPct val="100000"/>
                </a:lnSpc>
                <a:spcBef>
                  <a:spcPts val="0"/>
                </a:spcBef>
                <a:spcAft>
                  <a:spcPts val="0"/>
                </a:spcAft>
                <a:buClrTx/>
                <a:buSzTx/>
                <a:buFontTx/>
                <a:buNone/>
                <a:tabLst/>
                <a:defRPr/>
              </a:pPr>
              <a:t>13</a:t>
            </a:fld>
            <a:endParaRPr kumimoji="0" lang="de-CH" sz="9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endParaRPr>
          </a:p>
        </p:txBody>
      </p:sp>
      <p:sp>
        <p:nvSpPr>
          <p:cNvPr id="12" name="Inhaltsplatzhalter 11">
            <a:extLst>
              <a:ext uri="{FF2B5EF4-FFF2-40B4-BE49-F238E27FC236}">
                <a16:creationId xmlns:a16="http://schemas.microsoft.com/office/drawing/2014/main" id="{CA6F02A4-D978-41C9-9C79-EEA6C42D7CCB}"/>
              </a:ext>
            </a:extLst>
          </p:cNvPr>
          <p:cNvSpPr>
            <a:spLocks noGrp="1"/>
          </p:cNvSpPr>
          <p:nvPr>
            <p:ph sz="quarter" idx="14"/>
          </p:nvPr>
        </p:nvSpPr>
        <p:spPr/>
        <p:txBody>
          <a:bodyPr>
            <a:noAutofit/>
          </a:bodyPr>
          <a:lstStyle/>
          <a:p>
            <a:pPr>
              <a:lnSpc>
                <a:spcPct val="100000"/>
              </a:lnSpc>
            </a:pPr>
            <a:r>
              <a:rPr lang="de-CH" dirty="0"/>
              <a:t>F320: </a:t>
            </a:r>
            <a:r>
              <a:rPr lang="de-DE" dirty="0"/>
              <a:t>Welche der folgenden Kaufkriterien sind für Sie beim Kauf von frei erhältlichen CBD-Produkten besonders wichtig?  </a:t>
            </a:r>
            <a:endParaRPr lang="de-CH" dirty="0"/>
          </a:p>
          <a:p>
            <a:pPr>
              <a:lnSpc>
                <a:spcPct val="100000"/>
              </a:lnSpc>
            </a:pPr>
            <a:r>
              <a:rPr lang="de-CH" dirty="0"/>
              <a:t>Basis: n=[ ] | Filter: Haben in den letzten 12 Monaten CBD genutzt | Halboffene Frage | *Kleine Basis n&lt;50; **sehr kleine Basis n&lt;30</a:t>
            </a:r>
            <a:br>
              <a:rPr lang="de-CH" dirty="0"/>
            </a:br>
            <a:r>
              <a:rPr lang="de-DE" dirty="0"/>
              <a:t>Die hinter den Wert gesetzten Buchstaben bedeuten einen signifikanten Unterschied (95% Niveau) im Vergleich zu den jeweiligen Gruppen, für die die Buchstaben stellvertretend stehen.</a:t>
            </a:r>
            <a:endParaRPr lang="de-CH" dirty="0"/>
          </a:p>
        </p:txBody>
      </p:sp>
      <p:graphicFrame>
        <p:nvGraphicFramePr>
          <p:cNvPr id="25" name="Inhaltsplatzhalter 7">
            <a:extLst>
              <a:ext uri="{FF2B5EF4-FFF2-40B4-BE49-F238E27FC236}">
                <a16:creationId xmlns:a16="http://schemas.microsoft.com/office/drawing/2014/main" id="{1440A966-AD3C-25F4-1046-B6FAA5001C33}"/>
              </a:ext>
            </a:extLst>
          </p:cNvPr>
          <p:cNvGraphicFramePr>
            <a:graphicFrameLocks/>
          </p:cNvGraphicFramePr>
          <p:nvPr>
            <p:extLst>
              <p:ext uri="{D42A27DB-BD31-4B8C-83A1-F6EECF244321}">
                <p14:modId xmlns:p14="http://schemas.microsoft.com/office/powerpoint/2010/main" val="3314077784"/>
              </p:ext>
            </p:extLst>
          </p:nvPr>
        </p:nvGraphicFramePr>
        <p:xfrm>
          <a:off x="4178521" y="1154350"/>
          <a:ext cx="2829526" cy="48636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1" name="Inhaltsplatzhalter 7">
            <a:extLst>
              <a:ext uri="{FF2B5EF4-FFF2-40B4-BE49-F238E27FC236}">
                <a16:creationId xmlns:a16="http://schemas.microsoft.com/office/drawing/2014/main" id="{DDD2DDA6-3F9B-6616-7EB2-35B7DE6DD733}"/>
              </a:ext>
            </a:extLst>
          </p:cNvPr>
          <p:cNvGraphicFramePr>
            <a:graphicFrameLocks/>
          </p:cNvGraphicFramePr>
          <p:nvPr>
            <p:extLst>
              <p:ext uri="{D42A27DB-BD31-4B8C-83A1-F6EECF244321}">
                <p14:modId xmlns:p14="http://schemas.microsoft.com/office/powerpoint/2010/main" val="520351635"/>
              </p:ext>
            </p:extLst>
          </p:nvPr>
        </p:nvGraphicFramePr>
        <p:xfrm>
          <a:off x="7019327" y="1154350"/>
          <a:ext cx="2829526" cy="48636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8" name="Inhaltsplatzhalter 7">
            <a:extLst>
              <a:ext uri="{FF2B5EF4-FFF2-40B4-BE49-F238E27FC236}">
                <a16:creationId xmlns:a16="http://schemas.microsoft.com/office/drawing/2014/main" id="{D4E0DF3A-5CF2-B3BD-31D9-609AC7CF8A19}"/>
              </a:ext>
            </a:extLst>
          </p:cNvPr>
          <p:cNvGraphicFramePr>
            <a:graphicFrameLocks/>
          </p:cNvGraphicFramePr>
          <p:nvPr>
            <p:extLst>
              <p:ext uri="{D42A27DB-BD31-4B8C-83A1-F6EECF244321}">
                <p14:modId xmlns:p14="http://schemas.microsoft.com/office/powerpoint/2010/main" val="3206558127"/>
              </p:ext>
            </p:extLst>
          </p:nvPr>
        </p:nvGraphicFramePr>
        <p:xfrm>
          <a:off x="9181919" y="1154350"/>
          <a:ext cx="2829526" cy="4863600"/>
        </p:xfrm>
        <a:graphic>
          <a:graphicData uri="http://schemas.openxmlformats.org/drawingml/2006/chart">
            <c:chart xmlns:c="http://schemas.openxmlformats.org/drawingml/2006/chart" xmlns:r="http://schemas.openxmlformats.org/officeDocument/2006/relationships" r:id="rId8"/>
          </a:graphicData>
        </a:graphic>
      </p:graphicFrame>
      <p:sp>
        <p:nvSpPr>
          <p:cNvPr id="8" name="Textfeld 7">
            <a:extLst>
              <a:ext uri="{FF2B5EF4-FFF2-40B4-BE49-F238E27FC236}">
                <a16:creationId xmlns:a16="http://schemas.microsoft.com/office/drawing/2014/main" id="{A198905C-B63F-3A33-A026-844D5CC95850}"/>
              </a:ext>
            </a:extLst>
          </p:cNvPr>
          <p:cNvSpPr txBox="1"/>
          <p:nvPr/>
        </p:nvSpPr>
        <p:spPr>
          <a:xfrm>
            <a:off x="2343147" y="1331239"/>
            <a:ext cx="741998"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Total </a:t>
            </a:r>
            <a:r>
              <a:rPr kumimoji="0" lang="en-US" sz="1200" b="0" i="0" u="none" strike="noStrike" kern="1200" cap="none" spc="0" normalizeH="0" baseline="0" noProof="0" dirty="0">
                <a:ln>
                  <a:noFill/>
                </a:ln>
                <a:solidFill>
                  <a:srgbClr val="000000"/>
                </a:solidFill>
                <a:effectLst/>
                <a:uLnTx/>
                <a:uFillTx/>
                <a:latin typeface="Arial"/>
                <a:ea typeface="+mn-ea"/>
                <a:cs typeface="+mn-cs"/>
              </a:rPr>
              <a:t>[222]</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Textfeld 23">
            <a:extLst>
              <a:ext uri="{FF2B5EF4-FFF2-40B4-BE49-F238E27FC236}">
                <a16:creationId xmlns:a16="http://schemas.microsoft.com/office/drawing/2014/main" id="{3DE1C169-A033-E868-AEA2-F4DFDD1247E9}"/>
              </a:ext>
            </a:extLst>
          </p:cNvPr>
          <p:cNvSpPr txBox="1"/>
          <p:nvPr/>
        </p:nvSpPr>
        <p:spPr>
          <a:xfrm>
            <a:off x="5239516" y="1328156"/>
            <a:ext cx="743658" cy="177189"/>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Geschlecht</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feld 23">
            <a:extLst>
              <a:ext uri="{FF2B5EF4-FFF2-40B4-BE49-F238E27FC236}">
                <a16:creationId xmlns:a16="http://schemas.microsoft.com/office/drawing/2014/main" id="{E2F5C530-7A0B-C15F-9A53-D3944608E2F4}"/>
              </a:ext>
            </a:extLst>
          </p:cNvPr>
          <p:cNvSpPr txBox="1"/>
          <p:nvPr/>
        </p:nvSpPr>
        <p:spPr>
          <a:xfrm>
            <a:off x="7533857" y="1328156"/>
            <a:ext cx="349455"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Alter</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feld 23">
            <a:extLst>
              <a:ext uri="{FF2B5EF4-FFF2-40B4-BE49-F238E27FC236}">
                <a16:creationId xmlns:a16="http://schemas.microsoft.com/office/drawing/2014/main" id="{419A8840-661D-27CA-263F-407BBF905BCC}"/>
              </a:ext>
            </a:extLst>
          </p:cNvPr>
          <p:cNvSpPr txBox="1"/>
          <p:nvPr/>
        </p:nvSpPr>
        <p:spPr>
          <a:xfrm>
            <a:off x="9918402" y="1328156"/>
            <a:ext cx="522579"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Region</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extfeld 8">
            <a:extLst>
              <a:ext uri="{FF2B5EF4-FFF2-40B4-BE49-F238E27FC236}">
                <a16:creationId xmlns:a16="http://schemas.microsoft.com/office/drawing/2014/main" id="{0EC61C5C-44CB-C4CD-5CDD-3B6F71B5DA8E}"/>
              </a:ext>
            </a:extLst>
          </p:cNvPr>
          <p:cNvSpPr txBox="1"/>
          <p:nvPr/>
        </p:nvSpPr>
        <p:spPr>
          <a:xfrm>
            <a:off x="7289961" y="2505149"/>
            <a:ext cx="1471343" cy="430887"/>
          </a:xfrm>
          <a:prstGeom prst="rect">
            <a:avLst/>
          </a:prstGeom>
          <a:noFill/>
          <a:ln>
            <a:solidFill>
              <a:schemeClr val="accent2"/>
            </a:solidFill>
          </a:ln>
        </p:spPr>
        <p:txBody>
          <a:bodyPr wrap="square" lIns="0" tIns="0" rIns="0" bIns="0" rtlCol="0">
            <a:spAutoFit/>
          </a:bodyPr>
          <a:lstStyle/>
          <a:p>
            <a:pPr algn="l"/>
            <a:endParaRPr lang="de-CH" sz="1400" dirty="0"/>
          </a:p>
          <a:p>
            <a:pPr algn="l"/>
            <a:endParaRPr lang="de-CH" sz="1400" dirty="0"/>
          </a:p>
        </p:txBody>
      </p:sp>
      <p:sp>
        <p:nvSpPr>
          <p:cNvPr id="20" name="Textfeld 19">
            <a:extLst>
              <a:ext uri="{FF2B5EF4-FFF2-40B4-BE49-F238E27FC236}">
                <a16:creationId xmlns:a16="http://schemas.microsoft.com/office/drawing/2014/main" id="{05A45D5A-1B3D-3B34-1B2A-3259C441279C}"/>
              </a:ext>
            </a:extLst>
          </p:cNvPr>
          <p:cNvSpPr txBox="1"/>
          <p:nvPr/>
        </p:nvSpPr>
        <p:spPr>
          <a:xfrm>
            <a:off x="7289961" y="1591778"/>
            <a:ext cx="1471343" cy="430887"/>
          </a:xfrm>
          <a:prstGeom prst="rect">
            <a:avLst/>
          </a:prstGeom>
          <a:noFill/>
          <a:ln>
            <a:solidFill>
              <a:schemeClr val="accent2"/>
            </a:solidFill>
          </a:ln>
        </p:spPr>
        <p:txBody>
          <a:bodyPr wrap="square" lIns="0" tIns="0" rIns="0" bIns="0" rtlCol="0">
            <a:spAutoFit/>
          </a:bodyPr>
          <a:lstStyle/>
          <a:p>
            <a:pPr algn="l"/>
            <a:endParaRPr lang="de-CH" sz="1400" dirty="0"/>
          </a:p>
          <a:p>
            <a:pPr algn="l"/>
            <a:endParaRPr lang="de-CH" sz="1400" dirty="0"/>
          </a:p>
        </p:txBody>
      </p:sp>
      <p:sp>
        <p:nvSpPr>
          <p:cNvPr id="24" name="Textplatzhalter 23">
            <a:extLst>
              <a:ext uri="{FF2B5EF4-FFF2-40B4-BE49-F238E27FC236}">
                <a16:creationId xmlns:a16="http://schemas.microsoft.com/office/drawing/2014/main" id="{CD0A8BD2-ECFA-70DC-442C-A67F1F91347F}"/>
              </a:ext>
            </a:extLst>
          </p:cNvPr>
          <p:cNvSpPr>
            <a:spLocks noGrp="1"/>
          </p:cNvSpPr>
          <p:nvPr>
            <p:ph type="body" sz="quarter" idx="26"/>
          </p:nvPr>
        </p:nvSpPr>
        <p:spPr/>
        <p:txBody>
          <a:bodyPr/>
          <a:lstStyle/>
          <a:p>
            <a:endParaRPr lang="de-CH" dirty="0"/>
          </a:p>
        </p:txBody>
      </p:sp>
    </p:spTree>
    <p:extLst>
      <p:ext uri="{BB962C8B-B14F-4D97-AF65-F5344CB8AC3E}">
        <p14:creationId xmlns:p14="http://schemas.microsoft.com/office/powerpoint/2010/main" val="17927296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D31909-F4A1-1142-4CAA-0618715E9F56}"/>
              </a:ext>
            </a:extLst>
          </p:cNvPr>
          <p:cNvGraphicFramePr>
            <a:graphicFrameLocks noChangeAspect="1"/>
          </p:cNvGraphicFramePr>
          <p:nvPr>
            <p:custDataLst>
              <p:tags r:id="rId1"/>
            </p:custDataLst>
            <p:extLst>
              <p:ext uri="{D42A27DB-BD31-4B8C-83A1-F6EECF244321}">
                <p14:modId xmlns:p14="http://schemas.microsoft.com/office/powerpoint/2010/main" val="1528026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a:extLst>
                          <a:ext uri="{FF2B5EF4-FFF2-40B4-BE49-F238E27FC236}">
                            <a16:creationId xmlns:a16="http://schemas.microsoft.com/office/drawing/2014/main" id="{63D31909-F4A1-1142-4CAA-0618715E9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2" name="Inhaltsplatzhalter 7">
            <a:extLst>
              <a:ext uri="{FF2B5EF4-FFF2-40B4-BE49-F238E27FC236}">
                <a16:creationId xmlns:a16="http://schemas.microsoft.com/office/drawing/2014/main" id="{A3C7FC8F-A93B-4232-9C69-CD1C4BE5E8DA}"/>
              </a:ext>
            </a:extLst>
          </p:cNvPr>
          <p:cNvGraphicFramePr>
            <a:graphicFrameLocks noGrp="1"/>
          </p:cNvGraphicFramePr>
          <p:nvPr>
            <p:ph sz="quarter" idx="22"/>
            <p:extLst>
              <p:ext uri="{D42A27DB-BD31-4B8C-83A1-F6EECF244321}">
                <p14:modId xmlns:p14="http://schemas.microsoft.com/office/powerpoint/2010/main" val="3656807264"/>
              </p:ext>
            </p:extLst>
          </p:nvPr>
        </p:nvGraphicFramePr>
        <p:xfrm>
          <a:off x="386279" y="1154349"/>
          <a:ext cx="4642329" cy="4863600"/>
        </p:xfrm>
        <a:graphic>
          <a:graphicData uri="http://schemas.openxmlformats.org/drawingml/2006/chart">
            <c:chart xmlns:c="http://schemas.openxmlformats.org/drawingml/2006/chart" xmlns:r="http://schemas.openxmlformats.org/officeDocument/2006/relationships" r:id="rId5"/>
          </a:graphicData>
        </a:graphic>
      </p:graphicFrame>
      <p:sp>
        <p:nvSpPr>
          <p:cNvPr id="5" name="Titel 4">
            <a:extLst>
              <a:ext uri="{FF2B5EF4-FFF2-40B4-BE49-F238E27FC236}">
                <a16:creationId xmlns:a16="http://schemas.microsoft.com/office/drawing/2014/main" id="{32DE6835-2BA5-4907-960B-26860B9E3DE3}"/>
              </a:ext>
            </a:extLst>
          </p:cNvPr>
          <p:cNvSpPr>
            <a:spLocks noGrp="1"/>
          </p:cNvSpPr>
          <p:nvPr>
            <p:ph type="title"/>
          </p:nvPr>
        </p:nvSpPr>
        <p:spPr/>
        <p:txBody>
          <a:bodyPr vert="horz"/>
          <a:lstStyle/>
          <a:p>
            <a:r>
              <a:rPr lang="de-CH" dirty="0"/>
              <a:t>Kaufauslöser</a:t>
            </a:r>
          </a:p>
        </p:txBody>
      </p:sp>
      <p:sp>
        <p:nvSpPr>
          <p:cNvPr id="3" name="Fußzeilenplatzhalter 2">
            <a:extLst>
              <a:ext uri="{FF2B5EF4-FFF2-40B4-BE49-F238E27FC236}">
                <a16:creationId xmlns:a16="http://schemas.microsoft.com/office/drawing/2014/main" id="{EEAA9A00-01CA-433A-84C7-95D45FA98B7F}"/>
              </a:ext>
            </a:extLst>
          </p:cNvPr>
          <p:cNvSpPr>
            <a:spLocks noGrp="1"/>
          </p:cNvSpPr>
          <p:nvPr>
            <p:ph type="ftr" sz="quarter" idx="10"/>
          </p:nvPr>
        </p:nvSpPr>
        <p:spPr/>
        <p:txBody>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8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rPr>
              <a:t>© LINK | CBD Image Studie 2023 | 12485 | Juni 2023</a:t>
            </a:r>
          </a:p>
        </p:txBody>
      </p:sp>
      <p:sp>
        <p:nvSpPr>
          <p:cNvPr id="4" name="Foliennummernplatzhalter 3">
            <a:extLst>
              <a:ext uri="{FF2B5EF4-FFF2-40B4-BE49-F238E27FC236}">
                <a16:creationId xmlns:a16="http://schemas.microsoft.com/office/drawing/2014/main" id="{23749EA7-1EEE-426D-A122-5F4BF08D59E6}"/>
              </a:ext>
            </a:extLst>
          </p:cNvPr>
          <p:cNvSpPr>
            <a:spLocks noGrp="1"/>
          </p:cNvSpPr>
          <p:nvPr>
            <p:ph type="sldNum" sz="quarter" idx="11"/>
          </p:nvPr>
        </p:nvSpPr>
        <p:spPr/>
        <p:txBody>
          <a:bodyPr/>
          <a:lstStyle/>
          <a:p>
            <a:pPr marL="0" marR="0" lvl="0" indent="0" algn="r" defTabSz="768004" rtl="0" eaLnBrk="1" fontAlgn="auto" latinLnBrk="0" hangingPunct="1">
              <a:lnSpc>
                <a:spcPct val="100000"/>
              </a:lnSpc>
              <a:spcBef>
                <a:spcPts val="0"/>
              </a:spcBef>
              <a:spcAft>
                <a:spcPts val="0"/>
              </a:spcAft>
              <a:buClrTx/>
              <a:buSzTx/>
              <a:buFontTx/>
              <a:buNone/>
              <a:tabLst/>
              <a:defRPr/>
            </a:pPr>
            <a:fld id="{3E554A25-EF9F-433F-A2C4-DF94129C44D1}" type="slidenum">
              <a:rPr kumimoji="0" lang="de-CH" sz="900" b="0" i="0" u="none" strike="noStrike" kern="1200" cap="none" spc="0" normalizeH="0" baseline="0" noProof="0" smtClean="0">
                <a:ln>
                  <a:noFill/>
                </a:ln>
                <a:solidFill>
                  <a:srgbClr val="4D514E"/>
                </a:solidFill>
                <a:effectLst/>
                <a:uLnTx/>
                <a:uFillTx/>
                <a:latin typeface="Arial" panose="020B0604020202020204" pitchFamily="34" charset="0"/>
                <a:ea typeface="+mn-ea"/>
                <a:cs typeface="Arial" panose="020B0604020202020204" pitchFamily="34" charset="0"/>
              </a:rPr>
              <a:pPr marL="0" marR="0" lvl="0" indent="0" algn="r" defTabSz="768004" rtl="0" eaLnBrk="1" fontAlgn="auto" latinLnBrk="0" hangingPunct="1">
                <a:lnSpc>
                  <a:spcPct val="100000"/>
                </a:lnSpc>
                <a:spcBef>
                  <a:spcPts val="0"/>
                </a:spcBef>
                <a:spcAft>
                  <a:spcPts val="0"/>
                </a:spcAft>
                <a:buClrTx/>
                <a:buSzTx/>
                <a:buFontTx/>
                <a:buNone/>
                <a:tabLst/>
                <a:defRPr/>
              </a:pPr>
              <a:t>14</a:t>
            </a:fld>
            <a:endParaRPr kumimoji="0" lang="de-CH" sz="9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endParaRPr>
          </a:p>
        </p:txBody>
      </p:sp>
      <p:sp>
        <p:nvSpPr>
          <p:cNvPr id="12" name="Inhaltsplatzhalter 11">
            <a:extLst>
              <a:ext uri="{FF2B5EF4-FFF2-40B4-BE49-F238E27FC236}">
                <a16:creationId xmlns:a16="http://schemas.microsoft.com/office/drawing/2014/main" id="{CA6F02A4-D978-41C9-9C79-EEA6C42D7CCB}"/>
              </a:ext>
            </a:extLst>
          </p:cNvPr>
          <p:cNvSpPr>
            <a:spLocks noGrp="1"/>
          </p:cNvSpPr>
          <p:nvPr>
            <p:ph sz="quarter" idx="14"/>
          </p:nvPr>
        </p:nvSpPr>
        <p:spPr/>
        <p:txBody>
          <a:bodyPr>
            <a:noAutofit/>
          </a:bodyPr>
          <a:lstStyle/>
          <a:p>
            <a:pPr>
              <a:lnSpc>
                <a:spcPct val="100000"/>
              </a:lnSpc>
            </a:pPr>
            <a:r>
              <a:rPr lang="en-US" dirty="0"/>
              <a:t>| F130: </a:t>
            </a:r>
            <a:r>
              <a:rPr lang="de-DE" dirty="0"/>
              <a:t>Wie sind Sie auf frei erhältliche CBD-Produkte aufmerksam geworden?</a:t>
            </a:r>
            <a:endParaRPr lang="de-CH" dirty="0"/>
          </a:p>
          <a:p>
            <a:pPr>
              <a:lnSpc>
                <a:spcPct val="100000"/>
              </a:lnSpc>
            </a:pPr>
            <a:r>
              <a:rPr lang="de-CH" dirty="0"/>
              <a:t>Basis: n=[ ] | Filter: Nutzen oder haben CBD Produkte genutzt | Geschlossene Frage (F330) &amp; halboffene Frage (F130) | *Kleine Basis n&lt;50</a:t>
            </a:r>
            <a:br>
              <a:rPr lang="de-CH" dirty="0"/>
            </a:br>
            <a:r>
              <a:rPr lang="de-DE" dirty="0"/>
              <a:t>Die hinter den Wert gesetzten Buchstaben bedeuten einen signifikanten Unterschied (95% Niveau) im Vergleich zu den jeweiligen Gruppen, für die die Buchstaben stellvertretend stehen.</a:t>
            </a:r>
            <a:endParaRPr lang="de-CH" dirty="0"/>
          </a:p>
        </p:txBody>
      </p:sp>
      <p:graphicFrame>
        <p:nvGraphicFramePr>
          <p:cNvPr id="25" name="Inhaltsplatzhalter 7">
            <a:extLst>
              <a:ext uri="{FF2B5EF4-FFF2-40B4-BE49-F238E27FC236}">
                <a16:creationId xmlns:a16="http://schemas.microsoft.com/office/drawing/2014/main" id="{1440A966-AD3C-25F4-1046-B6FAA5001C33}"/>
              </a:ext>
            </a:extLst>
          </p:cNvPr>
          <p:cNvGraphicFramePr>
            <a:graphicFrameLocks/>
          </p:cNvGraphicFramePr>
          <p:nvPr>
            <p:extLst>
              <p:ext uri="{D42A27DB-BD31-4B8C-83A1-F6EECF244321}">
                <p14:modId xmlns:p14="http://schemas.microsoft.com/office/powerpoint/2010/main" val="2991056248"/>
              </p:ext>
            </p:extLst>
          </p:nvPr>
        </p:nvGraphicFramePr>
        <p:xfrm>
          <a:off x="4260002" y="1154349"/>
          <a:ext cx="2829526" cy="48636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1" name="Inhaltsplatzhalter 7">
            <a:extLst>
              <a:ext uri="{FF2B5EF4-FFF2-40B4-BE49-F238E27FC236}">
                <a16:creationId xmlns:a16="http://schemas.microsoft.com/office/drawing/2014/main" id="{DDD2DDA6-3F9B-6616-7EB2-35B7DE6DD733}"/>
              </a:ext>
            </a:extLst>
          </p:cNvPr>
          <p:cNvGraphicFramePr>
            <a:graphicFrameLocks/>
          </p:cNvGraphicFramePr>
          <p:nvPr>
            <p:extLst>
              <p:ext uri="{D42A27DB-BD31-4B8C-83A1-F6EECF244321}">
                <p14:modId xmlns:p14="http://schemas.microsoft.com/office/powerpoint/2010/main" val="2937213505"/>
              </p:ext>
            </p:extLst>
          </p:nvPr>
        </p:nvGraphicFramePr>
        <p:xfrm>
          <a:off x="7100808" y="1154349"/>
          <a:ext cx="2829526" cy="48636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8" name="Inhaltsplatzhalter 7">
            <a:extLst>
              <a:ext uri="{FF2B5EF4-FFF2-40B4-BE49-F238E27FC236}">
                <a16:creationId xmlns:a16="http://schemas.microsoft.com/office/drawing/2014/main" id="{D4E0DF3A-5CF2-B3BD-31D9-609AC7CF8A19}"/>
              </a:ext>
            </a:extLst>
          </p:cNvPr>
          <p:cNvGraphicFramePr>
            <a:graphicFrameLocks/>
          </p:cNvGraphicFramePr>
          <p:nvPr>
            <p:extLst>
              <p:ext uri="{D42A27DB-BD31-4B8C-83A1-F6EECF244321}">
                <p14:modId xmlns:p14="http://schemas.microsoft.com/office/powerpoint/2010/main" val="3428419156"/>
              </p:ext>
            </p:extLst>
          </p:nvPr>
        </p:nvGraphicFramePr>
        <p:xfrm>
          <a:off x="9181919" y="1154349"/>
          <a:ext cx="2829526" cy="4863600"/>
        </p:xfrm>
        <a:graphic>
          <a:graphicData uri="http://schemas.openxmlformats.org/drawingml/2006/chart">
            <c:chart xmlns:c="http://schemas.openxmlformats.org/drawingml/2006/chart" xmlns:r="http://schemas.openxmlformats.org/officeDocument/2006/relationships" r:id="rId8"/>
          </a:graphicData>
        </a:graphic>
      </p:graphicFrame>
      <p:sp>
        <p:nvSpPr>
          <p:cNvPr id="7" name="Textfeld 6">
            <a:extLst>
              <a:ext uri="{FF2B5EF4-FFF2-40B4-BE49-F238E27FC236}">
                <a16:creationId xmlns:a16="http://schemas.microsoft.com/office/drawing/2014/main" id="{AAC4E9EF-2DA8-57D0-F2A4-14E03269F0C9}"/>
              </a:ext>
            </a:extLst>
          </p:cNvPr>
          <p:cNvSpPr txBox="1"/>
          <p:nvPr/>
        </p:nvSpPr>
        <p:spPr>
          <a:xfrm>
            <a:off x="3234296" y="1331239"/>
            <a:ext cx="741998"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Total </a:t>
            </a:r>
            <a:r>
              <a:rPr kumimoji="0" lang="en-US" sz="1200" b="0" i="0" u="none" strike="noStrike" kern="1200" cap="none" spc="0" normalizeH="0" baseline="0" noProof="0" dirty="0">
                <a:ln>
                  <a:noFill/>
                </a:ln>
                <a:solidFill>
                  <a:srgbClr val="000000"/>
                </a:solidFill>
                <a:effectLst/>
                <a:uLnTx/>
                <a:uFillTx/>
                <a:latin typeface="Arial"/>
                <a:ea typeface="+mn-ea"/>
                <a:cs typeface="+mn-cs"/>
              </a:rPr>
              <a:t>[406]</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feld 23">
            <a:extLst>
              <a:ext uri="{FF2B5EF4-FFF2-40B4-BE49-F238E27FC236}">
                <a16:creationId xmlns:a16="http://schemas.microsoft.com/office/drawing/2014/main" id="{0B7F0948-EF5B-C284-B7B7-515E80D6500F}"/>
              </a:ext>
            </a:extLst>
          </p:cNvPr>
          <p:cNvSpPr txBox="1"/>
          <p:nvPr/>
        </p:nvSpPr>
        <p:spPr>
          <a:xfrm>
            <a:off x="5348002" y="1328156"/>
            <a:ext cx="743658" cy="177189"/>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Geschlecht</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Textfeld 23">
            <a:extLst>
              <a:ext uri="{FF2B5EF4-FFF2-40B4-BE49-F238E27FC236}">
                <a16:creationId xmlns:a16="http://schemas.microsoft.com/office/drawing/2014/main" id="{28EFF1F4-839E-492F-DA22-E1D68F4EC883}"/>
              </a:ext>
            </a:extLst>
          </p:cNvPr>
          <p:cNvSpPr txBox="1"/>
          <p:nvPr/>
        </p:nvSpPr>
        <p:spPr>
          <a:xfrm>
            <a:off x="7595849" y="1328156"/>
            <a:ext cx="349455"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Alter</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Textfeld 23">
            <a:extLst>
              <a:ext uri="{FF2B5EF4-FFF2-40B4-BE49-F238E27FC236}">
                <a16:creationId xmlns:a16="http://schemas.microsoft.com/office/drawing/2014/main" id="{DD914997-3CF9-8D20-10AE-DD9FA14CCEE9}"/>
              </a:ext>
            </a:extLst>
          </p:cNvPr>
          <p:cNvSpPr txBox="1"/>
          <p:nvPr/>
        </p:nvSpPr>
        <p:spPr>
          <a:xfrm>
            <a:off x="9910653" y="1328156"/>
            <a:ext cx="522579"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Region</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extfeld 8">
            <a:extLst>
              <a:ext uri="{FF2B5EF4-FFF2-40B4-BE49-F238E27FC236}">
                <a16:creationId xmlns:a16="http://schemas.microsoft.com/office/drawing/2014/main" id="{357225AF-D0FC-A573-B8C0-41D196FE123E}"/>
              </a:ext>
            </a:extLst>
          </p:cNvPr>
          <p:cNvSpPr txBox="1"/>
          <p:nvPr/>
        </p:nvSpPr>
        <p:spPr>
          <a:xfrm>
            <a:off x="7289961" y="2505149"/>
            <a:ext cx="1471343" cy="430887"/>
          </a:xfrm>
          <a:prstGeom prst="rect">
            <a:avLst/>
          </a:prstGeom>
          <a:noFill/>
          <a:ln>
            <a:solidFill>
              <a:schemeClr val="accent2"/>
            </a:solidFill>
          </a:ln>
        </p:spPr>
        <p:txBody>
          <a:bodyPr wrap="square" lIns="0" tIns="0" rIns="0" bIns="0" rtlCol="0">
            <a:spAutoFit/>
          </a:bodyPr>
          <a:lstStyle/>
          <a:p>
            <a:pPr algn="l"/>
            <a:endParaRPr lang="de-CH" sz="1400" dirty="0"/>
          </a:p>
          <a:p>
            <a:pPr algn="l"/>
            <a:endParaRPr lang="de-CH" sz="1400" dirty="0"/>
          </a:p>
        </p:txBody>
      </p:sp>
      <p:sp>
        <p:nvSpPr>
          <p:cNvPr id="38" name="Textplatzhalter 37">
            <a:extLst>
              <a:ext uri="{FF2B5EF4-FFF2-40B4-BE49-F238E27FC236}">
                <a16:creationId xmlns:a16="http://schemas.microsoft.com/office/drawing/2014/main" id="{3892B45F-DD1E-F49D-5153-A7B2C7563BD3}"/>
              </a:ext>
            </a:extLst>
          </p:cNvPr>
          <p:cNvSpPr>
            <a:spLocks noGrp="1"/>
          </p:cNvSpPr>
          <p:nvPr>
            <p:ph type="body" sz="quarter" idx="26"/>
          </p:nvPr>
        </p:nvSpPr>
        <p:spPr/>
        <p:txBody>
          <a:bodyPr/>
          <a:lstStyle/>
          <a:p>
            <a:endParaRPr lang="de-CH"/>
          </a:p>
        </p:txBody>
      </p:sp>
    </p:spTree>
    <p:extLst>
      <p:ext uri="{BB962C8B-B14F-4D97-AF65-F5344CB8AC3E}">
        <p14:creationId xmlns:p14="http://schemas.microsoft.com/office/powerpoint/2010/main" val="11792116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3A3389-F30C-D3E0-0E99-61C0DA77729E}"/>
              </a:ext>
            </a:extLst>
          </p:cNvPr>
          <p:cNvGraphicFramePr>
            <a:graphicFrameLocks noChangeAspect="1"/>
          </p:cNvGraphicFramePr>
          <p:nvPr>
            <p:custDataLst>
              <p:tags r:id="rId1"/>
            </p:custDataLst>
            <p:extLst>
              <p:ext uri="{D42A27DB-BD31-4B8C-83A1-F6EECF244321}">
                <p14:modId xmlns:p14="http://schemas.microsoft.com/office/powerpoint/2010/main" val="2347677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12" name="Object 11" hidden="1">
                        <a:extLst>
                          <a:ext uri="{FF2B5EF4-FFF2-40B4-BE49-F238E27FC236}">
                            <a16:creationId xmlns:a16="http://schemas.microsoft.com/office/drawing/2014/main" id="{5C3A3389-F30C-D3E0-0E99-61C0DA7772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BE7892E-8464-4AF5-BAA4-3DF368ABB83C}"/>
              </a:ext>
            </a:extLst>
          </p:cNvPr>
          <p:cNvSpPr>
            <a:spLocks noGrp="1"/>
          </p:cNvSpPr>
          <p:nvPr>
            <p:ph type="body" sz="quarter" idx="14"/>
          </p:nvPr>
        </p:nvSpPr>
        <p:spPr/>
        <p:txBody>
          <a:bodyPr/>
          <a:lstStyle/>
          <a:p>
            <a:r>
              <a:rPr lang="de-CH" dirty="0"/>
              <a:t>4</a:t>
            </a:r>
          </a:p>
        </p:txBody>
      </p:sp>
      <p:sp>
        <p:nvSpPr>
          <p:cNvPr id="5" name="Title 4">
            <a:extLst>
              <a:ext uri="{FF2B5EF4-FFF2-40B4-BE49-F238E27FC236}">
                <a16:creationId xmlns:a16="http://schemas.microsoft.com/office/drawing/2014/main" id="{4EF865F6-91D8-2744-9F66-579D7BA99771}"/>
              </a:ext>
            </a:extLst>
          </p:cNvPr>
          <p:cNvSpPr>
            <a:spLocks noGrp="1"/>
          </p:cNvSpPr>
          <p:nvPr>
            <p:ph type="title"/>
          </p:nvPr>
        </p:nvSpPr>
        <p:spPr/>
        <p:txBody>
          <a:bodyPr vert="horz"/>
          <a:lstStyle/>
          <a:p>
            <a:r>
              <a:rPr lang="de-CH" noProof="0" dirty="0"/>
              <a:t>Appendix</a:t>
            </a:r>
          </a:p>
        </p:txBody>
      </p:sp>
      <p:sp>
        <p:nvSpPr>
          <p:cNvPr id="9" name="Textplatzhalter 8">
            <a:extLst>
              <a:ext uri="{FF2B5EF4-FFF2-40B4-BE49-F238E27FC236}">
                <a16:creationId xmlns:a16="http://schemas.microsoft.com/office/drawing/2014/main" id="{DB23B5F9-7395-21DA-4F30-C73021CCBCF5}"/>
              </a:ext>
            </a:extLst>
          </p:cNvPr>
          <p:cNvSpPr>
            <a:spLocks noGrp="1"/>
          </p:cNvSpPr>
          <p:nvPr>
            <p:ph type="body" sz="quarter" idx="24"/>
          </p:nvPr>
        </p:nvSpPr>
        <p:spPr/>
        <p:txBody>
          <a:bodyPr/>
          <a:lstStyle/>
          <a:p>
            <a:endParaRPr lang="de-DE"/>
          </a:p>
        </p:txBody>
      </p:sp>
      <p:pic>
        <p:nvPicPr>
          <p:cNvPr id="11" name="Picture Placeholder 10">
            <a:extLst>
              <a:ext uri="{FF2B5EF4-FFF2-40B4-BE49-F238E27FC236}">
                <a16:creationId xmlns:a16="http://schemas.microsoft.com/office/drawing/2014/main" id="{62ABFC61-451F-78BC-BADF-F9383F8B706C}"/>
              </a:ext>
            </a:extLst>
          </p:cNvPr>
          <p:cNvPicPr>
            <a:picLocks noGrp="1" noChangeAspect="1"/>
          </p:cNvPicPr>
          <p:nvPr>
            <p:ph type="pic" sz="quarter" idx="15"/>
          </p:nvPr>
        </p:nvPicPr>
        <p:blipFill>
          <a:blip r:embed="rId5" cstate="print">
            <a:extLst>
              <a:ext uri="{28A0092B-C50C-407E-A947-70E740481C1C}">
                <a14:useLocalDpi xmlns:a14="http://schemas.microsoft.com/office/drawing/2010/main" val="0"/>
              </a:ext>
            </a:extLst>
          </a:blip>
          <a:srcRect t="25737" b="25737"/>
          <a:stretch>
            <a:fillRect/>
          </a:stretch>
        </p:blipFill>
        <p:spPr/>
      </p:pic>
    </p:spTree>
    <p:extLst>
      <p:ext uri="{BB962C8B-B14F-4D97-AF65-F5344CB8AC3E}">
        <p14:creationId xmlns:p14="http://schemas.microsoft.com/office/powerpoint/2010/main" val="6277475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26F7996-FC1D-4D51-B1C4-C03CB6A4F598}"/>
              </a:ext>
            </a:extLst>
          </p:cNvPr>
          <p:cNvSpPr>
            <a:spLocks noGrp="1"/>
          </p:cNvSpPr>
          <p:nvPr>
            <p:ph type="title"/>
          </p:nvPr>
        </p:nvSpPr>
        <p:spPr/>
        <p:txBody>
          <a:bodyPr/>
          <a:lstStyle/>
          <a:p>
            <a:r>
              <a:rPr lang="de-CH" dirty="0"/>
              <a:t>Stichprobenstruktur (Kenner) </a:t>
            </a:r>
          </a:p>
        </p:txBody>
      </p:sp>
      <p:sp>
        <p:nvSpPr>
          <p:cNvPr id="2" name="Fußzeilenplatzhalter 1">
            <a:extLst>
              <a:ext uri="{FF2B5EF4-FFF2-40B4-BE49-F238E27FC236}">
                <a16:creationId xmlns:a16="http://schemas.microsoft.com/office/drawing/2014/main" id="{63A3E4F4-9AD7-4F8C-B24C-0205FCA55901}"/>
              </a:ext>
            </a:extLst>
          </p:cNvPr>
          <p:cNvSpPr>
            <a:spLocks noGrp="1"/>
          </p:cNvSpPr>
          <p:nvPr>
            <p:ph type="ftr" sz="quarter" idx="10"/>
          </p:nvPr>
        </p:nvSpPr>
        <p:spPr/>
        <p:txBody>
          <a:bodyPr/>
          <a:lstStyle/>
          <a:p>
            <a:r>
              <a:rPr lang="de-CH"/>
              <a:t>© LINK | CBD Image Studie 2023 | 12485 | Juni 2023</a:t>
            </a:r>
          </a:p>
        </p:txBody>
      </p:sp>
      <p:sp>
        <p:nvSpPr>
          <p:cNvPr id="3" name="Foliennummernplatzhalter 2">
            <a:extLst>
              <a:ext uri="{FF2B5EF4-FFF2-40B4-BE49-F238E27FC236}">
                <a16:creationId xmlns:a16="http://schemas.microsoft.com/office/drawing/2014/main" id="{E522185F-C01F-4C57-8404-2C109F6EDE96}"/>
              </a:ext>
            </a:extLst>
          </p:cNvPr>
          <p:cNvSpPr>
            <a:spLocks noGrp="1"/>
          </p:cNvSpPr>
          <p:nvPr>
            <p:ph type="sldNum" sz="quarter" idx="11"/>
          </p:nvPr>
        </p:nvSpPr>
        <p:spPr/>
        <p:txBody>
          <a:bodyPr/>
          <a:lstStyle/>
          <a:p>
            <a:fld id="{3E554A25-EF9F-433F-A2C4-DF94129C44D1}" type="slidenum">
              <a:rPr lang="de-CH" smtClean="0"/>
              <a:pPr/>
              <a:t>16</a:t>
            </a:fld>
            <a:endParaRPr lang="de-CH"/>
          </a:p>
        </p:txBody>
      </p:sp>
      <p:graphicFrame>
        <p:nvGraphicFramePr>
          <p:cNvPr id="7" name="Objekt 6">
            <a:extLst>
              <a:ext uri="{FF2B5EF4-FFF2-40B4-BE49-F238E27FC236}">
                <a16:creationId xmlns:a16="http://schemas.microsoft.com/office/drawing/2014/main" id="{B1D4A96A-DEC3-407E-97A0-10844106E212}"/>
              </a:ext>
            </a:extLst>
          </p:cNvPr>
          <p:cNvGraphicFramePr>
            <a:graphicFrameLocks noChangeAspect="1"/>
          </p:cNvGraphicFramePr>
          <p:nvPr>
            <p:extLst>
              <p:ext uri="{D42A27DB-BD31-4B8C-83A1-F6EECF244321}">
                <p14:modId xmlns:p14="http://schemas.microsoft.com/office/powerpoint/2010/main" val="2202703628"/>
              </p:ext>
            </p:extLst>
          </p:nvPr>
        </p:nvGraphicFramePr>
        <p:xfrm>
          <a:off x="599090" y="1481139"/>
          <a:ext cx="10966493" cy="4616964"/>
        </p:xfrm>
        <a:graphic>
          <a:graphicData uri="http://schemas.openxmlformats.org/presentationml/2006/ole">
            <mc:AlternateContent xmlns:mc="http://schemas.openxmlformats.org/markup-compatibility/2006">
              <mc:Choice xmlns:v="urn:schemas-microsoft-com:vml" Requires="v">
                <p:oleObj name="Arbeitsblatt" r:id="rId2" imgW="11468100" imgH="4635500" progId="Excel.Sheet.12">
                  <p:embed/>
                </p:oleObj>
              </mc:Choice>
              <mc:Fallback>
                <p:oleObj name="Arbeitsblatt" r:id="rId2" imgW="11468100" imgH="4635500" progId="Excel.Sheet.12">
                  <p:embed/>
                  <p:pic>
                    <p:nvPicPr>
                      <p:cNvPr id="7" name="Objekt 6">
                        <a:extLst>
                          <a:ext uri="{FF2B5EF4-FFF2-40B4-BE49-F238E27FC236}">
                            <a16:creationId xmlns:a16="http://schemas.microsoft.com/office/drawing/2014/main" id="{B1D4A96A-DEC3-407E-97A0-10844106E212}"/>
                          </a:ext>
                        </a:extLst>
                      </p:cNvPr>
                      <p:cNvPicPr>
                        <a:picLocks noChangeAspect="1" noChangeArrowheads="1"/>
                      </p:cNvPicPr>
                      <p:nvPr/>
                    </p:nvPicPr>
                    <p:blipFill>
                      <a:blip r:embed="rId3"/>
                      <a:srcRect/>
                      <a:stretch>
                        <a:fillRect/>
                      </a:stretch>
                    </p:blipFill>
                    <p:spPr bwMode="auto">
                      <a:xfrm>
                        <a:off x="599090" y="1481139"/>
                        <a:ext cx="10966493" cy="4616964"/>
                      </a:xfrm>
                      <a:prstGeom prst="rect">
                        <a:avLst/>
                      </a:prstGeom>
                      <a:noFill/>
                      <a:ln>
                        <a:noFill/>
                      </a:ln>
                    </p:spPr>
                  </p:pic>
                </p:oleObj>
              </mc:Fallback>
            </mc:AlternateContent>
          </a:graphicData>
        </a:graphic>
      </p:graphicFrame>
      <p:pic>
        <p:nvPicPr>
          <p:cNvPr id="24" name="Inhaltsplatzhalter 5">
            <a:extLst>
              <a:ext uri="{FF2B5EF4-FFF2-40B4-BE49-F238E27FC236}">
                <a16:creationId xmlns:a16="http://schemas.microsoft.com/office/drawing/2014/main" id="{0E7E5645-4B38-4642-A68D-649C5DD4F52B}"/>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3989" y="1932157"/>
            <a:ext cx="396000" cy="396000"/>
          </a:xfrm>
          <a:prstGeom prst="rect">
            <a:avLst/>
          </a:prstGeom>
        </p:spPr>
      </p:pic>
      <p:pic>
        <p:nvPicPr>
          <p:cNvPr id="27" name="Grafik 26">
            <a:extLst>
              <a:ext uri="{FF2B5EF4-FFF2-40B4-BE49-F238E27FC236}">
                <a16:creationId xmlns:a16="http://schemas.microsoft.com/office/drawing/2014/main" id="{2D8FF338-DF55-438D-84D4-A40DFAAFB90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6370" y="2590969"/>
            <a:ext cx="396000" cy="396000"/>
          </a:xfrm>
          <a:prstGeom prst="rect">
            <a:avLst/>
          </a:prstGeom>
        </p:spPr>
      </p:pic>
      <p:pic>
        <p:nvPicPr>
          <p:cNvPr id="29" name="Grafik 28">
            <a:extLst>
              <a:ext uri="{FF2B5EF4-FFF2-40B4-BE49-F238E27FC236}">
                <a16:creationId xmlns:a16="http://schemas.microsoft.com/office/drawing/2014/main" id="{52FBD82C-FC67-4713-8521-995116C78D4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129" y="1957555"/>
            <a:ext cx="396000" cy="396000"/>
          </a:xfrm>
          <a:prstGeom prst="rect">
            <a:avLst/>
          </a:prstGeom>
        </p:spPr>
      </p:pic>
      <p:pic>
        <p:nvPicPr>
          <p:cNvPr id="32" name="Grafik 31">
            <a:extLst>
              <a:ext uri="{FF2B5EF4-FFF2-40B4-BE49-F238E27FC236}">
                <a16:creationId xmlns:a16="http://schemas.microsoft.com/office/drawing/2014/main" id="{2D8CB150-4C89-4B89-A3B4-2B1789AE058C}"/>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772180" y="3729206"/>
            <a:ext cx="360000" cy="360000"/>
          </a:xfrm>
          <a:prstGeom prst="rect">
            <a:avLst/>
          </a:prstGeom>
        </p:spPr>
      </p:pic>
      <p:pic>
        <p:nvPicPr>
          <p:cNvPr id="36" name="Grafik 35">
            <a:extLst>
              <a:ext uri="{FF2B5EF4-FFF2-40B4-BE49-F238E27FC236}">
                <a16:creationId xmlns:a16="http://schemas.microsoft.com/office/drawing/2014/main" id="{434BFED0-B4A9-4254-827B-1FDC72FD4814}"/>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22424" y="3614618"/>
            <a:ext cx="396000" cy="396000"/>
          </a:xfrm>
          <a:prstGeom prst="rect">
            <a:avLst/>
          </a:prstGeom>
        </p:spPr>
      </p:pic>
      <p:pic>
        <p:nvPicPr>
          <p:cNvPr id="38" name="Grafik 37">
            <a:extLst>
              <a:ext uri="{FF2B5EF4-FFF2-40B4-BE49-F238E27FC236}">
                <a16:creationId xmlns:a16="http://schemas.microsoft.com/office/drawing/2014/main" id="{931696FC-783D-4FC1-8CB7-00778061C7F9}"/>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20415" y="5622176"/>
            <a:ext cx="396000" cy="396000"/>
          </a:xfrm>
          <a:prstGeom prst="rect">
            <a:avLst/>
          </a:prstGeom>
        </p:spPr>
      </p:pic>
      <p:pic>
        <p:nvPicPr>
          <p:cNvPr id="40" name="Grafik 39">
            <a:extLst>
              <a:ext uri="{FF2B5EF4-FFF2-40B4-BE49-F238E27FC236}">
                <a16:creationId xmlns:a16="http://schemas.microsoft.com/office/drawing/2014/main" id="{E92C6E54-BFF9-4169-A4AC-4F27DDFD0634}"/>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757893" y="4524544"/>
            <a:ext cx="396000" cy="396000"/>
          </a:xfrm>
          <a:prstGeom prst="rect">
            <a:avLst/>
          </a:prstGeom>
        </p:spPr>
      </p:pic>
      <p:pic>
        <p:nvPicPr>
          <p:cNvPr id="42" name="Grafik 41">
            <a:extLst>
              <a:ext uri="{FF2B5EF4-FFF2-40B4-BE49-F238E27FC236}">
                <a16:creationId xmlns:a16="http://schemas.microsoft.com/office/drawing/2014/main" id="{6A6677A7-077F-4F01-A64F-549E133E52D9}"/>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757893" y="2590969"/>
            <a:ext cx="396000" cy="396000"/>
          </a:xfrm>
          <a:prstGeom prst="rect">
            <a:avLst/>
          </a:prstGeom>
        </p:spPr>
      </p:pic>
      <p:pic>
        <p:nvPicPr>
          <p:cNvPr id="46" name="Grafik 45">
            <a:extLst>
              <a:ext uri="{FF2B5EF4-FFF2-40B4-BE49-F238E27FC236}">
                <a16:creationId xmlns:a16="http://schemas.microsoft.com/office/drawing/2014/main" id="{3F0AFFA4-C29F-4CD8-BC75-8E5EFB64158C}"/>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26370" y="4991269"/>
            <a:ext cx="396000" cy="396000"/>
          </a:xfrm>
          <a:prstGeom prst="rect">
            <a:avLst/>
          </a:prstGeom>
        </p:spPr>
      </p:pic>
      <p:pic>
        <p:nvPicPr>
          <p:cNvPr id="48" name="Grafik 47">
            <a:extLst>
              <a:ext uri="{FF2B5EF4-FFF2-40B4-BE49-F238E27FC236}">
                <a16:creationId xmlns:a16="http://schemas.microsoft.com/office/drawing/2014/main" id="{96905155-FBE1-4B7C-B42A-F948CE35840B}"/>
              </a:ext>
            </a:extLst>
          </p:cNvPr>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26370" y="4343569"/>
            <a:ext cx="396000" cy="396000"/>
          </a:xfrm>
          <a:prstGeom prst="rect">
            <a:avLst/>
          </a:prstGeom>
        </p:spPr>
      </p:pic>
    </p:spTree>
    <p:extLst>
      <p:ext uri="{BB962C8B-B14F-4D97-AF65-F5344CB8AC3E}">
        <p14:creationId xmlns:p14="http://schemas.microsoft.com/office/powerpoint/2010/main" val="36424836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Bildplatzhalter 17" descr="Ein Bild, das Straße, draußen, Person, mehrere enthält.&#10;&#10;Automatisch generierte Beschreibung">
            <a:extLst>
              <a:ext uri="{FF2B5EF4-FFF2-40B4-BE49-F238E27FC236}">
                <a16:creationId xmlns:a16="http://schemas.microsoft.com/office/drawing/2014/main" id="{601618C1-8CB1-AD43-C435-DA105E92EB04}"/>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t="5801" b="5801"/>
          <a:stretch/>
        </p:blipFill>
        <p:spPr/>
      </p:pic>
    </p:spTree>
    <p:extLst>
      <p:ext uri="{BB962C8B-B14F-4D97-AF65-F5344CB8AC3E}">
        <p14:creationId xmlns:p14="http://schemas.microsoft.com/office/powerpoint/2010/main" val="17189590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3A3389-F30C-D3E0-0E99-61C0DA77729E}"/>
              </a:ext>
            </a:extLst>
          </p:cNvPr>
          <p:cNvGraphicFramePr>
            <a:graphicFrameLocks noChangeAspect="1"/>
          </p:cNvGraphicFramePr>
          <p:nvPr>
            <p:custDataLst>
              <p:tags r:id="rId1"/>
            </p:custDataLst>
            <p:extLst>
              <p:ext uri="{D42A27DB-BD31-4B8C-83A1-F6EECF244321}">
                <p14:modId xmlns:p14="http://schemas.microsoft.com/office/powerpoint/2010/main" val="553313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12" name="Object 11" hidden="1">
                        <a:extLst>
                          <a:ext uri="{FF2B5EF4-FFF2-40B4-BE49-F238E27FC236}">
                            <a16:creationId xmlns:a16="http://schemas.microsoft.com/office/drawing/2014/main" id="{5C3A3389-F30C-D3E0-0E99-61C0DA7772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BE7892E-8464-4AF5-BAA4-3DF368ABB83C}"/>
              </a:ext>
            </a:extLst>
          </p:cNvPr>
          <p:cNvSpPr>
            <a:spLocks noGrp="1"/>
          </p:cNvSpPr>
          <p:nvPr>
            <p:ph type="body" sz="quarter" idx="14"/>
          </p:nvPr>
        </p:nvSpPr>
        <p:spPr/>
        <p:txBody>
          <a:bodyPr/>
          <a:lstStyle/>
          <a:p>
            <a:r>
              <a:rPr lang="de-CH" dirty="0"/>
              <a:t>1</a:t>
            </a:r>
          </a:p>
        </p:txBody>
      </p:sp>
      <p:sp>
        <p:nvSpPr>
          <p:cNvPr id="5" name="Title 4">
            <a:extLst>
              <a:ext uri="{FF2B5EF4-FFF2-40B4-BE49-F238E27FC236}">
                <a16:creationId xmlns:a16="http://schemas.microsoft.com/office/drawing/2014/main" id="{4EF865F6-91D8-2744-9F66-579D7BA99771}"/>
              </a:ext>
            </a:extLst>
          </p:cNvPr>
          <p:cNvSpPr>
            <a:spLocks noGrp="1"/>
          </p:cNvSpPr>
          <p:nvPr>
            <p:ph type="title"/>
          </p:nvPr>
        </p:nvSpPr>
        <p:spPr/>
        <p:txBody>
          <a:bodyPr vert="horz"/>
          <a:lstStyle/>
          <a:p>
            <a:r>
              <a:rPr lang="de-CH" noProof="0" dirty="0"/>
              <a:t>Studiendesign</a:t>
            </a:r>
          </a:p>
        </p:txBody>
      </p:sp>
      <p:sp>
        <p:nvSpPr>
          <p:cNvPr id="9" name="Textplatzhalter 8">
            <a:extLst>
              <a:ext uri="{FF2B5EF4-FFF2-40B4-BE49-F238E27FC236}">
                <a16:creationId xmlns:a16="http://schemas.microsoft.com/office/drawing/2014/main" id="{DB23B5F9-7395-21DA-4F30-C73021CCBCF5}"/>
              </a:ext>
            </a:extLst>
          </p:cNvPr>
          <p:cNvSpPr>
            <a:spLocks noGrp="1"/>
          </p:cNvSpPr>
          <p:nvPr>
            <p:ph type="body" sz="quarter" idx="24"/>
          </p:nvPr>
        </p:nvSpPr>
        <p:spPr/>
        <p:txBody>
          <a:bodyPr/>
          <a:lstStyle/>
          <a:p>
            <a:endParaRPr lang="de-DE"/>
          </a:p>
        </p:txBody>
      </p:sp>
      <p:pic>
        <p:nvPicPr>
          <p:cNvPr id="11" name="Picture Placeholder 10">
            <a:extLst>
              <a:ext uri="{FF2B5EF4-FFF2-40B4-BE49-F238E27FC236}">
                <a16:creationId xmlns:a16="http://schemas.microsoft.com/office/drawing/2014/main" id="{62ABFC61-451F-78BC-BADF-F9383F8B706C}"/>
              </a:ext>
            </a:extLst>
          </p:cNvPr>
          <p:cNvPicPr>
            <a:picLocks noGrp="1" noChangeAspect="1"/>
          </p:cNvPicPr>
          <p:nvPr>
            <p:ph type="pic" sz="quarter" idx="15"/>
          </p:nvPr>
        </p:nvPicPr>
        <p:blipFill>
          <a:blip r:embed="rId5" cstate="print">
            <a:extLst>
              <a:ext uri="{28A0092B-C50C-407E-A947-70E740481C1C}">
                <a14:useLocalDpi xmlns:a14="http://schemas.microsoft.com/office/drawing/2010/main" val="0"/>
              </a:ext>
            </a:extLst>
          </a:blip>
          <a:srcRect t="25737" b="25737"/>
          <a:stretch>
            <a:fillRect/>
          </a:stretch>
        </p:blipFill>
        <p:spPr/>
      </p:pic>
    </p:spTree>
    <p:extLst>
      <p:ext uri="{BB962C8B-B14F-4D97-AF65-F5344CB8AC3E}">
        <p14:creationId xmlns:p14="http://schemas.microsoft.com/office/powerpoint/2010/main" val="38460178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295FE9-1944-BC4F-A2F0-3CABD465611A}"/>
              </a:ext>
            </a:extLst>
          </p:cNvPr>
          <p:cNvSpPr>
            <a:spLocks noGrp="1"/>
          </p:cNvSpPr>
          <p:nvPr>
            <p:ph type="title"/>
          </p:nvPr>
        </p:nvSpPr>
        <p:spPr/>
        <p:txBody>
          <a:bodyPr/>
          <a:lstStyle/>
          <a:p>
            <a:r>
              <a:rPr lang="de-CH" noProof="0" dirty="0"/>
              <a:t>Studiendesign</a:t>
            </a:r>
          </a:p>
        </p:txBody>
      </p:sp>
      <p:sp>
        <p:nvSpPr>
          <p:cNvPr id="7" name="Text Placeholder 6">
            <a:extLst>
              <a:ext uri="{FF2B5EF4-FFF2-40B4-BE49-F238E27FC236}">
                <a16:creationId xmlns:a16="http://schemas.microsoft.com/office/drawing/2014/main" id="{D913FA29-7228-9E4D-AC04-10AA987195D7}"/>
              </a:ext>
            </a:extLst>
          </p:cNvPr>
          <p:cNvSpPr>
            <a:spLocks noGrp="1"/>
          </p:cNvSpPr>
          <p:nvPr>
            <p:ph type="body" sz="quarter" idx="17"/>
          </p:nvPr>
        </p:nvSpPr>
        <p:spPr/>
        <p:txBody>
          <a:bodyPr/>
          <a:lstStyle/>
          <a:p>
            <a:r>
              <a:rPr lang="de-CH" noProof="0" dirty="0"/>
              <a:t>Untertitel</a:t>
            </a:r>
          </a:p>
        </p:txBody>
      </p:sp>
      <p:sp>
        <p:nvSpPr>
          <p:cNvPr id="13" name="Fußzeilenplatzhalter 12">
            <a:extLst>
              <a:ext uri="{FF2B5EF4-FFF2-40B4-BE49-F238E27FC236}">
                <a16:creationId xmlns:a16="http://schemas.microsoft.com/office/drawing/2014/main" id="{BFB627F2-8583-4B4D-984E-B64C001DF548}"/>
              </a:ext>
            </a:extLst>
          </p:cNvPr>
          <p:cNvSpPr>
            <a:spLocks noGrp="1"/>
          </p:cNvSpPr>
          <p:nvPr>
            <p:ph type="ftr" sz="quarter" idx="25"/>
          </p:nvPr>
        </p:nvSpPr>
        <p:spPr/>
        <p:txBody>
          <a:bodyPr/>
          <a:lstStyle/>
          <a:p>
            <a:r>
              <a:rPr lang="de-CH"/>
              <a:t>© LINK | CBD Image Studie 2023 | 12485 | Juni 2023</a:t>
            </a:r>
            <a:endParaRPr lang="de-CH" dirty="0"/>
          </a:p>
        </p:txBody>
      </p:sp>
      <p:sp>
        <p:nvSpPr>
          <p:cNvPr id="14" name="Foliennummernplatzhalter 13">
            <a:extLst>
              <a:ext uri="{FF2B5EF4-FFF2-40B4-BE49-F238E27FC236}">
                <a16:creationId xmlns:a16="http://schemas.microsoft.com/office/drawing/2014/main" id="{184624A9-7F5C-434D-862E-5A79C257ED57}"/>
              </a:ext>
            </a:extLst>
          </p:cNvPr>
          <p:cNvSpPr>
            <a:spLocks noGrp="1"/>
          </p:cNvSpPr>
          <p:nvPr>
            <p:ph type="sldNum" sz="quarter" idx="26"/>
          </p:nvPr>
        </p:nvSpPr>
        <p:spPr/>
        <p:txBody>
          <a:bodyPr/>
          <a:lstStyle/>
          <a:p>
            <a:fld id="{3E554A25-EF9F-433F-A2C4-DF94129C44D1}" type="slidenum">
              <a:rPr lang="de-CH" smtClean="0"/>
              <a:pPr/>
              <a:t>3</a:t>
            </a:fld>
            <a:endParaRPr lang="de-CH"/>
          </a:p>
        </p:txBody>
      </p:sp>
      <p:sp>
        <p:nvSpPr>
          <p:cNvPr id="8" name="Content Placeholder 5">
            <a:extLst>
              <a:ext uri="{FF2B5EF4-FFF2-40B4-BE49-F238E27FC236}">
                <a16:creationId xmlns:a16="http://schemas.microsoft.com/office/drawing/2014/main" id="{6F25936B-626C-4999-BCF4-145FEDB9A83A}"/>
              </a:ext>
            </a:extLst>
          </p:cNvPr>
          <p:cNvSpPr txBox="1">
            <a:spLocks/>
          </p:cNvSpPr>
          <p:nvPr/>
        </p:nvSpPr>
        <p:spPr>
          <a:xfrm>
            <a:off x="311100" y="1466852"/>
            <a:ext cx="7585509" cy="4657722"/>
          </a:xfrm>
          <a:prstGeom prst="rect">
            <a:avLst/>
          </a:prstGeom>
        </p:spPr>
        <p:txBody>
          <a:bodyPr lIns="0" tIns="0" rIns="0" bIns="0">
            <a:noAutofit/>
          </a:bodyPr>
          <a:lstStyle>
            <a:lvl1pPr marL="129271" indent="-129271" algn="l" defTabSz="653164" rtl="0" eaLnBrk="1" latinLnBrk="0" hangingPunct="1">
              <a:lnSpc>
                <a:spcPct val="100000"/>
              </a:lnSpc>
              <a:spcBef>
                <a:spcPts val="600"/>
              </a:spcBef>
              <a:buClr>
                <a:schemeClr val="accent1"/>
              </a:buClr>
              <a:buSzPct val="120000"/>
              <a:buFont typeface="Wingdings" panose="05000000000000000000" pitchFamily="2" charset="2"/>
              <a:buChar char="§"/>
              <a:defRPr lang="de-CH" sz="1400" kern="1200" noProof="0" dirty="0">
                <a:solidFill>
                  <a:schemeClr val="tx1"/>
                </a:solidFill>
                <a:latin typeface="+mn-lt"/>
                <a:ea typeface="+mn-ea"/>
                <a:cs typeface="+mn-cs"/>
              </a:defRPr>
            </a:lvl1pPr>
            <a:lvl2pPr marL="349250" indent="-169863" algn="l" defTabSz="653164" rtl="0" eaLnBrk="1" latinLnBrk="0" hangingPunct="1">
              <a:lnSpc>
                <a:spcPct val="100000"/>
              </a:lnSpc>
              <a:spcBef>
                <a:spcPts val="600"/>
              </a:spcBef>
              <a:buClr>
                <a:schemeClr val="accent1"/>
              </a:buClr>
              <a:buSzPct val="110000"/>
              <a:buFont typeface="Symbol" panose="05050102010706020507" pitchFamily="18" charset="2"/>
              <a:buChar char="-"/>
              <a:defRPr sz="1400" kern="1200">
                <a:solidFill>
                  <a:schemeClr val="tx1"/>
                </a:solidFill>
                <a:latin typeface="+mn-lt"/>
                <a:ea typeface="+mn-ea"/>
                <a:cs typeface="+mn-cs"/>
              </a:defRPr>
            </a:lvl2pPr>
            <a:lvl3pPr marL="573088" indent="-204788" algn="l" defTabSz="653164" rtl="0" eaLnBrk="1" latinLnBrk="0" hangingPunct="1">
              <a:lnSpc>
                <a:spcPct val="100000"/>
              </a:lnSpc>
              <a:spcBef>
                <a:spcPts val="600"/>
              </a:spcBef>
              <a:buClr>
                <a:schemeClr val="accent1"/>
              </a:buClr>
              <a:buSzPct val="110000"/>
              <a:buFont typeface="Symbol" panose="05050102010706020507" pitchFamily="18" charset="2"/>
              <a:buChar char="-"/>
              <a:defRPr sz="1400" kern="1200">
                <a:solidFill>
                  <a:schemeClr val="tx1"/>
                </a:solidFill>
                <a:latin typeface="+mn-lt"/>
                <a:ea typeface="+mn-ea"/>
                <a:cs typeface="+mn-cs"/>
              </a:defRPr>
            </a:lvl3pPr>
            <a:lvl4pPr marL="798513" indent="-233363" algn="l" defTabSz="653164" rtl="0" eaLnBrk="1" latinLnBrk="0" hangingPunct="1">
              <a:lnSpc>
                <a:spcPct val="100000"/>
              </a:lnSpc>
              <a:spcBef>
                <a:spcPts val="600"/>
              </a:spcBef>
              <a:buClr>
                <a:schemeClr val="accent1"/>
              </a:buClr>
              <a:buSzPct val="110000"/>
              <a:buFont typeface="Symbol" panose="05050102010706020507" pitchFamily="18" charset="2"/>
              <a:buChar char="-"/>
              <a:tabLst/>
              <a:defRPr sz="1400" kern="1200">
                <a:solidFill>
                  <a:schemeClr val="tx1"/>
                </a:solidFill>
                <a:latin typeface="+mn-lt"/>
                <a:ea typeface="+mn-ea"/>
                <a:cs typeface="+mn-cs"/>
              </a:defRPr>
            </a:lvl4pPr>
            <a:lvl5pPr marL="1066800" indent="-233363" algn="l" defTabSz="653164" rtl="0" eaLnBrk="1" latinLnBrk="0" hangingPunct="1">
              <a:lnSpc>
                <a:spcPct val="100000"/>
              </a:lnSpc>
              <a:spcBef>
                <a:spcPts val="600"/>
              </a:spcBef>
              <a:buClr>
                <a:schemeClr val="accent1"/>
              </a:buClr>
              <a:buSzPct val="110000"/>
              <a:buFont typeface="Symbol" panose="05050102010706020507" pitchFamily="18" charset="2"/>
              <a:buChar char="-"/>
              <a:defRPr sz="1400" kern="1200">
                <a:solidFill>
                  <a:schemeClr val="tx1"/>
                </a:solidFill>
                <a:latin typeface="+mn-lt"/>
                <a:ea typeface="+mn-ea"/>
                <a:cs typeface="+mn-cs"/>
              </a:defRPr>
            </a:lvl5pPr>
            <a:lvl6pPr marL="1796202" indent="-163292" algn="l" defTabSz="653164" rtl="0" eaLnBrk="1" latinLnBrk="0" hangingPunct="1">
              <a:spcBef>
                <a:spcPct val="20000"/>
              </a:spcBef>
              <a:buFont typeface="Arial" panose="020B0604020202020204" pitchFamily="34" charset="0"/>
              <a:buChar char="•"/>
              <a:defRPr sz="1429" kern="1200">
                <a:solidFill>
                  <a:schemeClr val="tx1"/>
                </a:solidFill>
                <a:latin typeface="+mn-lt"/>
                <a:ea typeface="+mn-ea"/>
                <a:cs typeface="+mn-cs"/>
              </a:defRPr>
            </a:lvl6pPr>
            <a:lvl7pPr marL="2122784" indent="-163292" algn="l" defTabSz="653164" rtl="0" eaLnBrk="1" latinLnBrk="0" hangingPunct="1">
              <a:spcBef>
                <a:spcPct val="20000"/>
              </a:spcBef>
              <a:buFont typeface="Arial" panose="020B0604020202020204" pitchFamily="34" charset="0"/>
              <a:buChar char="•"/>
              <a:defRPr sz="1429" kern="1200">
                <a:solidFill>
                  <a:schemeClr val="tx1"/>
                </a:solidFill>
                <a:latin typeface="+mn-lt"/>
                <a:ea typeface="+mn-ea"/>
                <a:cs typeface="+mn-cs"/>
              </a:defRPr>
            </a:lvl7pPr>
            <a:lvl8pPr marL="2449366" indent="-163292" algn="l" defTabSz="653164" rtl="0" eaLnBrk="1" latinLnBrk="0" hangingPunct="1">
              <a:spcBef>
                <a:spcPct val="20000"/>
              </a:spcBef>
              <a:buFont typeface="Arial" panose="020B0604020202020204" pitchFamily="34" charset="0"/>
              <a:buChar char="•"/>
              <a:defRPr sz="1429" kern="1200">
                <a:solidFill>
                  <a:schemeClr val="tx1"/>
                </a:solidFill>
                <a:latin typeface="+mn-lt"/>
                <a:ea typeface="+mn-ea"/>
                <a:cs typeface="+mn-cs"/>
              </a:defRPr>
            </a:lvl8pPr>
            <a:lvl9pPr marL="2775948" indent="-163292" algn="l" defTabSz="653164" rtl="0" eaLnBrk="1" latinLnBrk="0" hangingPunct="1">
              <a:spcBef>
                <a:spcPct val="20000"/>
              </a:spcBef>
              <a:buFont typeface="Arial" panose="020B0604020202020204" pitchFamily="34" charset="0"/>
              <a:buChar char="•"/>
              <a:defRPr sz="1429" kern="1200">
                <a:solidFill>
                  <a:schemeClr val="tx1"/>
                </a:solidFill>
                <a:latin typeface="+mn-lt"/>
                <a:ea typeface="+mn-ea"/>
                <a:cs typeface="+mn-cs"/>
              </a:defRPr>
            </a:lvl9pPr>
          </a:lstStyle>
          <a:p>
            <a:pPr marL="122467" indent="-122467" defTabSz="326578">
              <a:spcBef>
                <a:spcPts val="0"/>
              </a:spcBef>
              <a:buClr>
                <a:schemeClr val="accent2"/>
              </a:buClr>
              <a:tabLst>
                <a:tab pos="1408367" algn="l"/>
              </a:tabLst>
            </a:pPr>
            <a:r>
              <a:rPr lang="de-DE" sz="1200" dirty="0"/>
              <a:t>Kunde: 			LINK (Internes Projekt)</a:t>
            </a:r>
          </a:p>
          <a:p>
            <a:pPr marL="122467" indent="-122467" defTabSz="326578">
              <a:spcBef>
                <a:spcPts val="0"/>
              </a:spcBef>
              <a:buClr>
                <a:srgbClr val="2D8EC2"/>
              </a:buClr>
              <a:tabLst>
                <a:tab pos="1408367" algn="l"/>
              </a:tabLst>
            </a:pPr>
            <a:endParaRPr lang="de-DE" sz="1200" dirty="0"/>
          </a:p>
          <a:p>
            <a:pPr marL="122467" indent="-122467" defTabSz="326578">
              <a:spcBef>
                <a:spcPts val="0"/>
              </a:spcBef>
              <a:buClr>
                <a:schemeClr val="accent2"/>
              </a:buClr>
              <a:tabLst>
                <a:tab pos="1408367" algn="l"/>
              </a:tabLst>
            </a:pPr>
            <a:endParaRPr lang="de-DE" sz="1200" dirty="0"/>
          </a:p>
          <a:p>
            <a:pPr marL="122467" indent="-122467" defTabSz="326578">
              <a:spcBef>
                <a:spcPts val="0"/>
              </a:spcBef>
              <a:buClr>
                <a:schemeClr val="accent2"/>
              </a:buClr>
              <a:tabLst>
                <a:tab pos="1408367" algn="l"/>
              </a:tabLst>
            </a:pPr>
            <a:r>
              <a:rPr lang="de-DE" sz="1200" dirty="0"/>
              <a:t>LINK:			Laura Colledani | </a:t>
            </a:r>
            <a:r>
              <a:rPr lang="en-US" sz="1200" dirty="0"/>
              <a:t>Head of Healthcare Research and Data Products</a:t>
            </a:r>
            <a:endParaRPr lang="de-DE" sz="1200" dirty="0"/>
          </a:p>
          <a:p>
            <a:pPr marL="0" indent="0" defTabSz="326578">
              <a:spcBef>
                <a:spcPts val="0"/>
              </a:spcBef>
              <a:buClr>
                <a:schemeClr val="accent2"/>
              </a:buClr>
              <a:buNone/>
              <a:tabLst>
                <a:tab pos="1408367" algn="l"/>
              </a:tabLst>
            </a:pPr>
            <a:r>
              <a:rPr lang="de-DE" sz="1200" dirty="0"/>
              <a:t>				</a:t>
            </a:r>
          </a:p>
          <a:p>
            <a:pPr marL="0" indent="0" defTabSz="326578">
              <a:spcBef>
                <a:spcPts val="0"/>
              </a:spcBef>
              <a:buClr>
                <a:schemeClr val="accent2"/>
              </a:buClr>
              <a:buNone/>
              <a:tabLst>
                <a:tab pos="1408367" algn="l"/>
              </a:tabLst>
            </a:pPr>
            <a:r>
              <a:rPr lang="de-DE" sz="1200" dirty="0"/>
              <a:t>			</a:t>
            </a:r>
          </a:p>
          <a:p>
            <a:pPr marL="122467" indent="-122467" defTabSz="326578">
              <a:spcBef>
                <a:spcPts val="0"/>
              </a:spcBef>
              <a:buClr>
                <a:schemeClr val="accent2"/>
              </a:buClr>
              <a:tabLst>
                <a:tab pos="1408367" algn="l"/>
              </a:tabLst>
            </a:pPr>
            <a:r>
              <a:rPr lang="de-DE" sz="1200" dirty="0"/>
              <a:t>Studienziel: 			</a:t>
            </a:r>
            <a:r>
              <a:rPr lang="de-CH" sz="1200" noProof="0" dirty="0">
                <a:solidFill>
                  <a:schemeClr val="tx1"/>
                </a:solidFill>
              </a:rPr>
              <a:t>Informationsgewinnung zur Nutzung von frei erhältlichem CBD inklusive</a:t>
            </a:r>
            <a:r>
              <a:rPr lang="de-CH" sz="1200" dirty="0"/>
              <a:t>						</a:t>
            </a:r>
            <a:r>
              <a:rPr lang="de-CH" sz="1200" noProof="0" dirty="0">
                <a:solidFill>
                  <a:schemeClr val="tx1"/>
                </a:solidFill>
              </a:rPr>
              <a:t>Abschätzung potenzieller </a:t>
            </a:r>
            <a:r>
              <a:rPr lang="de-CH" sz="1200" noProof="0" dirty="0" err="1">
                <a:solidFill>
                  <a:schemeClr val="tx1"/>
                </a:solidFill>
              </a:rPr>
              <a:t>Nutzer:innen</a:t>
            </a:r>
            <a:r>
              <a:rPr lang="de-CH" sz="1200" noProof="0" dirty="0">
                <a:solidFill>
                  <a:schemeClr val="tx1"/>
                </a:solidFill>
              </a:rPr>
              <a:t> sowie auch Erkenntnisse über Barrieren von 			</a:t>
            </a:r>
            <a:r>
              <a:rPr lang="de-CH" sz="1200" noProof="0" dirty="0" err="1">
                <a:solidFill>
                  <a:schemeClr val="tx1"/>
                </a:solidFill>
              </a:rPr>
              <a:t>Nicht-Nutzer:innen</a:t>
            </a:r>
            <a:endParaRPr lang="de-CH" sz="1200" noProof="0" dirty="0">
              <a:solidFill>
                <a:schemeClr val="tx1"/>
              </a:solidFill>
            </a:endParaRPr>
          </a:p>
          <a:p>
            <a:pPr marL="122467" indent="-122467" defTabSz="326578">
              <a:spcBef>
                <a:spcPts val="0"/>
              </a:spcBef>
              <a:buClr>
                <a:schemeClr val="accent2"/>
              </a:buClr>
              <a:tabLst>
                <a:tab pos="1408367" algn="l"/>
              </a:tabLst>
            </a:pPr>
            <a:endParaRPr lang="de-DE" sz="1200" dirty="0"/>
          </a:p>
          <a:p>
            <a:pPr marL="122467" indent="-122467" defTabSz="326578">
              <a:spcBef>
                <a:spcPts val="0"/>
              </a:spcBef>
              <a:buClr>
                <a:schemeClr val="accent2"/>
              </a:buClr>
              <a:tabLst>
                <a:tab pos="1408367" algn="l"/>
              </a:tabLst>
            </a:pPr>
            <a:r>
              <a:rPr lang="de-DE" sz="1200" dirty="0"/>
              <a:t>Erhebungsphase: 			14. Juni bis 27. Juni 2023</a:t>
            </a:r>
          </a:p>
          <a:p>
            <a:pPr marL="122467" indent="-122467" defTabSz="326578">
              <a:spcBef>
                <a:spcPts val="0"/>
              </a:spcBef>
              <a:buClr>
                <a:schemeClr val="accent2"/>
              </a:buClr>
              <a:tabLst>
                <a:tab pos="1408367" algn="l"/>
              </a:tabLst>
            </a:pPr>
            <a:endParaRPr lang="de-DE" sz="1058" dirty="0"/>
          </a:p>
          <a:p>
            <a:pPr marL="122467" indent="-122467" defTabSz="326578">
              <a:spcBef>
                <a:spcPts val="0"/>
              </a:spcBef>
              <a:buClr>
                <a:schemeClr val="accent2"/>
              </a:buClr>
              <a:tabLst>
                <a:tab pos="1408367" algn="l"/>
              </a:tabLst>
            </a:pPr>
            <a:r>
              <a:rPr lang="de-DE" sz="1200" dirty="0"/>
              <a:t>Zielgruppe: 			Personen zwischen 18 und 79 Jahren aus der Deutsch- und Westschweiz, </a:t>
            </a:r>
            <a:br>
              <a:rPr lang="de-DE" sz="1200" dirty="0"/>
            </a:br>
            <a:r>
              <a:rPr lang="de-DE" sz="1200" dirty="0"/>
              <a:t>			sowie Tessin. </a:t>
            </a:r>
          </a:p>
          <a:p>
            <a:pPr marL="122467" indent="-122467" defTabSz="326578">
              <a:spcBef>
                <a:spcPts val="0"/>
              </a:spcBef>
              <a:buClr>
                <a:schemeClr val="accent2"/>
              </a:buClr>
              <a:tabLst>
                <a:tab pos="1408367" algn="l"/>
              </a:tabLst>
            </a:pPr>
            <a:endParaRPr lang="de-DE" sz="1200" dirty="0"/>
          </a:p>
          <a:p>
            <a:pPr marL="122467" indent="-122467" defTabSz="326578">
              <a:spcBef>
                <a:spcPts val="0"/>
              </a:spcBef>
              <a:buClr>
                <a:schemeClr val="accent2"/>
              </a:buClr>
              <a:tabLst>
                <a:tab pos="1408367" algn="l"/>
              </a:tabLst>
            </a:pPr>
            <a:r>
              <a:rPr lang="de-DE" sz="1200" dirty="0"/>
              <a:t>Anzahl Interviews: 			n=2´503 Interviews (Brutto) | n=1611 Interviews (Netto = Kennen frei erhältliches 				CBD zumindest vom Namen her)</a:t>
            </a:r>
          </a:p>
          <a:p>
            <a:pPr marL="0" indent="0" defTabSz="326578">
              <a:spcBef>
                <a:spcPts val="0"/>
              </a:spcBef>
              <a:buClr>
                <a:schemeClr val="accent2"/>
              </a:buClr>
              <a:buNone/>
              <a:tabLst>
                <a:tab pos="1408367" algn="l"/>
              </a:tabLst>
            </a:pPr>
            <a:r>
              <a:rPr lang="de-DE" sz="1200" dirty="0"/>
              <a:t>	</a:t>
            </a:r>
          </a:p>
          <a:p>
            <a:pPr marL="122467" indent="-122467" defTabSz="326578">
              <a:spcBef>
                <a:spcPts val="0"/>
              </a:spcBef>
              <a:buClr>
                <a:schemeClr val="accent2"/>
              </a:buClr>
              <a:tabLst>
                <a:tab pos="1408367" algn="l"/>
              </a:tabLst>
            </a:pPr>
            <a:endParaRPr lang="de-DE" sz="1200" dirty="0"/>
          </a:p>
          <a:p>
            <a:pPr marL="122467" indent="-122467" defTabSz="326578">
              <a:spcBef>
                <a:spcPts val="0"/>
              </a:spcBef>
              <a:buClr>
                <a:schemeClr val="accent2"/>
              </a:buClr>
              <a:tabLst>
                <a:tab pos="1408367" algn="l"/>
              </a:tabLst>
            </a:pPr>
            <a:r>
              <a:rPr lang="de-DE" sz="1200" dirty="0"/>
              <a:t>Methode: 			Repräsentative Online-Studie aus dem repräsentativen LINK Internet-Panel mit 				115'000 telefonisch rekrutierten, aktiven Mitgliedern</a:t>
            </a:r>
          </a:p>
          <a:p>
            <a:pPr marL="122467" indent="-122467" defTabSz="326578">
              <a:spcBef>
                <a:spcPts val="0"/>
              </a:spcBef>
              <a:buClr>
                <a:srgbClr val="2D8EC2"/>
              </a:buClr>
              <a:tabLst>
                <a:tab pos="1408367" algn="l"/>
              </a:tabLst>
            </a:pPr>
            <a:endParaRPr lang="de-DE" sz="1200" dirty="0"/>
          </a:p>
        </p:txBody>
      </p:sp>
      <p:pic>
        <p:nvPicPr>
          <p:cNvPr id="6" name="Picture Placeholder 5" descr="A picture containing food, vegetable, plant, indoor&#10;&#10;Description automatically generated with medium confidence">
            <a:extLst>
              <a:ext uri="{FF2B5EF4-FFF2-40B4-BE49-F238E27FC236}">
                <a16:creationId xmlns:a16="http://schemas.microsoft.com/office/drawing/2014/main" id="{70A9316B-3663-0814-ED25-9AEA62D286A1}"/>
              </a:ext>
            </a:extLst>
          </p:cNvPr>
          <p:cNvPicPr>
            <a:picLocks noGrp="1" noChangeAspect="1"/>
          </p:cNvPicPr>
          <p:nvPr>
            <p:ph type="pic" sz="quarter" idx="19"/>
          </p:nvPr>
        </p:nvPicPr>
        <p:blipFill rotWithShape="1">
          <a:blip r:embed="rId2" cstate="print">
            <a:extLst>
              <a:ext uri="{28A0092B-C50C-407E-A947-70E740481C1C}">
                <a14:useLocalDpi xmlns:a14="http://schemas.microsoft.com/office/drawing/2010/main" val="0"/>
              </a:ext>
            </a:extLst>
          </a:blip>
          <a:srcRect l="4906" r="61714"/>
          <a:stretch/>
        </p:blipFill>
        <p:spPr>
          <a:xfrm>
            <a:off x="8124000" y="0"/>
            <a:ext cx="4068000" cy="6858000"/>
          </a:xfrm>
        </p:spPr>
      </p:pic>
    </p:spTree>
    <p:extLst>
      <p:ext uri="{BB962C8B-B14F-4D97-AF65-F5344CB8AC3E}">
        <p14:creationId xmlns:p14="http://schemas.microsoft.com/office/powerpoint/2010/main" val="19249626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3A3389-F30C-D3E0-0E99-61C0DA77729E}"/>
              </a:ext>
            </a:extLst>
          </p:cNvPr>
          <p:cNvGraphicFramePr>
            <a:graphicFrameLocks noChangeAspect="1"/>
          </p:cNvGraphicFramePr>
          <p:nvPr>
            <p:custDataLst>
              <p:tags r:id="rId1"/>
            </p:custDataLst>
            <p:extLst>
              <p:ext uri="{D42A27DB-BD31-4B8C-83A1-F6EECF244321}">
                <p14:modId xmlns:p14="http://schemas.microsoft.com/office/powerpoint/2010/main" val="483084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12" name="Object 11" hidden="1">
                        <a:extLst>
                          <a:ext uri="{FF2B5EF4-FFF2-40B4-BE49-F238E27FC236}">
                            <a16:creationId xmlns:a16="http://schemas.microsoft.com/office/drawing/2014/main" id="{5C3A3389-F30C-D3E0-0E99-61C0DA7772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BE7892E-8464-4AF5-BAA4-3DF368ABB83C}"/>
              </a:ext>
            </a:extLst>
          </p:cNvPr>
          <p:cNvSpPr>
            <a:spLocks noGrp="1"/>
          </p:cNvSpPr>
          <p:nvPr>
            <p:ph type="body" sz="quarter" idx="14"/>
          </p:nvPr>
        </p:nvSpPr>
        <p:spPr/>
        <p:txBody>
          <a:bodyPr/>
          <a:lstStyle/>
          <a:p>
            <a:r>
              <a:rPr lang="de-CH" dirty="0"/>
              <a:t>2</a:t>
            </a:r>
          </a:p>
        </p:txBody>
      </p:sp>
      <p:sp>
        <p:nvSpPr>
          <p:cNvPr id="5" name="Title 4">
            <a:extLst>
              <a:ext uri="{FF2B5EF4-FFF2-40B4-BE49-F238E27FC236}">
                <a16:creationId xmlns:a16="http://schemas.microsoft.com/office/drawing/2014/main" id="{4EF865F6-91D8-2744-9F66-579D7BA99771}"/>
              </a:ext>
            </a:extLst>
          </p:cNvPr>
          <p:cNvSpPr>
            <a:spLocks noGrp="1"/>
          </p:cNvSpPr>
          <p:nvPr>
            <p:ph type="title"/>
          </p:nvPr>
        </p:nvSpPr>
        <p:spPr/>
        <p:txBody>
          <a:bodyPr vert="horz"/>
          <a:lstStyle/>
          <a:p>
            <a:r>
              <a:rPr lang="de-CH" noProof="0" dirty="0"/>
              <a:t>Nutzungsanalyse</a:t>
            </a:r>
          </a:p>
        </p:txBody>
      </p:sp>
      <p:sp>
        <p:nvSpPr>
          <p:cNvPr id="9" name="Textplatzhalter 8">
            <a:extLst>
              <a:ext uri="{FF2B5EF4-FFF2-40B4-BE49-F238E27FC236}">
                <a16:creationId xmlns:a16="http://schemas.microsoft.com/office/drawing/2014/main" id="{DB23B5F9-7395-21DA-4F30-C73021CCBCF5}"/>
              </a:ext>
            </a:extLst>
          </p:cNvPr>
          <p:cNvSpPr>
            <a:spLocks noGrp="1"/>
          </p:cNvSpPr>
          <p:nvPr>
            <p:ph type="body" sz="quarter" idx="24"/>
          </p:nvPr>
        </p:nvSpPr>
        <p:spPr/>
        <p:txBody>
          <a:bodyPr/>
          <a:lstStyle/>
          <a:p>
            <a:endParaRPr lang="de-DE"/>
          </a:p>
        </p:txBody>
      </p:sp>
      <p:pic>
        <p:nvPicPr>
          <p:cNvPr id="11" name="Picture Placeholder 10">
            <a:extLst>
              <a:ext uri="{FF2B5EF4-FFF2-40B4-BE49-F238E27FC236}">
                <a16:creationId xmlns:a16="http://schemas.microsoft.com/office/drawing/2014/main" id="{62ABFC61-451F-78BC-BADF-F9383F8B706C}"/>
              </a:ext>
            </a:extLst>
          </p:cNvPr>
          <p:cNvPicPr>
            <a:picLocks noGrp="1" noChangeAspect="1"/>
          </p:cNvPicPr>
          <p:nvPr>
            <p:ph type="pic" sz="quarter" idx="15"/>
          </p:nvPr>
        </p:nvPicPr>
        <p:blipFill>
          <a:blip r:embed="rId5" cstate="print">
            <a:extLst>
              <a:ext uri="{28A0092B-C50C-407E-A947-70E740481C1C}">
                <a14:useLocalDpi xmlns:a14="http://schemas.microsoft.com/office/drawing/2010/main" val="0"/>
              </a:ext>
            </a:extLst>
          </a:blip>
          <a:srcRect t="25737" b="25737"/>
          <a:stretch>
            <a:fillRect/>
          </a:stretch>
        </p:blipFill>
        <p:spPr/>
      </p:pic>
    </p:spTree>
    <p:extLst>
      <p:ext uri="{BB962C8B-B14F-4D97-AF65-F5344CB8AC3E}">
        <p14:creationId xmlns:p14="http://schemas.microsoft.com/office/powerpoint/2010/main" val="38814436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Inhaltsplatzhalter 13">
            <a:extLst>
              <a:ext uri="{FF2B5EF4-FFF2-40B4-BE49-F238E27FC236}">
                <a16:creationId xmlns:a16="http://schemas.microsoft.com/office/drawing/2014/main" id="{4C19730D-4496-B72E-EA03-AE51989971DA}"/>
              </a:ext>
            </a:extLst>
          </p:cNvPr>
          <p:cNvGraphicFramePr>
            <a:graphicFrameLocks noGrp="1"/>
          </p:cNvGraphicFramePr>
          <p:nvPr>
            <p:ph sz="quarter" idx="22"/>
            <p:extLst>
              <p:ext uri="{D42A27DB-BD31-4B8C-83A1-F6EECF244321}">
                <p14:modId xmlns:p14="http://schemas.microsoft.com/office/powerpoint/2010/main" val="3151827449"/>
              </p:ext>
            </p:extLst>
          </p:nvPr>
        </p:nvGraphicFramePr>
        <p:xfrm>
          <a:off x="304800" y="1439863"/>
          <a:ext cx="5715000" cy="46577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Object 1" hidden="1">
            <a:extLst>
              <a:ext uri="{FF2B5EF4-FFF2-40B4-BE49-F238E27FC236}">
                <a16:creationId xmlns:a16="http://schemas.microsoft.com/office/drawing/2014/main" id="{63D31909-F4A1-1142-4CAA-0618715E9F56}"/>
              </a:ext>
            </a:extLst>
          </p:cNvPr>
          <p:cNvGraphicFramePr>
            <a:graphicFrameLocks noChangeAspect="1"/>
          </p:cNvGraphicFramePr>
          <p:nvPr>
            <p:custDataLst>
              <p:tags r:id="rId1"/>
            </p:custDataLst>
            <p:extLst>
              <p:ext uri="{D42A27DB-BD31-4B8C-83A1-F6EECF244321}">
                <p14:modId xmlns:p14="http://schemas.microsoft.com/office/powerpoint/2010/main" val="2696312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2" name="Object 1" hidden="1">
                        <a:extLst>
                          <a:ext uri="{FF2B5EF4-FFF2-40B4-BE49-F238E27FC236}">
                            <a16:creationId xmlns:a16="http://schemas.microsoft.com/office/drawing/2014/main" id="{63D31909-F4A1-1142-4CAA-0618715E9F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Inhaltsplatzhalter 7">
            <a:extLst>
              <a:ext uri="{FF2B5EF4-FFF2-40B4-BE49-F238E27FC236}">
                <a16:creationId xmlns:a16="http://schemas.microsoft.com/office/drawing/2014/main" id="{A3C7FC8F-A93B-4232-9C69-CD1C4BE5E8DA}"/>
              </a:ext>
            </a:extLst>
          </p:cNvPr>
          <p:cNvGraphicFramePr>
            <a:graphicFrameLocks noGrp="1"/>
          </p:cNvGraphicFramePr>
          <p:nvPr>
            <p:ph sz="quarter" idx="23"/>
            <p:extLst>
              <p:ext uri="{D42A27DB-BD31-4B8C-83A1-F6EECF244321}">
                <p14:modId xmlns:p14="http://schemas.microsoft.com/office/powerpoint/2010/main" val="3294321360"/>
              </p:ext>
            </p:extLst>
          </p:nvPr>
        </p:nvGraphicFramePr>
        <p:xfrm>
          <a:off x="5529404" y="1539195"/>
          <a:ext cx="5715000" cy="4657725"/>
        </p:xfrm>
        <a:graphic>
          <a:graphicData uri="http://schemas.openxmlformats.org/drawingml/2006/chart">
            <c:chart xmlns:c="http://schemas.openxmlformats.org/drawingml/2006/chart" xmlns:r="http://schemas.openxmlformats.org/officeDocument/2006/relationships" r:id="rId6"/>
          </a:graphicData>
        </a:graphic>
      </p:graphicFrame>
      <p:sp>
        <p:nvSpPr>
          <p:cNvPr id="5" name="Titel 4">
            <a:extLst>
              <a:ext uri="{FF2B5EF4-FFF2-40B4-BE49-F238E27FC236}">
                <a16:creationId xmlns:a16="http://schemas.microsoft.com/office/drawing/2014/main" id="{32DE6835-2BA5-4907-960B-26860B9E3DE3}"/>
              </a:ext>
            </a:extLst>
          </p:cNvPr>
          <p:cNvSpPr>
            <a:spLocks noGrp="1"/>
          </p:cNvSpPr>
          <p:nvPr>
            <p:ph type="title"/>
          </p:nvPr>
        </p:nvSpPr>
        <p:spPr/>
        <p:txBody>
          <a:bodyPr vert="horz"/>
          <a:lstStyle/>
          <a:p>
            <a:r>
              <a:rPr lang="de-CH" dirty="0"/>
              <a:t>Bekanntheit &amp; Nutzung</a:t>
            </a:r>
          </a:p>
        </p:txBody>
      </p:sp>
      <p:sp>
        <p:nvSpPr>
          <p:cNvPr id="3" name="Fußzeilenplatzhalter 2">
            <a:extLst>
              <a:ext uri="{FF2B5EF4-FFF2-40B4-BE49-F238E27FC236}">
                <a16:creationId xmlns:a16="http://schemas.microsoft.com/office/drawing/2014/main" id="{EEAA9A00-01CA-433A-84C7-95D45FA98B7F}"/>
              </a:ext>
            </a:extLst>
          </p:cNvPr>
          <p:cNvSpPr>
            <a:spLocks noGrp="1"/>
          </p:cNvSpPr>
          <p:nvPr>
            <p:ph type="ftr" sz="quarter" idx="10"/>
          </p:nvPr>
        </p:nvSpPr>
        <p:spPr/>
        <p:txBody>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8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rPr>
              <a:t>© LINK | CBD Image Studie 2023 | 12485 | Juni 2023</a:t>
            </a:r>
          </a:p>
        </p:txBody>
      </p:sp>
      <p:sp>
        <p:nvSpPr>
          <p:cNvPr id="4" name="Foliennummernplatzhalter 3">
            <a:extLst>
              <a:ext uri="{FF2B5EF4-FFF2-40B4-BE49-F238E27FC236}">
                <a16:creationId xmlns:a16="http://schemas.microsoft.com/office/drawing/2014/main" id="{23749EA7-1EEE-426D-A122-5F4BF08D59E6}"/>
              </a:ext>
            </a:extLst>
          </p:cNvPr>
          <p:cNvSpPr>
            <a:spLocks noGrp="1"/>
          </p:cNvSpPr>
          <p:nvPr>
            <p:ph type="sldNum" sz="quarter" idx="11"/>
          </p:nvPr>
        </p:nvSpPr>
        <p:spPr/>
        <p:txBody>
          <a:bodyPr/>
          <a:lstStyle/>
          <a:p>
            <a:pPr marL="0" marR="0" lvl="0" indent="0" algn="r" defTabSz="768004" rtl="0" eaLnBrk="1" fontAlgn="auto" latinLnBrk="0" hangingPunct="1">
              <a:lnSpc>
                <a:spcPct val="100000"/>
              </a:lnSpc>
              <a:spcBef>
                <a:spcPts val="0"/>
              </a:spcBef>
              <a:spcAft>
                <a:spcPts val="0"/>
              </a:spcAft>
              <a:buClrTx/>
              <a:buSzTx/>
              <a:buFontTx/>
              <a:buNone/>
              <a:tabLst/>
              <a:defRPr/>
            </a:pPr>
            <a:fld id="{3E554A25-EF9F-433F-A2C4-DF94129C44D1}" type="slidenum">
              <a:rPr kumimoji="0" lang="de-CH" sz="900" b="0" i="0" u="none" strike="noStrike" kern="1200" cap="none" spc="0" normalizeH="0" baseline="0" noProof="0" smtClean="0">
                <a:ln>
                  <a:noFill/>
                </a:ln>
                <a:solidFill>
                  <a:srgbClr val="4D514E"/>
                </a:solidFill>
                <a:effectLst/>
                <a:uLnTx/>
                <a:uFillTx/>
                <a:latin typeface="Arial" panose="020B0604020202020204" pitchFamily="34" charset="0"/>
                <a:ea typeface="+mn-ea"/>
                <a:cs typeface="Arial" panose="020B0604020202020204" pitchFamily="34" charset="0"/>
              </a:rPr>
              <a:pPr marL="0" marR="0" lvl="0" indent="0" algn="r" defTabSz="768004" rtl="0" eaLnBrk="1" fontAlgn="auto" latinLnBrk="0" hangingPunct="1">
                <a:lnSpc>
                  <a:spcPct val="100000"/>
                </a:lnSpc>
                <a:spcBef>
                  <a:spcPts val="0"/>
                </a:spcBef>
                <a:spcAft>
                  <a:spcPts val="0"/>
                </a:spcAft>
                <a:buClrTx/>
                <a:buSzTx/>
                <a:buFontTx/>
                <a:buNone/>
                <a:tabLst/>
                <a:defRPr/>
              </a:pPr>
              <a:t>5</a:t>
            </a:fld>
            <a:endParaRPr kumimoji="0" lang="de-CH" sz="9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endParaRPr>
          </a:p>
        </p:txBody>
      </p:sp>
      <p:sp>
        <p:nvSpPr>
          <p:cNvPr id="12" name="Inhaltsplatzhalter 11">
            <a:extLst>
              <a:ext uri="{FF2B5EF4-FFF2-40B4-BE49-F238E27FC236}">
                <a16:creationId xmlns:a16="http://schemas.microsoft.com/office/drawing/2014/main" id="{CA6F02A4-D978-41C9-9C79-EEA6C42D7CCB}"/>
              </a:ext>
            </a:extLst>
          </p:cNvPr>
          <p:cNvSpPr>
            <a:spLocks noGrp="1"/>
          </p:cNvSpPr>
          <p:nvPr>
            <p:ph sz="quarter" idx="14"/>
          </p:nvPr>
        </p:nvSpPr>
        <p:spPr/>
        <p:txBody>
          <a:bodyPr>
            <a:noAutofit/>
          </a:bodyPr>
          <a:lstStyle/>
          <a:p>
            <a:pPr>
              <a:lnSpc>
                <a:spcPct val="100000"/>
              </a:lnSpc>
            </a:pPr>
            <a:r>
              <a:rPr lang="de-CH" dirty="0"/>
              <a:t>S01: </a:t>
            </a:r>
            <a:r>
              <a:rPr lang="de-DE" dirty="0"/>
              <a:t>Im Folgenden sind einige Produkte aufgelistet, welche verschiedene Wirkungen auf den Körper haben können. Welche davon kennen Sie, wenn auch nur vom Namen her?</a:t>
            </a:r>
            <a:r>
              <a:rPr lang="de-CH" dirty="0"/>
              <a:t> </a:t>
            </a:r>
            <a:br>
              <a:rPr lang="de-CH" dirty="0"/>
            </a:br>
            <a:r>
              <a:rPr lang="de-CH" dirty="0"/>
              <a:t>F090: </a:t>
            </a:r>
            <a:r>
              <a:rPr lang="de-DE" dirty="0"/>
              <a:t>Kommen wir zur Nutzung von frei erhältlichem CBD. Haben Sie in den letzten 12 Monaten oder früher einmal frei erhältliche CBD-Produkte genutzt? </a:t>
            </a:r>
            <a:endParaRPr lang="de-CH" dirty="0"/>
          </a:p>
          <a:p>
            <a:pPr>
              <a:lnSpc>
                <a:spcPct val="100000"/>
              </a:lnSpc>
            </a:pPr>
            <a:r>
              <a:rPr lang="de-CH" dirty="0"/>
              <a:t>Basis: </a:t>
            </a:r>
            <a:r>
              <a:rPr lang="de-CH" dirty="0" err="1"/>
              <a:t>n</a:t>
            </a:r>
            <a:r>
              <a:rPr lang="de-CH" dirty="0"/>
              <a:t>=[ ] | Filter: Alle Befragten | Geschlossene Fragen</a:t>
            </a:r>
          </a:p>
        </p:txBody>
      </p:sp>
      <p:sp>
        <p:nvSpPr>
          <p:cNvPr id="23" name="Textfeld 22">
            <a:extLst>
              <a:ext uri="{FF2B5EF4-FFF2-40B4-BE49-F238E27FC236}">
                <a16:creationId xmlns:a16="http://schemas.microsoft.com/office/drawing/2014/main" id="{9DF1B82A-F7F6-413E-A183-5D0C46F69411}"/>
              </a:ext>
            </a:extLst>
          </p:cNvPr>
          <p:cNvSpPr txBox="1"/>
          <p:nvPr/>
        </p:nvSpPr>
        <p:spPr>
          <a:xfrm>
            <a:off x="318194" y="1573450"/>
            <a:ext cx="5701605" cy="184666"/>
          </a:xfrm>
          <a:prstGeom prst="rect">
            <a:avLst/>
          </a:prstGeom>
          <a:noFill/>
        </p:spPr>
        <p:txBody>
          <a:bodyPr wrap="squar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Bekanntheit freierhältliches CBD | [2´503]</a:t>
            </a: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feld 23">
            <a:extLst>
              <a:ext uri="{FF2B5EF4-FFF2-40B4-BE49-F238E27FC236}">
                <a16:creationId xmlns:a16="http://schemas.microsoft.com/office/drawing/2014/main" id="{2461A25D-BCCE-44BA-AD87-54BC5ADFD421}"/>
              </a:ext>
            </a:extLst>
          </p:cNvPr>
          <p:cNvSpPr txBox="1"/>
          <p:nvPr/>
        </p:nvSpPr>
        <p:spPr>
          <a:xfrm>
            <a:off x="5552324" y="1579209"/>
            <a:ext cx="5701605" cy="184666"/>
          </a:xfrm>
          <a:prstGeom prst="rect">
            <a:avLst/>
          </a:prstGeom>
          <a:noFill/>
        </p:spPr>
        <p:txBody>
          <a:bodyPr wrap="squar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Nutzung | [1´611]</a:t>
            </a: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17" name="Rechteck 20">
            <a:extLst>
              <a:ext uri="{FF2B5EF4-FFF2-40B4-BE49-F238E27FC236}">
                <a16:creationId xmlns:a16="http://schemas.microsoft.com/office/drawing/2014/main" id="{447A77EE-B03F-A7E6-7EE5-1B03CE23C345}"/>
              </a:ext>
            </a:extLst>
          </p:cNvPr>
          <p:cNvSpPr/>
          <p:nvPr/>
        </p:nvSpPr>
        <p:spPr>
          <a:xfrm>
            <a:off x="3396366" y="3292351"/>
            <a:ext cx="2018316" cy="7208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CH" sz="1600" b="1" dirty="0">
                <a:solidFill>
                  <a:schemeClr val="bg1">
                    <a:lumMod val="75000"/>
                  </a:schemeClr>
                </a:solidFill>
              </a:rPr>
              <a:t>der Befragten</a:t>
            </a:r>
          </a:p>
          <a:p>
            <a:r>
              <a:rPr lang="de-CH" sz="1600" b="1" dirty="0">
                <a:solidFill>
                  <a:schemeClr val="accent2"/>
                </a:solidFill>
              </a:rPr>
              <a:t>kennen Produkte </a:t>
            </a:r>
            <a:r>
              <a:rPr lang="de-CH" sz="1600" b="1" dirty="0">
                <a:solidFill>
                  <a:schemeClr val="bg1">
                    <a:lumMod val="75000"/>
                  </a:schemeClr>
                </a:solidFill>
              </a:rPr>
              <a:t>von</a:t>
            </a:r>
            <a:r>
              <a:rPr lang="de-CH" sz="1600" b="1" dirty="0">
                <a:solidFill>
                  <a:schemeClr val="bg2"/>
                </a:solidFill>
              </a:rPr>
              <a:t> </a:t>
            </a:r>
            <a:r>
              <a:rPr lang="de-CH" sz="1600" b="1" dirty="0">
                <a:solidFill>
                  <a:schemeClr val="bg1">
                    <a:lumMod val="75000"/>
                  </a:schemeClr>
                </a:solidFill>
              </a:rPr>
              <a:t>freierhältlichem CBD</a:t>
            </a:r>
            <a:endParaRPr lang="en-GB" sz="1600" b="1" dirty="0">
              <a:solidFill>
                <a:schemeClr val="bg1">
                  <a:lumMod val="75000"/>
                </a:schemeClr>
              </a:solidFill>
            </a:endParaRPr>
          </a:p>
        </p:txBody>
      </p:sp>
      <p:sp>
        <p:nvSpPr>
          <p:cNvPr id="18" name="Rechteck 21">
            <a:extLst>
              <a:ext uri="{FF2B5EF4-FFF2-40B4-BE49-F238E27FC236}">
                <a16:creationId xmlns:a16="http://schemas.microsoft.com/office/drawing/2014/main" id="{37AC0B77-8C5F-E4F3-02CE-02F85085D584}"/>
              </a:ext>
            </a:extLst>
          </p:cNvPr>
          <p:cNvSpPr/>
          <p:nvPr/>
        </p:nvSpPr>
        <p:spPr>
          <a:xfrm>
            <a:off x="2345521" y="2896231"/>
            <a:ext cx="1584000" cy="7200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CH" sz="3200" b="1" dirty="0">
                <a:solidFill>
                  <a:schemeClr val="accent2"/>
                </a:solidFill>
              </a:rPr>
              <a:t>64%</a:t>
            </a:r>
            <a:endParaRPr lang="en-GB" sz="3200" b="1" dirty="0">
              <a:solidFill>
                <a:schemeClr val="accent2"/>
              </a:solidFill>
            </a:endParaRPr>
          </a:p>
        </p:txBody>
      </p:sp>
      <p:sp>
        <p:nvSpPr>
          <p:cNvPr id="19" name="Right Brace 18">
            <a:extLst>
              <a:ext uri="{FF2B5EF4-FFF2-40B4-BE49-F238E27FC236}">
                <a16:creationId xmlns:a16="http://schemas.microsoft.com/office/drawing/2014/main" id="{977C40A6-CBB2-F908-617E-5AE4C14E7638}"/>
              </a:ext>
            </a:extLst>
          </p:cNvPr>
          <p:cNvSpPr/>
          <p:nvPr/>
        </p:nvSpPr>
        <p:spPr>
          <a:xfrm>
            <a:off x="8352869" y="2081127"/>
            <a:ext cx="238466" cy="1711105"/>
          </a:xfrm>
          <a:prstGeom prst="righ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0" name="Textfeld 23">
            <a:extLst>
              <a:ext uri="{FF2B5EF4-FFF2-40B4-BE49-F238E27FC236}">
                <a16:creationId xmlns:a16="http://schemas.microsoft.com/office/drawing/2014/main" id="{E1372DE1-DDBB-653E-4360-72F809978CBE}"/>
              </a:ext>
            </a:extLst>
          </p:cNvPr>
          <p:cNvSpPr txBox="1"/>
          <p:nvPr/>
        </p:nvSpPr>
        <p:spPr>
          <a:xfrm>
            <a:off x="8777577" y="2798180"/>
            <a:ext cx="461665" cy="276999"/>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lang="de-CH" sz="1800" b="1" dirty="0">
                <a:solidFill>
                  <a:schemeClr val="accent6"/>
                </a:solidFill>
                <a:latin typeface="Arial"/>
              </a:rPr>
              <a:t>25%</a:t>
            </a:r>
            <a:endParaRPr kumimoji="0" lang="en-GB" sz="1800" b="1" i="0" u="none" strike="noStrike" kern="1200" cap="none" spc="0" normalizeH="0" baseline="0" noProof="0" dirty="0">
              <a:ln>
                <a:noFill/>
              </a:ln>
              <a:solidFill>
                <a:schemeClr val="accent6"/>
              </a:solidFill>
              <a:effectLst/>
              <a:uLnTx/>
              <a:uFillTx/>
              <a:latin typeface="Arial"/>
              <a:ea typeface="+mn-ea"/>
              <a:cs typeface="+mn-cs"/>
            </a:endParaRPr>
          </a:p>
        </p:txBody>
      </p:sp>
      <p:sp>
        <p:nvSpPr>
          <p:cNvPr id="7" name="Rechteck 20">
            <a:extLst>
              <a:ext uri="{FF2B5EF4-FFF2-40B4-BE49-F238E27FC236}">
                <a16:creationId xmlns:a16="http://schemas.microsoft.com/office/drawing/2014/main" id="{384B6ABD-E847-E912-7E60-02B1863923C7}"/>
              </a:ext>
            </a:extLst>
          </p:cNvPr>
          <p:cNvSpPr/>
          <p:nvPr/>
        </p:nvSpPr>
        <p:spPr>
          <a:xfrm>
            <a:off x="9319209" y="3040160"/>
            <a:ext cx="2018316" cy="7208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r>
              <a:rPr lang="de-CH" sz="1600" b="1" dirty="0">
                <a:solidFill>
                  <a:schemeClr val="bg1">
                    <a:lumMod val="75000"/>
                  </a:schemeClr>
                </a:solidFill>
              </a:rPr>
              <a:t>Der Personen, die frei erhältliches CBD kennen, </a:t>
            </a:r>
            <a:r>
              <a:rPr lang="de-CH" sz="1600" b="1" dirty="0">
                <a:solidFill>
                  <a:schemeClr val="accent6"/>
                </a:solidFill>
              </a:rPr>
              <a:t>haben es bisher genutzt</a:t>
            </a:r>
            <a:endParaRPr lang="en-GB" sz="1600" b="1" dirty="0">
              <a:solidFill>
                <a:schemeClr val="accent6"/>
              </a:solidFill>
            </a:endParaRPr>
          </a:p>
        </p:txBody>
      </p:sp>
      <p:sp>
        <p:nvSpPr>
          <p:cNvPr id="9" name="Textplatzhalter 8">
            <a:extLst>
              <a:ext uri="{FF2B5EF4-FFF2-40B4-BE49-F238E27FC236}">
                <a16:creationId xmlns:a16="http://schemas.microsoft.com/office/drawing/2014/main" id="{3A1F6798-4DF4-685F-5F42-B1B78C0E9CFB}"/>
              </a:ext>
            </a:extLst>
          </p:cNvPr>
          <p:cNvSpPr>
            <a:spLocks noGrp="1"/>
          </p:cNvSpPr>
          <p:nvPr>
            <p:ph type="body" sz="quarter" idx="24"/>
          </p:nvPr>
        </p:nvSpPr>
        <p:spPr/>
        <p:txBody>
          <a:bodyPr/>
          <a:lstStyle/>
          <a:p>
            <a:endParaRPr lang="de-CH"/>
          </a:p>
        </p:txBody>
      </p:sp>
    </p:spTree>
    <p:extLst>
      <p:ext uri="{BB962C8B-B14F-4D97-AF65-F5344CB8AC3E}">
        <p14:creationId xmlns:p14="http://schemas.microsoft.com/office/powerpoint/2010/main" val="30203219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D31909-F4A1-1142-4CAA-0618715E9F56}"/>
              </a:ext>
            </a:extLst>
          </p:cNvPr>
          <p:cNvGraphicFramePr>
            <a:graphicFrameLocks noChangeAspect="1"/>
          </p:cNvGraphicFramePr>
          <p:nvPr>
            <p:custDataLst>
              <p:tags r:id="rId1"/>
            </p:custDataLst>
            <p:extLst>
              <p:ext uri="{D42A27DB-BD31-4B8C-83A1-F6EECF244321}">
                <p14:modId xmlns:p14="http://schemas.microsoft.com/office/powerpoint/2010/main" val="3509530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a:extLst>
                          <a:ext uri="{FF2B5EF4-FFF2-40B4-BE49-F238E27FC236}">
                            <a16:creationId xmlns:a16="http://schemas.microsoft.com/office/drawing/2014/main" id="{63D31909-F4A1-1142-4CAA-0618715E9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2" name="Inhaltsplatzhalter 7">
            <a:extLst>
              <a:ext uri="{FF2B5EF4-FFF2-40B4-BE49-F238E27FC236}">
                <a16:creationId xmlns:a16="http://schemas.microsoft.com/office/drawing/2014/main" id="{A3C7FC8F-A93B-4232-9C69-CD1C4BE5E8DA}"/>
              </a:ext>
            </a:extLst>
          </p:cNvPr>
          <p:cNvGraphicFramePr>
            <a:graphicFrameLocks noGrp="1"/>
          </p:cNvGraphicFramePr>
          <p:nvPr>
            <p:ph sz="quarter" idx="22"/>
            <p:extLst>
              <p:ext uri="{D42A27DB-BD31-4B8C-83A1-F6EECF244321}">
                <p14:modId xmlns:p14="http://schemas.microsoft.com/office/powerpoint/2010/main" val="110072719"/>
              </p:ext>
            </p:extLst>
          </p:nvPr>
        </p:nvGraphicFramePr>
        <p:xfrm>
          <a:off x="304799" y="1503061"/>
          <a:ext cx="2829526" cy="4517493"/>
        </p:xfrm>
        <a:graphic>
          <a:graphicData uri="http://schemas.openxmlformats.org/drawingml/2006/chart">
            <c:chart xmlns:c="http://schemas.openxmlformats.org/drawingml/2006/chart" xmlns:r="http://schemas.openxmlformats.org/officeDocument/2006/relationships" r:id="rId5"/>
          </a:graphicData>
        </a:graphic>
      </p:graphicFrame>
      <p:sp>
        <p:nvSpPr>
          <p:cNvPr id="5" name="Titel 4">
            <a:extLst>
              <a:ext uri="{FF2B5EF4-FFF2-40B4-BE49-F238E27FC236}">
                <a16:creationId xmlns:a16="http://schemas.microsoft.com/office/drawing/2014/main" id="{32DE6835-2BA5-4907-960B-26860B9E3DE3}"/>
              </a:ext>
            </a:extLst>
          </p:cNvPr>
          <p:cNvSpPr>
            <a:spLocks noGrp="1"/>
          </p:cNvSpPr>
          <p:nvPr>
            <p:ph type="title"/>
          </p:nvPr>
        </p:nvSpPr>
        <p:spPr/>
        <p:txBody>
          <a:bodyPr vert="horz"/>
          <a:lstStyle/>
          <a:p>
            <a:r>
              <a:rPr lang="de-CH" dirty="0"/>
              <a:t>Nutzung im Detail (Kenner)</a:t>
            </a:r>
          </a:p>
        </p:txBody>
      </p:sp>
      <p:sp>
        <p:nvSpPr>
          <p:cNvPr id="3" name="Fußzeilenplatzhalter 2">
            <a:extLst>
              <a:ext uri="{FF2B5EF4-FFF2-40B4-BE49-F238E27FC236}">
                <a16:creationId xmlns:a16="http://schemas.microsoft.com/office/drawing/2014/main" id="{EEAA9A00-01CA-433A-84C7-95D45FA98B7F}"/>
              </a:ext>
            </a:extLst>
          </p:cNvPr>
          <p:cNvSpPr>
            <a:spLocks noGrp="1"/>
          </p:cNvSpPr>
          <p:nvPr>
            <p:ph type="ftr" sz="quarter" idx="10"/>
          </p:nvPr>
        </p:nvSpPr>
        <p:spPr/>
        <p:txBody>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8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rPr>
              <a:t>© LINK | CBD Image Studie 2023 | 12485 | Juni 2023</a:t>
            </a:r>
          </a:p>
        </p:txBody>
      </p:sp>
      <p:sp>
        <p:nvSpPr>
          <p:cNvPr id="4" name="Foliennummernplatzhalter 3">
            <a:extLst>
              <a:ext uri="{FF2B5EF4-FFF2-40B4-BE49-F238E27FC236}">
                <a16:creationId xmlns:a16="http://schemas.microsoft.com/office/drawing/2014/main" id="{23749EA7-1EEE-426D-A122-5F4BF08D59E6}"/>
              </a:ext>
            </a:extLst>
          </p:cNvPr>
          <p:cNvSpPr>
            <a:spLocks noGrp="1"/>
          </p:cNvSpPr>
          <p:nvPr>
            <p:ph type="sldNum" sz="quarter" idx="11"/>
          </p:nvPr>
        </p:nvSpPr>
        <p:spPr/>
        <p:txBody>
          <a:bodyPr/>
          <a:lstStyle/>
          <a:p>
            <a:pPr marL="0" marR="0" lvl="0" indent="0" algn="r" defTabSz="768004" rtl="0" eaLnBrk="1" fontAlgn="auto" latinLnBrk="0" hangingPunct="1">
              <a:lnSpc>
                <a:spcPct val="100000"/>
              </a:lnSpc>
              <a:spcBef>
                <a:spcPts val="0"/>
              </a:spcBef>
              <a:spcAft>
                <a:spcPts val="0"/>
              </a:spcAft>
              <a:buClrTx/>
              <a:buSzTx/>
              <a:buFontTx/>
              <a:buNone/>
              <a:tabLst/>
              <a:defRPr/>
            </a:pPr>
            <a:fld id="{3E554A25-EF9F-433F-A2C4-DF94129C44D1}" type="slidenum">
              <a:rPr kumimoji="0" lang="de-CH" sz="900" b="0" i="0" u="none" strike="noStrike" kern="1200" cap="none" spc="0" normalizeH="0" baseline="0" noProof="0" smtClean="0">
                <a:ln>
                  <a:noFill/>
                </a:ln>
                <a:solidFill>
                  <a:srgbClr val="4D514E"/>
                </a:solidFill>
                <a:effectLst/>
                <a:uLnTx/>
                <a:uFillTx/>
                <a:latin typeface="Arial" panose="020B0604020202020204" pitchFamily="34" charset="0"/>
                <a:ea typeface="+mn-ea"/>
                <a:cs typeface="Arial" panose="020B0604020202020204" pitchFamily="34" charset="0"/>
              </a:rPr>
              <a:pPr marL="0" marR="0" lvl="0" indent="0" algn="r" defTabSz="768004" rtl="0" eaLnBrk="1" fontAlgn="auto" latinLnBrk="0" hangingPunct="1">
                <a:lnSpc>
                  <a:spcPct val="100000"/>
                </a:lnSpc>
                <a:spcBef>
                  <a:spcPts val="0"/>
                </a:spcBef>
                <a:spcAft>
                  <a:spcPts val="0"/>
                </a:spcAft>
                <a:buClrTx/>
                <a:buSzTx/>
                <a:buFontTx/>
                <a:buNone/>
                <a:tabLst/>
                <a:defRPr/>
              </a:pPr>
              <a:t>6</a:t>
            </a:fld>
            <a:endParaRPr kumimoji="0" lang="de-CH" sz="9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endParaRPr>
          </a:p>
        </p:txBody>
      </p:sp>
      <p:sp>
        <p:nvSpPr>
          <p:cNvPr id="12" name="Inhaltsplatzhalter 11">
            <a:extLst>
              <a:ext uri="{FF2B5EF4-FFF2-40B4-BE49-F238E27FC236}">
                <a16:creationId xmlns:a16="http://schemas.microsoft.com/office/drawing/2014/main" id="{CA6F02A4-D978-41C9-9C79-EEA6C42D7CCB}"/>
              </a:ext>
            </a:extLst>
          </p:cNvPr>
          <p:cNvSpPr>
            <a:spLocks noGrp="1"/>
          </p:cNvSpPr>
          <p:nvPr>
            <p:ph sz="quarter" idx="14"/>
          </p:nvPr>
        </p:nvSpPr>
        <p:spPr/>
        <p:txBody>
          <a:bodyPr>
            <a:noAutofit/>
          </a:bodyPr>
          <a:lstStyle/>
          <a:p>
            <a:pPr>
              <a:lnSpc>
                <a:spcPct val="100000"/>
              </a:lnSpc>
            </a:pPr>
            <a:r>
              <a:rPr lang="de-CH" dirty="0"/>
              <a:t>F090: </a:t>
            </a:r>
            <a:r>
              <a:rPr lang="de-DE" dirty="0"/>
              <a:t>Kommen wir zur Nutzung von frei erhältlichem CBD. Haben Sie in den letzten 12 Monaten oder früher einmal frei erhältliche CBD-Produkte genutzt? </a:t>
            </a:r>
            <a:endParaRPr lang="de-CH" dirty="0"/>
          </a:p>
          <a:p>
            <a:pPr>
              <a:lnSpc>
                <a:spcPct val="100000"/>
              </a:lnSpc>
            </a:pPr>
            <a:r>
              <a:rPr lang="de-CH" dirty="0"/>
              <a:t>Basis: n=[ ] | Filter: Kenner von CBD | Geschlossene Frage</a:t>
            </a:r>
            <a:br>
              <a:rPr lang="de-CH" dirty="0"/>
            </a:br>
            <a:r>
              <a:rPr lang="de-DE" dirty="0"/>
              <a:t>Die hinter den Wert gesetzten Buchstaben bedeuten einen signifikanten Unterschied (95% Niveau) im Vergleich zu den jeweiligen Gruppen, für die die Buchstaben stellvertretend stehen.</a:t>
            </a:r>
            <a:endParaRPr lang="de-CH" dirty="0"/>
          </a:p>
        </p:txBody>
      </p:sp>
      <p:sp>
        <p:nvSpPr>
          <p:cNvPr id="24" name="Textfeld 23">
            <a:extLst>
              <a:ext uri="{FF2B5EF4-FFF2-40B4-BE49-F238E27FC236}">
                <a16:creationId xmlns:a16="http://schemas.microsoft.com/office/drawing/2014/main" id="{2461A25D-BCCE-44BA-AD87-54BC5ADFD421}"/>
              </a:ext>
            </a:extLst>
          </p:cNvPr>
          <p:cNvSpPr txBox="1"/>
          <p:nvPr/>
        </p:nvSpPr>
        <p:spPr>
          <a:xfrm>
            <a:off x="1305494" y="1579209"/>
            <a:ext cx="866840"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Total </a:t>
            </a:r>
            <a:r>
              <a:rPr kumimoji="0" lang="en-US" sz="1200" i="0" u="none" strike="noStrike" kern="1200" cap="none" spc="0" normalizeH="0" baseline="0" noProof="0" dirty="0">
                <a:ln>
                  <a:noFill/>
                </a:ln>
                <a:solidFill>
                  <a:srgbClr val="000000"/>
                </a:solidFill>
                <a:effectLst/>
                <a:uLnTx/>
                <a:uFillTx/>
                <a:latin typeface="Arial"/>
                <a:ea typeface="+mn-ea"/>
                <a:cs typeface="+mn-cs"/>
              </a:rPr>
              <a:t>[1´611]</a:t>
            </a:r>
            <a:endParaRPr kumimoji="0" lang="en-GB" sz="120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Right Brace 18">
            <a:extLst>
              <a:ext uri="{FF2B5EF4-FFF2-40B4-BE49-F238E27FC236}">
                <a16:creationId xmlns:a16="http://schemas.microsoft.com/office/drawing/2014/main" id="{977C40A6-CBB2-F908-617E-5AE4C14E7638}"/>
              </a:ext>
            </a:extLst>
          </p:cNvPr>
          <p:cNvSpPr/>
          <p:nvPr/>
        </p:nvSpPr>
        <p:spPr>
          <a:xfrm>
            <a:off x="2896134" y="2095530"/>
            <a:ext cx="238466" cy="1543964"/>
          </a:xfrm>
          <a:prstGeom prst="righ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0" name="Textfeld 23">
            <a:extLst>
              <a:ext uri="{FF2B5EF4-FFF2-40B4-BE49-F238E27FC236}">
                <a16:creationId xmlns:a16="http://schemas.microsoft.com/office/drawing/2014/main" id="{E1372DE1-DDBB-653E-4360-72F809978CBE}"/>
              </a:ext>
            </a:extLst>
          </p:cNvPr>
          <p:cNvSpPr txBox="1"/>
          <p:nvPr/>
        </p:nvSpPr>
        <p:spPr>
          <a:xfrm>
            <a:off x="3217130" y="2759790"/>
            <a:ext cx="306174"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rgbClr val="000000"/>
                </a:solidFill>
                <a:latin typeface="Arial"/>
              </a:rPr>
              <a:t>25%</a:t>
            </a: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p:txBody>
      </p:sp>
      <p:grpSp>
        <p:nvGrpSpPr>
          <p:cNvPr id="56" name="Group 55">
            <a:extLst>
              <a:ext uri="{FF2B5EF4-FFF2-40B4-BE49-F238E27FC236}">
                <a16:creationId xmlns:a16="http://schemas.microsoft.com/office/drawing/2014/main" id="{12D1E43C-160B-9B28-0F07-0446C1AF362B}"/>
              </a:ext>
            </a:extLst>
          </p:cNvPr>
          <p:cNvGrpSpPr/>
          <p:nvPr/>
        </p:nvGrpSpPr>
        <p:grpSpPr>
          <a:xfrm>
            <a:off x="3643466" y="1503061"/>
            <a:ext cx="2829526" cy="4517493"/>
            <a:chOff x="3597360" y="1503061"/>
            <a:chExt cx="2829526" cy="4517493"/>
          </a:xfrm>
        </p:grpSpPr>
        <p:graphicFrame>
          <p:nvGraphicFramePr>
            <p:cNvPr id="25" name="Inhaltsplatzhalter 7">
              <a:extLst>
                <a:ext uri="{FF2B5EF4-FFF2-40B4-BE49-F238E27FC236}">
                  <a16:creationId xmlns:a16="http://schemas.microsoft.com/office/drawing/2014/main" id="{1440A966-AD3C-25F4-1046-B6FAA5001C33}"/>
                </a:ext>
              </a:extLst>
            </p:cNvPr>
            <p:cNvGraphicFramePr>
              <a:graphicFrameLocks/>
            </p:cNvGraphicFramePr>
            <p:nvPr>
              <p:extLst>
                <p:ext uri="{D42A27DB-BD31-4B8C-83A1-F6EECF244321}">
                  <p14:modId xmlns:p14="http://schemas.microsoft.com/office/powerpoint/2010/main" val="961629745"/>
                </p:ext>
              </p:extLst>
            </p:nvPr>
          </p:nvGraphicFramePr>
          <p:xfrm>
            <a:off x="3597360" y="1503061"/>
            <a:ext cx="2829526" cy="4517493"/>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feld 23">
              <a:extLst>
                <a:ext uri="{FF2B5EF4-FFF2-40B4-BE49-F238E27FC236}">
                  <a16:creationId xmlns:a16="http://schemas.microsoft.com/office/drawing/2014/main" id="{9630AF65-02CE-2356-BAE0-AFE0CBCE6578}"/>
                </a:ext>
              </a:extLst>
            </p:cNvPr>
            <p:cNvSpPr txBox="1"/>
            <p:nvPr/>
          </p:nvSpPr>
          <p:spPr>
            <a:xfrm>
              <a:off x="3669788" y="1576126"/>
              <a:ext cx="743658" cy="177189"/>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Geschlecht</a:t>
              </a:r>
              <a:endParaRPr kumimoji="0" lang="en-GB" sz="120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Right Brace 28">
              <a:extLst>
                <a:ext uri="{FF2B5EF4-FFF2-40B4-BE49-F238E27FC236}">
                  <a16:creationId xmlns:a16="http://schemas.microsoft.com/office/drawing/2014/main" id="{870F98A1-1397-B2C3-7F07-7894DA492412}"/>
                </a:ext>
              </a:extLst>
            </p:cNvPr>
            <p:cNvSpPr/>
            <p:nvPr/>
          </p:nvSpPr>
          <p:spPr>
            <a:xfrm>
              <a:off x="5443217" y="2071543"/>
              <a:ext cx="213981" cy="1481454"/>
            </a:xfrm>
            <a:prstGeom prst="righ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0" name="Textfeld 23">
              <a:extLst>
                <a:ext uri="{FF2B5EF4-FFF2-40B4-BE49-F238E27FC236}">
                  <a16:creationId xmlns:a16="http://schemas.microsoft.com/office/drawing/2014/main" id="{E58C080D-3016-ACD3-4D5E-2062ED5C4432}"/>
                </a:ext>
              </a:extLst>
            </p:cNvPr>
            <p:cNvSpPr txBox="1"/>
            <p:nvPr/>
          </p:nvSpPr>
          <p:spPr>
            <a:xfrm>
              <a:off x="5731254" y="2605549"/>
              <a:ext cx="306174" cy="369332"/>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chemeClr val="accent6"/>
                  </a:solidFill>
                  <a:latin typeface="Arial"/>
                </a:rPr>
                <a:t>24%</a:t>
              </a:r>
            </a:p>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chemeClr val="accent6">
                      <a:lumMod val="60000"/>
                      <a:lumOff val="40000"/>
                    </a:schemeClr>
                  </a:solidFill>
                  <a:effectLst/>
                  <a:uLnTx/>
                  <a:uFillTx/>
                  <a:latin typeface="Arial"/>
                  <a:ea typeface="+mn-ea"/>
                  <a:cs typeface="+mn-cs"/>
                </a:rPr>
                <a:t>27%</a:t>
              </a:r>
              <a:endParaRPr kumimoji="0" lang="en-GB" sz="1200" b="1" i="0" u="none" strike="noStrike" kern="1200" cap="none" spc="0" normalizeH="0" baseline="0" noProof="0" dirty="0">
                <a:ln>
                  <a:noFill/>
                </a:ln>
                <a:solidFill>
                  <a:schemeClr val="accent6">
                    <a:lumMod val="60000"/>
                    <a:lumOff val="40000"/>
                  </a:schemeClr>
                </a:solidFill>
                <a:effectLst/>
                <a:uLnTx/>
                <a:uFillTx/>
                <a:latin typeface="Arial"/>
                <a:ea typeface="+mn-ea"/>
                <a:cs typeface="+mn-cs"/>
              </a:endParaRPr>
            </a:p>
          </p:txBody>
        </p:sp>
      </p:grpSp>
      <p:grpSp>
        <p:nvGrpSpPr>
          <p:cNvPr id="55" name="Group 54">
            <a:extLst>
              <a:ext uri="{FF2B5EF4-FFF2-40B4-BE49-F238E27FC236}">
                <a16:creationId xmlns:a16="http://schemas.microsoft.com/office/drawing/2014/main" id="{48CB68A8-7E9E-C8E0-36A5-D1622D41887B}"/>
              </a:ext>
            </a:extLst>
          </p:cNvPr>
          <p:cNvGrpSpPr/>
          <p:nvPr/>
        </p:nvGrpSpPr>
        <p:grpSpPr>
          <a:xfrm>
            <a:off x="6412693" y="1503061"/>
            <a:ext cx="2829526" cy="4517493"/>
            <a:chOff x="6279965" y="1503061"/>
            <a:chExt cx="2829526" cy="4517493"/>
          </a:xfrm>
        </p:grpSpPr>
        <p:graphicFrame>
          <p:nvGraphicFramePr>
            <p:cNvPr id="51" name="Inhaltsplatzhalter 7">
              <a:extLst>
                <a:ext uri="{FF2B5EF4-FFF2-40B4-BE49-F238E27FC236}">
                  <a16:creationId xmlns:a16="http://schemas.microsoft.com/office/drawing/2014/main" id="{DDD2DDA6-3F9B-6616-7EB2-35B7DE6DD733}"/>
                </a:ext>
              </a:extLst>
            </p:cNvPr>
            <p:cNvGraphicFramePr>
              <a:graphicFrameLocks/>
            </p:cNvGraphicFramePr>
            <p:nvPr>
              <p:extLst>
                <p:ext uri="{D42A27DB-BD31-4B8C-83A1-F6EECF244321}">
                  <p14:modId xmlns:p14="http://schemas.microsoft.com/office/powerpoint/2010/main" val="3502637347"/>
                </p:ext>
              </p:extLst>
            </p:nvPr>
          </p:nvGraphicFramePr>
          <p:xfrm>
            <a:off x="6279965" y="1503061"/>
            <a:ext cx="2829526" cy="4517493"/>
          </p:xfrm>
          <a:graphic>
            <a:graphicData uri="http://schemas.openxmlformats.org/drawingml/2006/chart">
              <c:chart xmlns:c="http://schemas.openxmlformats.org/drawingml/2006/chart" xmlns:r="http://schemas.openxmlformats.org/officeDocument/2006/relationships" r:id="rId7"/>
            </a:graphicData>
          </a:graphic>
        </p:graphicFrame>
        <p:sp>
          <p:nvSpPr>
            <p:cNvPr id="52" name="Textfeld 23">
              <a:extLst>
                <a:ext uri="{FF2B5EF4-FFF2-40B4-BE49-F238E27FC236}">
                  <a16:creationId xmlns:a16="http://schemas.microsoft.com/office/drawing/2014/main" id="{6EC0FB9F-DCE5-FC80-F38F-804B05EB5CAD}"/>
                </a:ext>
              </a:extLst>
            </p:cNvPr>
            <p:cNvSpPr txBox="1"/>
            <p:nvPr/>
          </p:nvSpPr>
          <p:spPr>
            <a:xfrm>
              <a:off x="6352393" y="1576126"/>
              <a:ext cx="349455"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Alter</a:t>
              </a:r>
              <a:endParaRPr kumimoji="0" lang="en-GB" sz="120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Right Brace 52">
              <a:extLst>
                <a:ext uri="{FF2B5EF4-FFF2-40B4-BE49-F238E27FC236}">
                  <a16:creationId xmlns:a16="http://schemas.microsoft.com/office/drawing/2014/main" id="{FDD6ECFB-797E-A12A-F9F1-70D4E0605462}"/>
                </a:ext>
              </a:extLst>
            </p:cNvPr>
            <p:cNvSpPr/>
            <p:nvPr/>
          </p:nvSpPr>
          <p:spPr>
            <a:xfrm>
              <a:off x="8125822" y="2071543"/>
              <a:ext cx="213981" cy="1481454"/>
            </a:xfrm>
            <a:prstGeom prst="righ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4" name="Textfeld 23">
              <a:extLst>
                <a:ext uri="{FF2B5EF4-FFF2-40B4-BE49-F238E27FC236}">
                  <a16:creationId xmlns:a16="http://schemas.microsoft.com/office/drawing/2014/main" id="{1BF9483B-9CA9-5A5C-CFFE-0324535E3B9D}"/>
                </a:ext>
              </a:extLst>
            </p:cNvPr>
            <p:cNvSpPr txBox="1"/>
            <p:nvPr/>
          </p:nvSpPr>
          <p:spPr>
            <a:xfrm>
              <a:off x="8413859" y="2442938"/>
              <a:ext cx="452047" cy="738664"/>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chemeClr val="accent4">
                      <a:lumMod val="75000"/>
                    </a:schemeClr>
                  </a:solidFill>
                  <a:latin typeface="Arial"/>
                </a:rPr>
                <a:t>30% </a:t>
              </a:r>
              <a:r>
                <a:rPr lang="de-CH" sz="1200" dirty="0">
                  <a:latin typeface="Arial"/>
                </a:rPr>
                <a:t>E</a:t>
              </a:r>
            </a:p>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chemeClr val="accent4"/>
                  </a:solidFill>
                  <a:effectLst/>
                  <a:uLnTx/>
                  <a:uFillTx/>
                  <a:latin typeface="Arial"/>
                  <a:ea typeface="+mn-ea"/>
                  <a:cs typeface="+mn-cs"/>
                </a:rPr>
                <a:t>25%</a:t>
              </a:r>
            </a:p>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chemeClr val="accent4">
                      <a:lumMod val="60000"/>
                      <a:lumOff val="40000"/>
                    </a:schemeClr>
                  </a:solidFill>
                  <a:latin typeface="Arial"/>
                </a:rPr>
                <a:t>22%</a:t>
              </a:r>
            </a:p>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chemeClr val="accent4">
                      <a:lumMod val="40000"/>
                      <a:lumOff val="60000"/>
                    </a:schemeClr>
                  </a:solidFill>
                  <a:effectLst/>
                  <a:uLnTx/>
                  <a:uFillTx/>
                  <a:latin typeface="Arial"/>
                  <a:ea typeface="+mn-ea"/>
                  <a:cs typeface="+mn-cs"/>
                </a:rPr>
                <a:t>26%</a:t>
              </a:r>
              <a:endParaRPr kumimoji="0" lang="en-GB" sz="1200" b="1" i="0" u="none" strike="noStrike" kern="1200" cap="none" spc="0" normalizeH="0" baseline="0" noProof="0" dirty="0">
                <a:ln>
                  <a:noFill/>
                </a:ln>
                <a:solidFill>
                  <a:schemeClr val="accent4">
                    <a:lumMod val="40000"/>
                    <a:lumOff val="60000"/>
                  </a:schemeClr>
                </a:solidFill>
                <a:effectLst/>
                <a:uLnTx/>
                <a:uFillTx/>
                <a:latin typeface="Arial"/>
                <a:ea typeface="+mn-ea"/>
                <a:cs typeface="+mn-cs"/>
              </a:endParaRPr>
            </a:p>
          </p:txBody>
        </p:sp>
      </p:grpSp>
      <p:grpSp>
        <p:nvGrpSpPr>
          <p:cNvPr id="57" name="Group 56">
            <a:extLst>
              <a:ext uri="{FF2B5EF4-FFF2-40B4-BE49-F238E27FC236}">
                <a16:creationId xmlns:a16="http://schemas.microsoft.com/office/drawing/2014/main" id="{3F17F18F-ED6A-86B0-D8D6-4B2659536883}"/>
              </a:ext>
            </a:extLst>
          </p:cNvPr>
          <p:cNvGrpSpPr/>
          <p:nvPr/>
        </p:nvGrpSpPr>
        <p:grpSpPr>
          <a:xfrm>
            <a:off x="9181919" y="1503061"/>
            <a:ext cx="2829526" cy="4517493"/>
            <a:chOff x="3597360" y="1503061"/>
            <a:chExt cx="2829526" cy="4517493"/>
          </a:xfrm>
        </p:grpSpPr>
        <p:graphicFrame>
          <p:nvGraphicFramePr>
            <p:cNvPr id="58" name="Inhaltsplatzhalter 7">
              <a:extLst>
                <a:ext uri="{FF2B5EF4-FFF2-40B4-BE49-F238E27FC236}">
                  <a16:creationId xmlns:a16="http://schemas.microsoft.com/office/drawing/2014/main" id="{D4E0DF3A-5CF2-B3BD-31D9-609AC7CF8A19}"/>
                </a:ext>
              </a:extLst>
            </p:cNvPr>
            <p:cNvGraphicFramePr>
              <a:graphicFrameLocks/>
            </p:cNvGraphicFramePr>
            <p:nvPr>
              <p:extLst>
                <p:ext uri="{D42A27DB-BD31-4B8C-83A1-F6EECF244321}">
                  <p14:modId xmlns:p14="http://schemas.microsoft.com/office/powerpoint/2010/main" val="1754291954"/>
                </p:ext>
              </p:extLst>
            </p:nvPr>
          </p:nvGraphicFramePr>
          <p:xfrm>
            <a:off x="3597360" y="1503061"/>
            <a:ext cx="2829526" cy="4517493"/>
          </p:xfrm>
          <a:graphic>
            <a:graphicData uri="http://schemas.openxmlformats.org/drawingml/2006/chart">
              <c:chart xmlns:c="http://schemas.openxmlformats.org/drawingml/2006/chart" xmlns:r="http://schemas.openxmlformats.org/officeDocument/2006/relationships" r:id="rId8"/>
            </a:graphicData>
          </a:graphic>
        </p:graphicFrame>
        <p:sp>
          <p:nvSpPr>
            <p:cNvPr id="59" name="Textfeld 23">
              <a:extLst>
                <a:ext uri="{FF2B5EF4-FFF2-40B4-BE49-F238E27FC236}">
                  <a16:creationId xmlns:a16="http://schemas.microsoft.com/office/drawing/2014/main" id="{3CA27929-D145-613E-ED90-C573BAEEE99C}"/>
                </a:ext>
              </a:extLst>
            </p:cNvPr>
            <p:cNvSpPr txBox="1"/>
            <p:nvPr/>
          </p:nvSpPr>
          <p:spPr>
            <a:xfrm>
              <a:off x="3669788" y="1576126"/>
              <a:ext cx="522579"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Region</a:t>
              </a:r>
              <a:endParaRPr kumimoji="0" lang="en-GB" sz="120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Right Brace 59">
              <a:extLst>
                <a:ext uri="{FF2B5EF4-FFF2-40B4-BE49-F238E27FC236}">
                  <a16:creationId xmlns:a16="http://schemas.microsoft.com/office/drawing/2014/main" id="{DEEEF7A0-C1FB-3A1E-0277-C2511E10A595}"/>
                </a:ext>
              </a:extLst>
            </p:cNvPr>
            <p:cNvSpPr/>
            <p:nvPr/>
          </p:nvSpPr>
          <p:spPr>
            <a:xfrm>
              <a:off x="5443217" y="2071543"/>
              <a:ext cx="213981" cy="1481454"/>
            </a:xfrm>
            <a:prstGeom prst="righ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1" name="Textfeld 23">
              <a:extLst>
                <a:ext uri="{FF2B5EF4-FFF2-40B4-BE49-F238E27FC236}">
                  <a16:creationId xmlns:a16="http://schemas.microsoft.com/office/drawing/2014/main" id="{C59A58C8-4D9D-C51A-D921-DCD9C672A4BF}"/>
                </a:ext>
              </a:extLst>
            </p:cNvPr>
            <p:cNvSpPr txBox="1"/>
            <p:nvPr/>
          </p:nvSpPr>
          <p:spPr>
            <a:xfrm>
              <a:off x="5731254" y="2535271"/>
              <a:ext cx="392736" cy="553998"/>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chemeClr val="accent5"/>
                  </a:solidFill>
                  <a:latin typeface="Arial"/>
                </a:rPr>
                <a:t>26% </a:t>
              </a:r>
              <a:r>
                <a:rPr lang="de-CH" sz="1200" dirty="0">
                  <a:latin typeface="Arial"/>
                </a:rPr>
                <a:t>I</a:t>
              </a:r>
            </a:p>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chemeClr val="accent5">
                      <a:lumMod val="40000"/>
                      <a:lumOff val="60000"/>
                    </a:schemeClr>
                  </a:solidFill>
                  <a:effectLst/>
                  <a:uLnTx/>
                  <a:uFillTx/>
                  <a:latin typeface="Arial"/>
                  <a:ea typeface="+mn-ea"/>
                  <a:cs typeface="+mn-cs"/>
                </a:rPr>
                <a:t>24%</a:t>
              </a:r>
            </a:p>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chemeClr val="accent5">
                      <a:lumMod val="20000"/>
                      <a:lumOff val="80000"/>
                    </a:schemeClr>
                  </a:solidFill>
                  <a:latin typeface="Arial"/>
                </a:rPr>
                <a:t>19%</a:t>
              </a:r>
              <a:endParaRPr kumimoji="0" lang="en-GB" sz="1200" b="1" i="0" u="none" strike="noStrike" kern="1200" cap="none" spc="0" normalizeH="0" baseline="0" noProof="0" dirty="0">
                <a:ln>
                  <a:noFill/>
                </a:ln>
                <a:solidFill>
                  <a:schemeClr val="accent5">
                    <a:lumMod val="20000"/>
                    <a:lumOff val="80000"/>
                  </a:schemeClr>
                </a:solidFill>
                <a:effectLst/>
                <a:uLnTx/>
                <a:uFillTx/>
                <a:latin typeface="Arial"/>
                <a:ea typeface="+mn-ea"/>
                <a:cs typeface="+mn-cs"/>
              </a:endParaRPr>
            </a:p>
          </p:txBody>
        </p:sp>
      </p:grpSp>
      <p:sp>
        <p:nvSpPr>
          <p:cNvPr id="11" name="Textplatzhalter 10">
            <a:extLst>
              <a:ext uri="{FF2B5EF4-FFF2-40B4-BE49-F238E27FC236}">
                <a16:creationId xmlns:a16="http://schemas.microsoft.com/office/drawing/2014/main" id="{1C5C11F3-6898-E8A2-0ACB-1CF7ED082B3B}"/>
              </a:ext>
            </a:extLst>
          </p:cNvPr>
          <p:cNvSpPr>
            <a:spLocks noGrp="1"/>
          </p:cNvSpPr>
          <p:nvPr>
            <p:ph type="body" sz="quarter" idx="26"/>
          </p:nvPr>
        </p:nvSpPr>
        <p:spPr/>
        <p:txBody>
          <a:bodyPr/>
          <a:lstStyle/>
          <a:p>
            <a:endParaRPr lang="de-CH"/>
          </a:p>
        </p:txBody>
      </p:sp>
      <p:sp>
        <p:nvSpPr>
          <p:cNvPr id="13" name="Textfeld 12">
            <a:extLst>
              <a:ext uri="{FF2B5EF4-FFF2-40B4-BE49-F238E27FC236}">
                <a16:creationId xmlns:a16="http://schemas.microsoft.com/office/drawing/2014/main" id="{CB7F6F49-C2C0-3D38-D4D6-7EF071C52186}"/>
              </a:ext>
            </a:extLst>
          </p:cNvPr>
          <p:cNvSpPr txBox="1"/>
          <p:nvPr/>
        </p:nvSpPr>
        <p:spPr>
          <a:xfrm>
            <a:off x="8412230" y="2360637"/>
            <a:ext cx="705891" cy="861774"/>
          </a:xfrm>
          <a:prstGeom prst="rect">
            <a:avLst/>
          </a:prstGeom>
          <a:noFill/>
          <a:ln>
            <a:solidFill>
              <a:schemeClr val="accent2"/>
            </a:solidFill>
          </a:ln>
        </p:spPr>
        <p:txBody>
          <a:bodyPr wrap="square" lIns="0" tIns="0" rIns="0" bIns="0" rtlCol="0">
            <a:spAutoFit/>
          </a:bodyPr>
          <a:lstStyle/>
          <a:p>
            <a:pPr algn="l"/>
            <a:endParaRPr lang="de-CH" sz="1400" dirty="0"/>
          </a:p>
          <a:p>
            <a:pPr algn="l"/>
            <a:endParaRPr lang="de-CH" sz="1400" dirty="0"/>
          </a:p>
          <a:p>
            <a:pPr algn="l"/>
            <a:endParaRPr lang="de-CH" sz="1400" dirty="0"/>
          </a:p>
          <a:p>
            <a:pPr algn="l"/>
            <a:endParaRPr lang="de-CH" sz="1400" dirty="0"/>
          </a:p>
        </p:txBody>
      </p:sp>
    </p:spTree>
    <p:extLst>
      <p:ext uri="{BB962C8B-B14F-4D97-AF65-F5344CB8AC3E}">
        <p14:creationId xmlns:p14="http://schemas.microsoft.com/office/powerpoint/2010/main" val="1047663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D31909-F4A1-1142-4CAA-0618715E9F56}"/>
              </a:ext>
            </a:extLst>
          </p:cNvPr>
          <p:cNvGraphicFramePr>
            <a:graphicFrameLocks noChangeAspect="1"/>
          </p:cNvGraphicFramePr>
          <p:nvPr>
            <p:custDataLst>
              <p:tags r:id="rId1"/>
            </p:custDataLst>
            <p:extLst>
              <p:ext uri="{D42A27DB-BD31-4B8C-83A1-F6EECF244321}">
                <p14:modId xmlns:p14="http://schemas.microsoft.com/office/powerpoint/2010/main" val="3322324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a:extLst>
                          <a:ext uri="{FF2B5EF4-FFF2-40B4-BE49-F238E27FC236}">
                            <a16:creationId xmlns:a16="http://schemas.microsoft.com/office/drawing/2014/main" id="{63D31909-F4A1-1142-4CAA-0618715E9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2" name="Inhaltsplatzhalter 7">
            <a:extLst>
              <a:ext uri="{FF2B5EF4-FFF2-40B4-BE49-F238E27FC236}">
                <a16:creationId xmlns:a16="http://schemas.microsoft.com/office/drawing/2014/main" id="{A3C7FC8F-A93B-4232-9C69-CD1C4BE5E8DA}"/>
              </a:ext>
            </a:extLst>
          </p:cNvPr>
          <p:cNvGraphicFramePr>
            <a:graphicFrameLocks noGrp="1"/>
          </p:cNvGraphicFramePr>
          <p:nvPr>
            <p:ph sz="quarter" idx="22"/>
            <p:extLst>
              <p:ext uri="{D42A27DB-BD31-4B8C-83A1-F6EECF244321}">
                <p14:modId xmlns:p14="http://schemas.microsoft.com/office/powerpoint/2010/main" val="2796072999"/>
              </p:ext>
            </p:extLst>
          </p:nvPr>
        </p:nvGraphicFramePr>
        <p:xfrm>
          <a:off x="304799" y="1503061"/>
          <a:ext cx="2829526" cy="4517493"/>
        </p:xfrm>
        <a:graphic>
          <a:graphicData uri="http://schemas.openxmlformats.org/drawingml/2006/chart">
            <c:chart xmlns:c="http://schemas.openxmlformats.org/drawingml/2006/chart" xmlns:r="http://schemas.openxmlformats.org/officeDocument/2006/relationships" r:id="rId5"/>
          </a:graphicData>
        </a:graphic>
      </p:graphicFrame>
      <p:sp>
        <p:nvSpPr>
          <p:cNvPr id="5" name="Titel 4">
            <a:extLst>
              <a:ext uri="{FF2B5EF4-FFF2-40B4-BE49-F238E27FC236}">
                <a16:creationId xmlns:a16="http://schemas.microsoft.com/office/drawing/2014/main" id="{32DE6835-2BA5-4907-960B-26860B9E3DE3}"/>
              </a:ext>
            </a:extLst>
          </p:cNvPr>
          <p:cNvSpPr>
            <a:spLocks noGrp="1"/>
          </p:cNvSpPr>
          <p:nvPr>
            <p:ph type="title"/>
          </p:nvPr>
        </p:nvSpPr>
        <p:spPr>
          <a:xfrm>
            <a:off x="304799" y="671981"/>
            <a:ext cx="11582400" cy="677108"/>
          </a:xfrm>
        </p:spPr>
        <p:txBody>
          <a:bodyPr vert="horz"/>
          <a:lstStyle/>
          <a:p>
            <a:r>
              <a:rPr lang="de-CH" dirty="0"/>
              <a:t>Nutzungsabsicht von Personen, die noch nie frei erhältliche CBD-Produkte genutzt haben</a:t>
            </a:r>
          </a:p>
        </p:txBody>
      </p:sp>
      <p:sp>
        <p:nvSpPr>
          <p:cNvPr id="3" name="Fußzeilenplatzhalter 2">
            <a:extLst>
              <a:ext uri="{FF2B5EF4-FFF2-40B4-BE49-F238E27FC236}">
                <a16:creationId xmlns:a16="http://schemas.microsoft.com/office/drawing/2014/main" id="{EEAA9A00-01CA-433A-84C7-95D45FA98B7F}"/>
              </a:ext>
            </a:extLst>
          </p:cNvPr>
          <p:cNvSpPr>
            <a:spLocks noGrp="1"/>
          </p:cNvSpPr>
          <p:nvPr>
            <p:ph type="ftr" sz="quarter" idx="10"/>
          </p:nvPr>
        </p:nvSpPr>
        <p:spPr/>
        <p:txBody>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8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rPr>
              <a:t>© LINK | CBD Image Studie 2023 | 12485 | Juni 2023</a:t>
            </a:r>
          </a:p>
        </p:txBody>
      </p:sp>
      <p:sp>
        <p:nvSpPr>
          <p:cNvPr id="4" name="Foliennummernplatzhalter 3">
            <a:extLst>
              <a:ext uri="{FF2B5EF4-FFF2-40B4-BE49-F238E27FC236}">
                <a16:creationId xmlns:a16="http://schemas.microsoft.com/office/drawing/2014/main" id="{23749EA7-1EEE-426D-A122-5F4BF08D59E6}"/>
              </a:ext>
            </a:extLst>
          </p:cNvPr>
          <p:cNvSpPr>
            <a:spLocks noGrp="1"/>
          </p:cNvSpPr>
          <p:nvPr>
            <p:ph type="sldNum" sz="quarter" idx="11"/>
          </p:nvPr>
        </p:nvSpPr>
        <p:spPr/>
        <p:txBody>
          <a:bodyPr/>
          <a:lstStyle/>
          <a:p>
            <a:pPr marL="0" marR="0" lvl="0" indent="0" algn="r" defTabSz="768004" rtl="0" eaLnBrk="1" fontAlgn="auto" latinLnBrk="0" hangingPunct="1">
              <a:lnSpc>
                <a:spcPct val="100000"/>
              </a:lnSpc>
              <a:spcBef>
                <a:spcPts val="0"/>
              </a:spcBef>
              <a:spcAft>
                <a:spcPts val="0"/>
              </a:spcAft>
              <a:buClrTx/>
              <a:buSzTx/>
              <a:buFontTx/>
              <a:buNone/>
              <a:tabLst/>
              <a:defRPr/>
            </a:pPr>
            <a:fld id="{3E554A25-EF9F-433F-A2C4-DF94129C44D1}" type="slidenum">
              <a:rPr kumimoji="0" lang="de-CH" sz="900" b="0" i="0" u="none" strike="noStrike" kern="1200" cap="none" spc="0" normalizeH="0" baseline="0" noProof="0" smtClean="0">
                <a:ln>
                  <a:noFill/>
                </a:ln>
                <a:solidFill>
                  <a:srgbClr val="4D514E"/>
                </a:solidFill>
                <a:effectLst/>
                <a:uLnTx/>
                <a:uFillTx/>
                <a:latin typeface="Arial" panose="020B0604020202020204" pitchFamily="34" charset="0"/>
                <a:ea typeface="+mn-ea"/>
                <a:cs typeface="Arial" panose="020B0604020202020204" pitchFamily="34" charset="0"/>
              </a:rPr>
              <a:pPr marL="0" marR="0" lvl="0" indent="0" algn="r" defTabSz="768004" rtl="0" eaLnBrk="1" fontAlgn="auto" latinLnBrk="0" hangingPunct="1">
                <a:lnSpc>
                  <a:spcPct val="100000"/>
                </a:lnSpc>
                <a:spcBef>
                  <a:spcPts val="0"/>
                </a:spcBef>
                <a:spcAft>
                  <a:spcPts val="0"/>
                </a:spcAft>
                <a:buClrTx/>
                <a:buSzTx/>
                <a:buFontTx/>
                <a:buNone/>
                <a:tabLst/>
                <a:defRPr/>
              </a:pPr>
              <a:t>7</a:t>
            </a:fld>
            <a:endParaRPr kumimoji="0" lang="de-CH" sz="9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endParaRPr>
          </a:p>
        </p:txBody>
      </p:sp>
      <p:sp>
        <p:nvSpPr>
          <p:cNvPr id="12" name="Inhaltsplatzhalter 11">
            <a:extLst>
              <a:ext uri="{FF2B5EF4-FFF2-40B4-BE49-F238E27FC236}">
                <a16:creationId xmlns:a16="http://schemas.microsoft.com/office/drawing/2014/main" id="{CA6F02A4-D978-41C9-9C79-EEA6C42D7CCB}"/>
              </a:ext>
            </a:extLst>
          </p:cNvPr>
          <p:cNvSpPr>
            <a:spLocks noGrp="1"/>
          </p:cNvSpPr>
          <p:nvPr>
            <p:ph sz="quarter" idx="14"/>
          </p:nvPr>
        </p:nvSpPr>
        <p:spPr/>
        <p:txBody>
          <a:bodyPr>
            <a:noAutofit/>
          </a:bodyPr>
          <a:lstStyle/>
          <a:p>
            <a:pPr>
              <a:lnSpc>
                <a:spcPct val="100000"/>
              </a:lnSpc>
            </a:pPr>
            <a:r>
              <a:rPr lang="en-US" dirty="0"/>
              <a:t>F110: </a:t>
            </a:r>
            <a:r>
              <a:rPr lang="de-DE" dirty="0"/>
              <a:t>Können Sie sich vorstellen, in den nächsten 12 Monaten frei erhältliche CBD-Produkte (egal welche Darreichungsform) auszuprobieren? </a:t>
            </a:r>
            <a:endParaRPr lang="de-CH" dirty="0"/>
          </a:p>
          <a:p>
            <a:pPr>
              <a:lnSpc>
                <a:spcPct val="100000"/>
              </a:lnSpc>
            </a:pPr>
            <a:r>
              <a:rPr lang="de-CH" dirty="0"/>
              <a:t>Basis: n=[ ] | Filter: Kenner von CBD und haben noch nie </a:t>
            </a:r>
            <a:r>
              <a:rPr lang="de-DE" dirty="0"/>
              <a:t>frei erhältliche CBD Produkte genutzt </a:t>
            </a:r>
            <a:r>
              <a:rPr lang="de-CH" dirty="0"/>
              <a:t>| Geschlossene Frage</a:t>
            </a:r>
            <a:br>
              <a:rPr lang="de-CH" dirty="0"/>
            </a:br>
            <a:r>
              <a:rPr lang="de-DE" dirty="0"/>
              <a:t>Die hinter den Wert gesetzten Buchstaben bedeuten einen signifikanten Unterschied (95% Niveau) im Vergleich zu den jeweiligen Gruppen, für die die Buchstaben stellvertretend stehen.</a:t>
            </a:r>
            <a:endParaRPr lang="de-CH" dirty="0"/>
          </a:p>
        </p:txBody>
      </p:sp>
      <p:sp>
        <p:nvSpPr>
          <p:cNvPr id="24" name="Textfeld 23">
            <a:extLst>
              <a:ext uri="{FF2B5EF4-FFF2-40B4-BE49-F238E27FC236}">
                <a16:creationId xmlns:a16="http://schemas.microsoft.com/office/drawing/2014/main" id="{2461A25D-BCCE-44BA-AD87-54BC5ADFD421}"/>
              </a:ext>
            </a:extLst>
          </p:cNvPr>
          <p:cNvSpPr txBox="1"/>
          <p:nvPr/>
        </p:nvSpPr>
        <p:spPr>
          <a:xfrm>
            <a:off x="1305494" y="1579209"/>
            <a:ext cx="878254"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Total </a:t>
            </a:r>
            <a:r>
              <a:rPr kumimoji="0" lang="en-US" sz="1200" i="0" u="none" strike="noStrike" kern="1200" cap="none" spc="0" normalizeH="0" baseline="0" noProof="0" dirty="0">
                <a:ln>
                  <a:noFill/>
                </a:ln>
                <a:solidFill>
                  <a:srgbClr val="000000"/>
                </a:solidFill>
                <a:effectLst/>
                <a:uLnTx/>
                <a:uFillTx/>
                <a:latin typeface="Arial"/>
                <a:ea typeface="+mn-ea"/>
                <a:cs typeface="+mn-cs"/>
              </a:rPr>
              <a:t>[1´196]</a:t>
            </a:r>
            <a:endParaRPr kumimoji="0" lang="en-GB" sz="120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Right Brace 18">
            <a:extLst>
              <a:ext uri="{FF2B5EF4-FFF2-40B4-BE49-F238E27FC236}">
                <a16:creationId xmlns:a16="http://schemas.microsoft.com/office/drawing/2014/main" id="{977C40A6-CBB2-F908-617E-5AE4C14E7638}"/>
              </a:ext>
            </a:extLst>
          </p:cNvPr>
          <p:cNvSpPr/>
          <p:nvPr/>
        </p:nvSpPr>
        <p:spPr>
          <a:xfrm>
            <a:off x="2896134" y="2095530"/>
            <a:ext cx="238466" cy="1543964"/>
          </a:xfrm>
          <a:prstGeom prst="righ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0" name="Textfeld 23">
            <a:extLst>
              <a:ext uri="{FF2B5EF4-FFF2-40B4-BE49-F238E27FC236}">
                <a16:creationId xmlns:a16="http://schemas.microsoft.com/office/drawing/2014/main" id="{E1372DE1-DDBB-653E-4360-72F809978CBE}"/>
              </a:ext>
            </a:extLst>
          </p:cNvPr>
          <p:cNvSpPr txBox="1"/>
          <p:nvPr/>
        </p:nvSpPr>
        <p:spPr>
          <a:xfrm>
            <a:off x="3217130" y="2759790"/>
            <a:ext cx="306174"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rgbClr val="000000"/>
                </a:solidFill>
                <a:latin typeface="Arial"/>
              </a:rPr>
              <a:t>25%</a:t>
            </a: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25" name="Inhaltsplatzhalter 7">
            <a:extLst>
              <a:ext uri="{FF2B5EF4-FFF2-40B4-BE49-F238E27FC236}">
                <a16:creationId xmlns:a16="http://schemas.microsoft.com/office/drawing/2014/main" id="{1440A966-AD3C-25F4-1046-B6FAA5001C33}"/>
              </a:ext>
            </a:extLst>
          </p:cNvPr>
          <p:cNvGraphicFramePr>
            <a:graphicFrameLocks/>
          </p:cNvGraphicFramePr>
          <p:nvPr>
            <p:extLst>
              <p:ext uri="{D42A27DB-BD31-4B8C-83A1-F6EECF244321}">
                <p14:modId xmlns:p14="http://schemas.microsoft.com/office/powerpoint/2010/main" val="154719423"/>
              </p:ext>
            </p:extLst>
          </p:nvPr>
        </p:nvGraphicFramePr>
        <p:xfrm>
          <a:off x="3643466" y="1503061"/>
          <a:ext cx="2829526" cy="4517493"/>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feld 23">
            <a:extLst>
              <a:ext uri="{FF2B5EF4-FFF2-40B4-BE49-F238E27FC236}">
                <a16:creationId xmlns:a16="http://schemas.microsoft.com/office/drawing/2014/main" id="{9630AF65-02CE-2356-BAE0-AFE0CBCE6578}"/>
              </a:ext>
            </a:extLst>
          </p:cNvPr>
          <p:cNvSpPr txBox="1"/>
          <p:nvPr/>
        </p:nvSpPr>
        <p:spPr>
          <a:xfrm>
            <a:off x="3715894" y="1576126"/>
            <a:ext cx="743658" cy="177189"/>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Geschlecht</a:t>
            </a:r>
            <a:endParaRPr kumimoji="0" lang="en-GB" sz="120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51" name="Inhaltsplatzhalter 7">
            <a:extLst>
              <a:ext uri="{FF2B5EF4-FFF2-40B4-BE49-F238E27FC236}">
                <a16:creationId xmlns:a16="http://schemas.microsoft.com/office/drawing/2014/main" id="{DDD2DDA6-3F9B-6616-7EB2-35B7DE6DD733}"/>
              </a:ext>
            </a:extLst>
          </p:cNvPr>
          <p:cNvGraphicFramePr>
            <a:graphicFrameLocks/>
          </p:cNvGraphicFramePr>
          <p:nvPr>
            <p:extLst>
              <p:ext uri="{D42A27DB-BD31-4B8C-83A1-F6EECF244321}">
                <p14:modId xmlns:p14="http://schemas.microsoft.com/office/powerpoint/2010/main" val="157765497"/>
              </p:ext>
            </p:extLst>
          </p:nvPr>
        </p:nvGraphicFramePr>
        <p:xfrm>
          <a:off x="6412693" y="1503061"/>
          <a:ext cx="2829526" cy="4517493"/>
        </p:xfrm>
        <a:graphic>
          <a:graphicData uri="http://schemas.openxmlformats.org/drawingml/2006/chart">
            <c:chart xmlns:c="http://schemas.openxmlformats.org/drawingml/2006/chart" xmlns:r="http://schemas.openxmlformats.org/officeDocument/2006/relationships" r:id="rId7"/>
          </a:graphicData>
        </a:graphic>
      </p:graphicFrame>
      <p:sp>
        <p:nvSpPr>
          <p:cNvPr id="52" name="Textfeld 23">
            <a:extLst>
              <a:ext uri="{FF2B5EF4-FFF2-40B4-BE49-F238E27FC236}">
                <a16:creationId xmlns:a16="http://schemas.microsoft.com/office/drawing/2014/main" id="{6EC0FB9F-DCE5-FC80-F38F-804B05EB5CAD}"/>
              </a:ext>
            </a:extLst>
          </p:cNvPr>
          <p:cNvSpPr txBox="1"/>
          <p:nvPr/>
        </p:nvSpPr>
        <p:spPr>
          <a:xfrm>
            <a:off x="6485121" y="1576126"/>
            <a:ext cx="349455"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Alter</a:t>
            </a:r>
            <a:endParaRPr kumimoji="0" lang="en-GB" sz="120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58" name="Inhaltsplatzhalter 7">
            <a:extLst>
              <a:ext uri="{FF2B5EF4-FFF2-40B4-BE49-F238E27FC236}">
                <a16:creationId xmlns:a16="http://schemas.microsoft.com/office/drawing/2014/main" id="{D4E0DF3A-5CF2-B3BD-31D9-609AC7CF8A19}"/>
              </a:ext>
            </a:extLst>
          </p:cNvPr>
          <p:cNvGraphicFramePr>
            <a:graphicFrameLocks/>
          </p:cNvGraphicFramePr>
          <p:nvPr>
            <p:extLst>
              <p:ext uri="{D42A27DB-BD31-4B8C-83A1-F6EECF244321}">
                <p14:modId xmlns:p14="http://schemas.microsoft.com/office/powerpoint/2010/main" val="2479487680"/>
              </p:ext>
            </p:extLst>
          </p:nvPr>
        </p:nvGraphicFramePr>
        <p:xfrm>
          <a:off x="9181919" y="1503061"/>
          <a:ext cx="2829526" cy="4517493"/>
        </p:xfrm>
        <a:graphic>
          <a:graphicData uri="http://schemas.openxmlformats.org/drawingml/2006/chart">
            <c:chart xmlns:c="http://schemas.openxmlformats.org/drawingml/2006/chart" xmlns:r="http://schemas.openxmlformats.org/officeDocument/2006/relationships" r:id="rId8"/>
          </a:graphicData>
        </a:graphic>
      </p:graphicFrame>
      <p:sp>
        <p:nvSpPr>
          <p:cNvPr id="59" name="Textfeld 23">
            <a:extLst>
              <a:ext uri="{FF2B5EF4-FFF2-40B4-BE49-F238E27FC236}">
                <a16:creationId xmlns:a16="http://schemas.microsoft.com/office/drawing/2014/main" id="{3CA27929-D145-613E-ED90-C573BAEEE99C}"/>
              </a:ext>
            </a:extLst>
          </p:cNvPr>
          <p:cNvSpPr txBox="1"/>
          <p:nvPr/>
        </p:nvSpPr>
        <p:spPr>
          <a:xfrm>
            <a:off x="9254347" y="1576126"/>
            <a:ext cx="522579"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Region</a:t>
            </a:r>
            <a:endParaRPr kumimoji="0" lang="en-GB" sz="1200" i="0" u="none" strike="noStrike" kern="1200" cap="none" spc="0" normalizeH="0" baseline="0" noProof="0" dirty="0">
              <a:ln>
                <a:noFill/>
              </a:ln>
              <a:solidFill>
                <a:srgbClr val="000000"/>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A24B5398-138C-6262-8A2E-A22B4E07D8F9}"/>
              </a:ext>
            </a:extLst>
          </p:cNvPr>
          <p:cNvGrpSpPr/>
          <p:nvPr/>
        </p:nvGrpSpPr>
        <p:grpSpPr>
          <a:xfrm>
            <a:off x="5489323" y="2071543"/>
            <a:ext cx="6219226" cy="1481454"/>
            <a:chOff x="5489323" y="2071543"/>
            <a:chExt cx="6219226" cy="1481454"/>
          </a:xfrm>
        </p:grpSpPr>
        <p:sp>
          <p:nvSpPr>
            <p:cNvPr id="29" name="Right Brace 28">
              <a:extLst>
                <a:ext uri="{FF2B5EF4-FFF2-40B4-BE49-F238E27FC236}">
                  <a16:creationId xmlns:a16="http://schemas.microsoft.com/office/drawing/2014/main" id="{870F98A1-1397-B2C3-7F07-7894DA492412}"/>
                </a:ext>
              </a:extLst>
            </p:cNvPr>
            <p:cNvSpPr/>
            <p:nvPr/>
          </p:nvSpPr>
          <p:spPr>
            <a:xfrm>
              <a:off x="5489323" y="2071543"/>
              <a:ext cx="213981" cy="1481454"/>
            </a:xfrm>
            <a:prstGeom prst="righ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0" name="Textfeld 23">
              <a:extLst>
                <a:ext uri="{FF2B5EF4-FFF2-40B4-BE49-F238E27FC236}">
                  <a16:creationId xmlns:a16="http://schemas.microsoft.com/office/drawing/2014/main" id="{E58C080D-3016-ACD3-4D5E-2062ED5C4432}"/>
                </a:ext>
              </a:extLst>
            </p:cNvPr>
            <p:cNvSpPr txBox="1"/>
            <p:nvPr/>
          </p:nvSpPr>
          <p:spPr>
            <a:xfrm>
              <a:off x="5777360" y="2605549"/>
              <a:ext cx="454355" cy="369332"/>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chemeClr val="accent6"/>
                  </a:solidFill>
                  <a:latin typeface="Arial"/>
                </a:rPr>
                <a:t>20%</a:t>
              </a:r>
            </a:p>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chemeClr val="accent6">
                      <a:lumMod val="60000"/>
                      <a:lumOff val="40000"/>
                    </a:schemeClr>
                  </a:solidFill>
                  <a:latin typeface="Arial"/>
                </a:rPr>
                <a:t>3</a:t>
              </a:r>
              <a:r>
                <a:rPr kumimoji="0" lang="de-CH" sz="1200" b="1" i="0" u="none" strike="noStrike" kern="1200" cap="none" spc="0" normalizeH="0" baseline="0" noProof="0" dirty="0">
                  <a:ln>
                    <a:noFill/>
                  </a:ln>
                  <a:solidFill>
                    <a:schemeClr val="accent6">
                      <a:lumMod val="60000"/>
                      <a:lumOff val="40000"/>
                    </a:schemeClr>
                  </a:solidFill>
                  <a:effectLst/>
                  <a:uLnTx/>
                  <a:uFillTx/>
                  <a:latin typeface="Arial"/>
                  <a:ea typeface="+mn-ea"/>
                  <a:cs typeface="+mn-cs"/>
                </a:rPr>
                <a:t>0% </a:t>
              </a:r>
              <a:r>
                <a:rPr lang="de-CH" sz="1200" dirty="0">
                  <a:latin typeface="Arial"/>
                </a:rPr>
                <a:t>A</a:t>
              </a:r>
              <a:endParaRPr lang="en-GB" sz="1200" dirty="0">
                <a:latin typeface="Arial"/>
              </a:endParaRPr>
            </a:p>
          </p:txBody>
        </p:sp>
        <p:sp>
          <p:nvSpPr>
            <p:cNvPr id="53" name="Right Brace 52">
              <a:extLst>
                <a:ext uri="{FF2B5EF4-FFF2-40B4-BE49-F238E27FC236}">
                  <a16:creationId xmlns:a16="http://schemas.microsoft.com/office/drawing/2014/main" id="{FDD6ECFB-797E-A12A-F9F1-70D4E0605462}"/>
                </a:ext>
              </a:extLst>
            </p:cNvPr>
            <p:cNvSpPr/>
            <p:nvPr/>
          </p:nvSpPr>
          <p:spPr>
            <a:xfrm>
              <a:off x="8258550" y="2071543"/>
              <a:ext cx="213981" cy="1481454"/>
            </a:xfrm>
            <a:prstGeom prst="righ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4" name="Textfeld 23">
              <a:extLst>
                <a:ext uri="{FF2B5EF4-FFF2-40B4-BE49-F238E27FC236}">
                  <a16:creationId xmlns:a16="http://schemas.microsoft.com/office/drawing/2014/main" id="{1BF9483B-9CA9-5A5C-CFFE-0324535E3B9D}"/>
                </a:ext>
              </a:extLst>
            </p:cNvPr>
            <p:cNvSpPr txBox="1"/>
            <p:nvPr/>
          </p:nvSpPr>
          <p:spPr>
            <a:xfrm>
              <a:off x="8546587" y="2442938"/>
              <a:ext cx="306174" cy="738664"/>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chemeClr val="accent4">
                      <a:lumMod val="75000"/>
                    </a:schemeClr>
                  </a:solidFill>
                  <a:latin typeface="Arial"/>
                </a:rPr>
                <a:t>27%</a:t>
              </a:r>
            </a:p>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chemeClr val="accent4"/>
                  </a:solidFill>
                  <a:effectLst/>
                  <a:uLnTx/>
                  <a:uFillTx/>
                  <a:latin typeface="Arial"/>
                  <a:ea typeface="+mn-ea"/>
                  <a:cs typeface="+mn-cs"/>
                </a:rPr>
                <a:t>23%</a:t>
              </a:r>
            </a:p>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chemeClr val="accent4">
                      <a:lumMod val="60000"/>
                      <a:lumOff val="40000"/>
                    </a:schemeClr>
                  </a:solidFill>
                  <a:latin typeface="Arial"/>
                </a:rPr>
                <a:t>23%</a:t>
              </a:r>
            </a:p>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chemeClr val="accent4">
                      <a:lumMod val="40000"/>
                      <a:lumOff val="60000"/>
                    </a:schemeClr>
                  </a:solidFill>
                  <a:effectLst/>
                  <a:uLnTx/>
                  <a:uFillTx/>
                  <a:latin typeface="Arial"/>
                  <a:ea typeface="+mn-ea"/>
                  <a:cs typeface="+mn-cs"/>
                </a:rPr>
                <a:t>30%</a:t>
              </a:r>
              <a:endParaRPr kumimoji="0" lang="en-GB" sz="1200" b="1" i="0" u="none" strike="noStrike" kern="1200" cap="none" spc="0" normalizeH="0" baseline="0" noProof="0" dirty="0">
                <a:ln>
                  <a:noFill/>
                </a:ln>
                <a:solidFill>
                  <a:schemeClr val="accent4">
                    <a:lumMod val="40000"/>
                    <a:lumOff val="60000"/>
                  </a:schemeClr>
                </a:solidFill>
                <a:effectLst/>
                <a:uLnTx/>
                <a:uFillTx/>
                <a:latin typeface="Arial"/>
                <a:ea typeface="+mn-ea"/>
                <a:cs typeface="+mn-cs"/>
              </a:endParaRPr>
            </a:p>
          </p:txBody>
        </p:sp>
        <p:sp>
          <p:nvSpPr>
            <p:cNvPr id="60" name="Right Brace 59">
              <a:extLst>
                <a:ext uri="{FF2B5EF4-FFF2-40B4-BE49-F238E27FC236}">
                  <a16:creationId xmlns:a16="http://schemas.microsoft.com/office/drawing/2014/main" id="{DEEEF7A0-C1FB-3A1E-0277-C2511E10A595}"/>
                </a:ext>
              </a:extLst>
            </p:cNvPr>
            <p:cNvSpPr/>
            <p:nvPr/>
          </p:nvSpPr>
          <p:spPr>
            <a:xfrm>
              <a:off x="11027776" y="2071543"/>
              <a:ext cx="213981" cy="1481454"/>
            </a:xfrm>
            <a:prstGeom prst="righ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1" name="Textfeld 23">
              <a:extLst>
                <a:ext uri="{FF2B5EF4-FFF2-40B4-BE49-F238E27FC236}">
                  <a16:creationId xmlns:a16="http://schemas.microsoft.com/office/drawing/2014/main" id="{C59A58C8-4D9D-C51A-D921-DCD9C672A4BF}"/>
                </a:ext>
              </a:extLst>
            </p:cNvPr>
            <p:cNvSpPr txBox="1"/>
            <p:nvPr/>
          </p:nvSpPr>
          <p:spPr>
            <a:xfrm>
              <a:off x="11315813" y="2535271"/>
              <a:ext cx="392736" cy="553998"/>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chemeClr val="accent5"/>
                  </a:solidFill>
                  <a:latin typeface="Arial"/>
                </a:rPr>
                <a:t>24% </a:t>
              </a:r>
              <a:r>
                <a:rPr lang="de-CH" sz="1200" dirty="0">
                  <a:latin typeface="Arial"/>
                </a:rPr>
                <a:t>I</a:t>
              </a:r>
            </a:p>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chemeClr val="accent5">
                      <a:lumMod val="40000"/>
                      <a:lumOff val="60000"/>
                    </a:schemeClr>
                  </a:solidFill>
                  <a:effectLst/>
                  <a:uLnTx/>
                  <a:uFillTx/>
                  <a:latin typeface="Arial"/>
                  <a:ea typeface="+mn-ea"/>
                  <a:cs typeface="+mn-cs"/>
                </a:rPr>
                <a:t>29% </a:t>
              </a:r>
              <a:r>
                <a:rPr kumimoji="0" lang="de-CH" sz="1200" i="0" u="none" strike="noStrike" kern="1200" cap="none" spc="0" normalizeH="0" baseline="0" noProof="0" dirty="0">
                  <a:ln>
                    <a:noFill/>
                  </a:ln>
                  <a:effectLst/>
                  <a:uLnTx/>
                  <a:uFillTx/>
                  <a:latin typeface="Arial"/>
                  <a:ea typeface="+mn-ea"/>
                  <a:cs typeface="+mn-cs"/>
                </a:rPr>
                <a:t>I</a:t>
              </a:r>
            </a:p>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chemeClr val="accent5">
                      <a:lumMod val="20000"/>
                      <a:lumOff val="80000"/>
                    </a:schemeClr>
                  </a:solidFill>
                  <a:latin typeface="Arial"/>
                </a:rPr>
                <a:t>16%</a:t>
              </a:r>
              <a:endParaRPr kumimoji="0" lang="en-GB" sz="1200" b="1" i="0" u="none" strike="noStrike" kern="1200" cap="none" spc="0" normalizeH="0" baseline="0" noProof="0" dirty="0">
                <a:ln>
                  <a:noFill/>
                </a:ln>
                <a:solidFill>
                  <a:schemeClr val="accent5">
                    <a:lumMod val="20000"/>
                    <a:lumOff val="80000"/>
                  </a:schemeClr>
                </a:solidFill>
                <a:effectLst/>
                <a:uLnTx/>
                <a:uFillTx/>
                <a:latin typeface="Arial"/>
                <a:ea typeface="+mn-ea"/>
                <a:cs typeface="+mn-cs"/>
              </a:endParaRPr>
            </a:p>
          </p:txBody>
        </p:sp>
      </p:grpSp>
      <p:sp>
        <p:nvSpPr>
          <p:cNvPr id="7" name="Right Brace 6">
            <a:extLst>
              <a:ext uri="{FF2B5EF4-FFF2-40B4-BE49-F238E27FC236}">
                <a16:creationId xmlns:a16="http://schemas.microsoft.com/office/drawing/2014/main" id="{C47A3B63-4702-5268-08A6-96355CC0F5CB}"/>
              </a:ext>
            </a:extLst>
          </p:cNvPr>
          <p:cNvSpPr/>
          <p:nvPr/>
        </p:nvSpPr>
        <p:spPr>
          <a:xfrm>
            <a:off x="2896134" y="3882438"/>
            <a:ext cx="238466" cy="1543964"/>
          </a:xfrm>
          <a:prstGeom prst="righ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8" name="Textfeld 23">
            <a:extLst>
              <a:ext uri="{FF2B5EF4-FFF2-40B4-BE49-F238E27FC236}">
                <a16:creationId xmlns:a16="http://schemas.microsoft.com/office/drawing/2014/main" id="{EF0AF96B-C377-EE1C-72AA-FDB262D65C50}"/>
              </a:ext>
            </a:extLst>
          </p:cNvPr>
          <p:cNvSpPr txBox="1"/>
          <p:nvPr/>
        </p:nvSpPr>
        <p:spPr>
          <a:xfrm>
            <a:off x="3217130" y="4546698"/>
            <a:ext cx="306174"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rgbClr val="000000"/>
                </a:solidFill>
                <a:latin typeface="Arial"/>
              </a:rPr>
              <a:t>75%</a:t>
            </a: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11" name="Right Brace 10">
            <a:extLst>
              <a:ext uri="{FF2B5EF4-FFF2-40B4-BE49-F238E27FC236}">
                <a16:creationId xmlns:a16="http://schemas.microsoft.com/office/drawing/2014/main" id="{1989B323-38FC-7571-A1C8-97C7DE974C46}"/>
              </a:ext>
            </a:extLst>
          </p:cNvPr>
          <p:cNvSpPr/>
          <p:nvPr/>
        </p:nvSpPr>
        <p:spPr>
          <a:xfrm>
            <a:off x="5489323" y="3882438"/>
            <a:ext cx="213981" cy="1481454"/>
          </a:xfrm>
          <a:prstGeom prst="righ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3" name="Textfeld 23">
            <a:extLst>
              <a:ext uri="{FF2B5EF4-FFF2-40B4-BE49-F238E27FC236}">
                <a16:creationId xmlns:a16="http://schemas.microsoft.com/office/drawing/2014/main" id="{887B5F63-8DBC-CB93-C92D-ECFB5090B26E}"/>
              </a:ext>
            </a:extLst>
          </p:cNvPr>
          <p:cNvSpPr txBox="1"/>
          <p:nvPr/>
        </p:nvSpPr>
        <p:spPr>
          <a:xfrm>
            <a:off x="5777360" y="4416444"/>
            <a:ext cx="460062" cy="369332"/>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chemeClr val="accent6"/>
                </a:solidFill>
                <a:latin typeface="Arial"/>
              </a:rPr>
              <a:t>80% </a:t>
            </a:r>
            <a:r>
              <a:rPr lang="de-CH" sz="1200" dirty="0">
                <a:latin typeface="Arial"/>
              </a:rPr>
              <a:t>B</a:t>
            </a:r>
          </a:p>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chemeClr val="accent6">
                    <a:lumMod val="60000"/>
                    <a:lumOff val="40000"/>
                  </a:schemeClr>
                </a:solidFill>
                <a:effectLst/>
                <a:uLnTx/>
                <a:uFillTx/>
                <a:latin typeface="Arial"/>
                <a:ea typeface="+mn-ea"/>
                <a:cs typeface="+mn-cs"/>
              </a:rPr>
              <a:t>71%</a:t>
            </a:r>
            <a:endParaRPr kumimoji="0" lang="en-GB" sz="1200" b="1" i="0" u="none" strike="noStrike" kern="1200" cap="none" spc="0" normalizeH="0" baseline="0" noProof="0" dirty="0">
              <a:ln>
                <a:noFill/>
              </a:ln>
              <a:solidFill>
                <a:schemeClr val="accent6">
                  <a:lumMod val="60000"/>
                  <a:lumOff val="40000"/>
                </a:schemeClr>
              </a:solidFill>
              <a:effectLst/>
              <a:uLnTx/>
              <a:uFillTx/>
              <a:latin typeface="Arial"/>
              <a:ea typeface="+mn-ea"/>
              <a:cs typeface="+mn-cs"/>
            </a:endParaRPr>
          </a:p>
        </p:txBody>
      </p:sp>
      <p:sp>
        <p:nvSpPr>
          <p:cNvPr id="16" name="Right Brace 15">
            <a:extLst>
              <a:ext uri="{FF2B5EF4-FFF2-40B4-BE49-F238E27FC236}">
                <a16:creationId xmlns:a16="http://schemas.microsoft.com/office/drawing/2014/main" id="{0DB0469A-281C-1B18-4078-10310210138E}"/>
              </a:ext>
            </a:extLst>
          </p:cNvPr>
          <p:cNvSpPr/>
          <p:nvPr/>
        </p:nvSpPr>
        <p:spPr>
          <a:xfrm>
            <a:off x="8258550" y="3882438"/>
            <a:ext cx="213981" cy="1481454"/>
          </a:xfrm>
          <a:prstGeom prst="righ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7" name="Textfeld 23">
            <a:extLst>
              <a:ext uri="{FF2B5EF4-FFF2-40B4-BE49-F238E27FC236}">
                <a16:creationId xmlns:a16="http://schemas.microsoft.com/office/drawing/2014/main" id="{59A067DD-5A7A-61C9-E85A-3ED5387F221C}"/>
              </a:ext>
            </a:extLst>
          </p:cNvPr>
          <p:cNvSpPr txBox="1"/>
          <p:nvPr/>
        </p:nvSpPr>
        <p:spPr>
          <a:xfrm>
            <a:off x="8546587" y="4253833"/>
            <a:ext cx="306174" cy="738664"/>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chemeClr val="accent4">
                    <a:lumMod val="75000"/>
                  </a:schemeClr>
                </a:solidFill>
                <a:latin typeface="Arial"/>
              </a:rPr>
              <a:t>73%</a:t>
            </a:r>
          </a:p>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chemeClr val="accent4"/>
                </a:solidFill>
                <a:effectLst/>
                <a:uLnTx/>
                <a:uFillTx/>
                <a:latin typeface="Arial"/>
                <a:ea typeface="+mn-ea"/>
                <a:cs typeface="+mn-cs"/>
              </a:rPr>
              <a:t>77%</a:t>
            </a:r>
          </a:p>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chemeClr val="accent4">
                    <a:lumMod val="60000"/>
                    <a:lumOff val="40000"/>
                  </a:schemeClr>
                </a:solidFill>
                <a:latin typeface="Arial"/>
              </a:rPr>
              <a:t>77%</a:t>
            </a:r>
          </a:p>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chemeClr val="accent4">
                    <a:lumMod val="40000"/>
                    <a:lumOff val="60000"/>
                  </a:schemeClr>
                </a:solidFill>
                <a:effectLst/>
                <a:uLnTx/>
                <a:uFillTx/>
                <a:latin typeface="Arial"/>
                <a:ea typeface="+mn-ea"/>
                <a:cs typeface="+mn-cs"/>
              </a:rPr>
              <a:t>70%</a:t>
            </a:r>
            <a:endParaRPr kumimoji="0" lang="en-GB" sz="1200" b="1" i="0" u="none" strike="noStrike" kern="1200" cap="none" spc="0" normalizeH="0" baseline="0" noProof="0" dirty="0">
              <a:ln>
                <a:noFill/>
              </a:ln>
              <a:solidFill>
                <a:schemeClr val="accent4">
                  <a:lumMod val="40000"/>
                  <a:lumOff val="60000"/>
                </a:schemeClr>
              </a:solidFill>
              <a:effectLst/>
              <a:uLnTx/>
              <a:uFillTx/>
              <a:latin typeface="Arial"/>
              <a:ea typeface="+mn-ea"/>
              <a:cs typeface="+mn-cs"/>
            </a:endParaRPr>
          </a:p>
        </p:txBody>
      </p:sp>
      <p:sp>
        <p:nvSpPr>
          <p:cNvPr id="18" name="Right Brace 17">
            <a:extLst>
              <a:ext uri="{FF2B5EF4-FFF2-40B4-BE49-F238E27FC236}">
                <a16:creationId xmlns:a16="http://schemas.microsoft.com/office/drawing/2014/main" id="{14DC8879-3BCF-C1A5-3E6E-22A9F9BD2074}"/>
              </a:ext>
            </a:extLst>
          </p:cNvPr>
          <p:cNvSpPr/>
          <p:nvPr/>
        </p:nvSpPr>
        <p:spPr>
          <a:xfrm>
            <a:off x="11027776" y="3882438"/>
            <a:ext cx="213981" cy="1481454"/>
          </a:xfrm>
          <a:prstGeom prst="righ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3" name="Textfeld 23">
            <a:extLst>
              <a:ext uri="{FF2B5EF4-FFF2-40B4-BE49-F238E27FC236}">
                <a16:creationId xmlns:a16="http://schemas.microsoft.com/office/drawing/2014/main" id="{AA90BB9B-2EFF-3DC0-C614-9BEDB4C54B7E}"/>
              </a:ext>
            </a:extLst>
          </p:cNvPr>
          <p:cNvSpPr txBox="1"/>
          <p:nvPr/>
        </p:nvSpPr>
        <p:spPr>
          <a:xfrm>
            <a:off x="11315813" y="4346166"/>
            <a:ext cx="580287" cy="553998"/>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chemeClr val="accent5"/>
                </a:solidFill>
                <a:latin typeface="Arial"/>
              </a:rPr>
              <a:t>76%</a:t>
            </a:r>
          </a:p>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chemeClr val="accent5">
                    <a:lumMod val="40000"/>
                    <a:lumOff val="60000"/>
                  </a:schemeClr>
                </a:solidFill>
                <a:effectLst/>
                <a:uLnTx/>
                <a:uFillTx/>
                <a:latin typeface="Arial"/>
                <a:ea typeface="+mn-ea"/>
                <a:cs typeface="+mn-cs"/>
              </a:rPr>
              <a:t>71%</a:t>
            </a:r>
          </a:p>
          <a:p>
            <a:pPr marL="0" marR="0" lvl="0" indent="0" algn="l" defTabSz="768004" rtl="0" eaLnBrk="1" fontAlgn="auto" latinLnBrk="0" hangingPunct="1">
              <a:lnSpc>
                <a:spcPct val="100000"/>
              </a:lnSpc>
              <a:spcBef>
                <a:spcPts val="0"/>
              </a:spcBef>
              <a:spcAft>
                <a:spcPts val="0"/>
              </a:spcAft>
              <a:buClrTx/>
              <a:buSzTx/>
              <a:buFontTx/>
              <a:buNone/>
              <a:tabLst/>
              <a:defRPr/>
            </a:pPr>
            <a:r>
              <a:rPr lang="de-CH" sz="1200" b="1" dirty="0">
                <a:solidFill>
                  <a:schemeClr val="accent5">
                    <a:lumMod val="20000"/>
                    <a:lumOff val="80000"/>
                  </a:schemeClr>
                </a:solidFill>
                <a:latin typeface="Arial"/>
              </a:rPr>
              <a:t>84% </a:t>
            </a:r>
            <a:r>
              <a:rPr lang="de-CH" sz="1200" dirty="0">
                <a:latin typeface="Arial"/>
              </a:rPr>
              <a:t>GH</a:t>
            </a:r>
            <a:endParaRPr kumimoji="0" lang="en-GB" sz="1200" i="0" u="none" strike="noStrike" kern="1200" cap="none" spc="0" normalizeH="0" baseline="0" noProof="0" dirty="0">
              <a:ln>
                <a:noFill/>
              </a:ln>
              <a:effectLst/>
              <a:uLnTx/>
              <a:uFillTx/>
              <a:latin typeface="Arial"/>
              <a:ea typeface="+mn-ea"/>
              <a:cs typeface="+mn-cs"/>
            </a:endParaRPr>
          </a:p>
        </p:txBody>
      </p:sp>
      <p:sp>
        <p:nvSpPr>
          <p:cNvPr id="34" name="Textfeld 33">
            <a:extLst>
              <a:ext uri="{FF2B5EF4-FFF2-40B4-BE49-F238E27FC236}">
                <a16:creationId xmlns:a16="http://schemas.microsoft.com/office/drawing/2014/main" id="{FDA438F8-61C1-0EF7-5585-3CFC7D66C3B3}"/>
              </a:ext>
            </a:extLst>
          </p:cNvPr>
          <p:cNvSpPr txBox="1"/>
          <p:nvPr/>
        </p:nvSpPr>
        <p:spPr>
          <a:xfrm>
            <a:off x="8490540" y="2974881"/>
            <a:ext cx="460062" cy="250895"/>
          </a:xfrm>
          <a:prstGeom prst="rect">
            <a:avLst/>
          </a:prstGeom>
          <a:noFill/>
          <a:ln>
            <a:solidFill>
              <a:schemeClr val="accent2"/>
            </a:solidFill>
          </a:ln>
        </p:spPr>
        <p:txBody>
          <a:bodyPr wrap="square" lIns="0" tIns="0" rIns="0" bIns="0" rtlCol="0">
            <a:spAutoFit/>
          </a:bodyPr>
          <a:lstStyle/>
          <a:p>
            <a:pPr algn="l"/>
            <a:endParaRPr lang="de-CH" sz="1400" dirty="0"/>
          </a:p>
        </p:txBody>
      </p:sp>
      <p:sp>
        <p:nvSpPr>
          <p:cNvPr id="35" name="Textfeld 34">
            <a:extLst>
              <a:ext uri="{FF2B5EF4-FFF2-40B4-BE49-F238E27FC236}">
                <a16:creationId xmlns:a16="http://schemas.microsoft.com/office/drawing/2014/main" id="{9DE23683-7D37-4660-F189-DF16923FF10C}"/>
              </a:ext>
            </a:extLst>
          </p:cNvPr>
          <p:cNvSpPr txBox="1"/>
          <p:nvPr/>
        </p:nvSpPr>
        <p:spPr>
          <a:xfrm>
            <a:off x="6474278" y="2504909"/>
            <a:ext cx="708102" cy="250895"/>
          </a:xfrm>
          <a:prstGeom prst="rect">
            <a:avLst/>
          </a:prstGeom>
          <a:noFill/>
          <a:ln>
            <a:solidFill>
              <a:schemeClr val="accent2"/>
            </a:solidFill>
          </a:ln>
        </p:spPr>
        <p:txBody>
          <a:bodyPr wrap="square" lIns="0" tIns="0" rIns="0" bIns="0" rtlCol="0">
            <a:spAutoFit/>
          </a:bodyPr>
          <a:lstStyle/>
          <a:p>
            <a:pPr algn="l"/>
            <a:endParaRPr lang="de-CH" sz="1400" dirty="0"/>
          </a:p>
        </p:txBody>
      </p:sp>
      <p:sp>
        <p:nvSpPr>
          <p:cNvPr id="38" name="Textfeld 37">
            <a:extLst>
              <a:ext uri="{FF2B5EF4-FFF2-40B4-BE49-F238E27FC236}">
                <a16:creationId xmlns:a16="http://schemas.microsoft.com/office/drawing/2014/main" id="{D204F956-8A26-F45E-F783-01A595532A4A}"/>
              </a:ext>
            </a:extLst>
          </p:cNvPr>
          <p:cNvSpPr txBox="1"/>
          <p:nvPr/>
        </p:nvSpPr>
        <p:spPr>
          <a:xfrm>
            <a:off x="3654576" y="2910526"/>
            <a:ext cx="944897" cy="646331"/>
          </a:xfrm>
          <a:prstGeom prst="rect">
            <a:avLst/>
          </a:prstGeom>
          <a:noFill/>
          <a:ln>
            <a:solidFill>
              <a:schemeClr val="accent2"/>
            </a:solidFill>
          </a:ln>
        </p:spPr>
        <p:txBody>
          <a:bodyPr wrap="square" lIns="0" tIns="0" rIns="0" bIns="0" rtlCol="0">
            <a:spAutoFit/>
          </a:bodyPr>
          <a:lstStyle/>
          <a:p>
            <a:pPr algn="l"/>
            <a:endParaRPr lang="de-CH" sz="1400" dirty="0"/>
          </a:p>
          <a:p>
            <a:pPr algn="l"/>
            <a:endParaRPr lang="de-CH" sz="1400" dirty="0"/>
          </a:p>
          <a:p>
            <a:pPr algn="l"/>
            <a:endParaRPr lang="de-CH" sz="1400" dirty="0"/>
          </a:p>
        </p:txBody>
      </p:sp>
      <p:sp>
        <p:nvSpPr>
          <p:cNvPr id="39" name="Textfeld 38">
            <a:extLst>
              <a:ext uri="{FF2B5EF4-FFF2-40B4-BE49-F238E27FC236}">
                <a16:creationId xmlns:a16="http://schemas.microsoft.com/office/drawing/2014/main" id="{B95E2A4A-B808-3297-1CE6-EB0B9EDD088F}"/>
              </a:ext>
            </a:extLst>
          </p:cNvPr>
          <p:cNvSpPr txBox="1"/>
          <p:nvPr/>
        </p:nvSpPr>
        <p:spPr>
          <a:xfrm>
            <a:off x="6457961" y="3388599"/>
            <a:ext cx="708102" cy="250895"/>
          </a:xfrm>
          <a:prstGeom prst="rect">
            <a:avLst/>
          </a:prstGeom>
          <a:noFill/>
          <a:ln>
            <a:solidFill>
              <a:schemeClr val="accent2"/>
            </a:solidFill>
          </a:ln>
        </p:spPr>
        <p:txBody>
          <a:bodyPr wrap="square" lIns="0" tIns="0" rIns="0" bIns="0" rtlCol="0">
            <a:spAutoFit/>
          </a:bodyPr>
          <a:lstStyle/>
          <a:p>
            <a:pPr algn="l"/>
            <a:endParaRPr lang="de-CH" sz="1400" dirty="0"/>
          </a:p>
        </p:txBody>
      </p:sp>
    </p:spTree>
    <p:extLst>
      <p:ext uri="{BB962C8B-B14F-4D97-AF65-F5344CB8AC3E}">
        <p14:creationId xmlns:p14="http://schemas.microsoft.com/office/powerpoint/2010/main" val="4739294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D31909-F4A1-1142-4CAA-0618715E9F56}"/>
              </a:ext>
            </a:extLst>
          </p:cNvPr>
          <p:cNvGraphicFramePr>
            <a:graphicFrameLocks noChangeAspect="1"/>
          </p:cNvGraphicFramePr>
          <p:nvPr>
            <p:custDataLst>
              <p:tags r:id="rId1"/>
            </p:custDataLst>
            <p:extLst>
              <p:ext uri="{D42A27DB-BD31-4B8C-83A1-F6EECF244321}">
                <p14:modId xmlns:p14="http://schemas.microsoft.com/office/powerpoint/2010/main" val="4119962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a:extLst>
                          <a:ext uri="{FF2B5EF4-FFF2-40B4-BE49-F238E27FC236}">
                            <a16:creationId xmlns:a16="http://schemas.microsoft.com/office/drawing/2014/main" id="{63D31909-F4A1-1142-4CAA-0618715E9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6" name="Inhaltsplatzhalter 13">
            <a:extLst>
              <a:ext uri="{FF2B5EF4-FFF2-40B4-BE49-F238E27FC236}">
                <a16:creationId xmlns:a16="http://schemas.microsoft.com/office/drawing/2014/main" id="{4C19730D-4496-B72E-EA03-AE51989971DA}"/>
              </a:ext>
            </a:extLst>
          </p:cNvPr>
          <p:cNvGraphicFramePr>
            <a:graphicFrameLocks noGrp="1"/>
          </p:cNvGraphicFramePr>
          <p:nvPr>
            <p:ph sz="quarter" idx="22"/>
            <p:extLst>
              <p:ext uri="{D42A27DB-BD31-4B8C-83A1-F6EECF244321}">
                <p14:modId xmlns:p14="http://schemas.microsoft.com/office/powerpoint/2010/main" val="1190266643"/>
              </p:ext>
            </p:extLst>
          </p:nvPr>
        </p:nvGraphicFramePr>
        <p:xfrm>
          <a:off x="304800" y="1439863"/>
          <a:ext cx="5715000" cy="465772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2" name="Inhaltsplatzhalter 7">
            <a:extLst>
              <a:ext uri="{FF2B5EF4-FFF2-40B4-BE49-F238E27FC236}">
                <a16:creationId xmlns:a16="http://schemas.microsoft.com/office/drawing/2014/main" id="{A3C7FC8F-A93B-4232-9C69-CD1C4BE5E8DA}"/>
              </a:ext>
            </a:extLst>
          </p:cNvPr>
          <p:cNvGraphicFramePr>
            <a:graphicFrameLocks noGrp="1"/>
          </p:cNvGraphicFramePr>
          <p:nvPr>
            <p:ph sz="quarter" idx="23"/>
            <p:extLst>
              <p:ext uri="{D42A27DB-BD31-4B8C-83A1-F6EECF244321}">
                <p14:modId xmlns:p14="http://schemas.microsoft.com/office/powerpoint/2010/main" val="3403106978"/>
              </p:ext>
            </p:extLst>
          </p:nvPr>
        </p:nvGraphicFramePr>
        <p:xfrm>
          <a:off x="5529404" y="1539195"/>
          <a:ext cx="6344402" cy="4657725"/>
        </p:xfrm>
        <a:graphic>
          <a:graphicData uri="http://schemas.openxmlformats.org/drawingml/2006/chart">
            <c:chart xmlns:c="http://schemas.openxmlformats.org/drawingml/2006/chart" xmlns:r="http://schemas.openxmlformats.org/officeDocument/2006/relationships" r:id="rId6"/>
          </a:graphicData>
        </a:graphic>
      </p:graphicFrame>
      <p:sp>
        <p:nvSpPr>
          <p:cNvPr id="5" name="Titel 4">
            <a:extLst>
              <a:ext uri="{FF2B5EF4-FFF2-40B4-BE49-F238E27FC236}">
                <a16:creationId xmlns:a16="http://schemas.microsoft.com/office/drawing/2014/main" id="{32DE6835-2BA5-4907-960B-26860B9E3DE3}"/>
              </a:ext>
            </a:extLst>
          </p:cNvPr>
          <p:cNvSpPr>
            <a:spLocks noGrp="1"/>
          </p:cNvSpPr>
          <p:nvPr>
            <p:ph type="title"/>
          </p:nvPr>
        </p:nvSpPr>
        <p:spPr/>
        <p:txBody>
          <a:bodyPr vert="horz"/>
          <a:lstStyle/>
          <a:p>
            <a:r>
              <a:rPr lang="de-CH" dirty="0"/>
              <a:t>Nutzungsbarrieren</a:t>
            </a:r>
          </a:p>
        </p:txBody>
      </p:sp>
      <p:sp>
        <p:nvSpPr>
          <p:cNvPr id="3" name="Fußzeilenplatzhalter 2">
            <a:extLst>
              <a:ext uri="{FF2B5EF4-FFF2-40B4-BE49-F238E27FC236}">
                <a16:creationId xmlns:a16="http://schemas.microsoft.com/office/drawing/2014/main" id="{EEAA9A00-01CA-433A-84C7-95D45FA98B7F}"/>
              </a:ext>
            </a:extLst>
          </p:cNvPr>
          <p:cNvSpPr>
            <a:spLocks noGrp="1"/>
          </p:cNvSpPr>
          <p:nvPr>
            <p:ph type="ftr" sz="quarter" idx="10"/>
          </p:nvPr>
        </p:nvSpPr>
        <p:spPr/>
        <p:txBody>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8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rPr>
              <a:t>© LINK | CBD Image Studie 2023 | 12485 | Juni 2023</a:t>
            </a:r>
          </a:p>
        </p:txBody>
      </p:sp>
      <p:sp>
        <p:nvSpPr>
          <p:cNvPr id="4" name="Foliennummernplatzhalter 3">
            <a:extLst>
              <a:ext uri="{FF2B5EF4-FFF2-40B4-BE49-F238E27FC236}">
                <a16:creationId xmlns:a16="http://schemas.microsoft.com/office/drawing/2014/main" id="{23749EA7-1EEE-426D-A122-5F4BF08D59E6}"/>
              </a:ext>
            </a:extLst>
          </p:cNvPr>
          <p:cNvSpPr>
            <a:spLocks noGrp="1"/>
          </p:cNvSpPr>
          <p:nvPr>
            <p:ph type="sldNum" sz="quarter" idx="11"/>
          </p:nvPr>
        </p:nvSpPr>
        <p:spPr/>
        <p:txBody>
          <a:bodyPr/>
          <a:lstStyle/>
          <a:p>
            <a:pPr marL="0" marR="0" lvl="0" indent="0" algn="r" defTabSz="768004" rtl="0" eaLnBrk="1" fontAlgn="auto" latinLnBrk="0" hangingPunct="1">
              <a:lnSpc>
                <a:spcPct val="100000"/>
              </a:lnSpc>
              <a:spcBef>
                <a:spcPts val="0"/>
              </a:spcBef>
              <a:spcAft>
                <a:spcPts val="0"/>
              </a:spcAft>
              <a:buClrTx/>
              <a:buSzTx/>
              <a:buFontTx/>
              <a:buNone/>
              <a:tabLst/>
              <a:defRPr/>
            </a:pPr>
            <a:fld id="{3E554A25-EF9F-433F-A2C4-DF94129C44D1}" type="slidenum">
              <a:rPr kumimoji="0" lang="de-CH" sz="900" b="0" i="0" u="none" strike="noStrike" kern="1200" cap="none" spc="0" normalizeH="0" baseline="0" noProof="0" smtClean="0">
                <a:ln>
                  <a:noFill/>
                </a:ln>
                <a:solidFill>
                  <a:srgbClr val="4D514E"/>
                </a:solidFill>
                <a:effectLst/>
                <a:uLnTx/>
                <a:uFillTx/>
                <a:latin typeface="Arial" panose="020B0604020202020204" pitchFamily="34" charset="0"/>
                <a:ea typeface="+mn-ea"/>
                <a:cs typeface="Arial" panose="020B0604020202020204" pitchFamily="34" charset="0"/>
              </a:rPr>
              <a:pPr marL="0" marR="0" lvl="0" indent="0" algn="r" defTabSz="768004" rtl="0" eaLnBrk="1" fontAlgn="auto" latinLnBrk="0" hangingPunct="1">
                <a:lnSpc>
                  <a:spcPct val="100000"/>
                </a:lnSpc>
                <a:spcBef>
                  <a:spcPts val="0"/>
                </a:spcBef>
                <a:spcAft>
                  <a:spcPts val="0"/>
                </a:spcAft>
                <a:buClrTx/>
                <a:buSzTx/>
                <a:buFontTx/>
                <a:buNone/>
                <a:tabLst/>
                <a:defRPr/>
              </a:pPr>
              <a:t>8</a:t>
            </a:fld>
            <a:endParaRPr kumimoji="0" lang="de-CH" sz="9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endParaRPr>
          </a:p>
        </p:txBody>
      </p:sp>
      <p:sp>
        <p:nvSpPr>
          <p:cNvPr id="12" name="Inhaltsplatzhalter 11">
            <a:extLst>
              <a:ext uri="{FF2B5EF4-FFF2-40B4-BE49-F238E27FC236}">
                <a16:creationId xmlns:a16="http://schemas.microsoft.com/office/drawing/2014/main" id="{CA6F02A4-D978-41C9-9C79-EEA6C42D7CCB}"/>
              </a:ext>
            </a:extLst>
          </p:cNvPr>
          <p:cNvSpPr>
            <a:spLocks noGrp="1"/>
          </p:cNvSpPr>
          <p:nvPr>
            <p:ph sz="quarter" idx="14"/>
          </p:nvPr>
        </p:nvSpPr>
        <p:spPr/>
        <p:txBody>
          <a:bodyPr>
            <a:noAutofit/>
          </a:bodyPr>
          <a:lstStyle/>
          <a:p>
            <a:pPr>
              <a:lnSpc>
                <a:spcPct val="100000"/>
              </a:lnSpc>
            </a:pPr>
            <a:br>
              <a:rPr lang="de-CH" dirty="0"/>
            </a:br>
            <a:r>
              <a:rPr lang="de-DE" dirty="0"/>
              <a:t>F090: Kommen wir zur Nutzung von frei erhältlichem CBD. Haben Sie in den letzten 12 Monaten oder früher einmal frei erhältliche CBD-Produkte genutzt? </a:t>
            </a:r>
          </a:p>
          <a:p>
            <a:pPr>
              <a:lnSpc>
                <a:spcPct val="100000"/>
              </a:lnSpc>
            </a:pPr>
            <a:r>
              <a:rPr lang="de-DE" dirty="0"/>
              <a:t>F110: Kenner von CBD &amp; können Sie sich vorstellen, in den nächsten 12 Monaten frei erhältliche CBD-Produkte (egal welche Darreichungsform) auszuprobieren? </a:t>
            </a:r>
          </a:p>
          <a:p>
            <a:pPr>
              <a:lnSpc>
                <a:spcPct val="100000"/>
              </a:lnSpc>
            </a:pPr>
            <a:r>
              <a:rPr lang="de-DE" dirty="0"/>
              <a:t>F120: Was spricht aus Ihrer Sicht gegen eine Nutzung von CBD? </a:t>
            </a:r>
            <a:endParaRPr lang="de-CH" dirty="0"/>
          </a:p>
          <a:p>
            <a:pPr>
              <a:lnSpc>
                <a:spcPct val="100000"/>
              </a:lnSpc>
            </a:pPr>
            <a:r>
              <a:rPr lang="de-CH" dirty="0"/>
              <a:t>Basis: n=[ ] | Filter: </a:t>
            </a:r>
            <a:r>
              <a:rPr lang="de-DE" dirty="0"/>
              <a:t>Haben CBD Produkte noch nie konsumiert (F090) &amp; können es sich nicht vorstellen CBD auszuprobieren (F110) &amp; noch nie konsumiert und können es sich auch nicht vorstellen CBD auszuprobieren (F120) </a:t>
            </a:r>
            <a:r>
              <a:rPr lang="de-CH" dirty="0"/>
              <a:t>| </a:t>
            </a:r>
            <a:br>
              <a:rPr lang="de-CH" dirty="0"/>
            </a:br>
            <a:r>
              <a:rPr lang="de-CH" dirty="0"/>
              <a:t>Geschlossene Fragen (F090</a:t>
            </a:r>
            <a:r>
              <a:rPr lang="en-US" dirty="0"/>
              <a:t>&amp;F110</a:t>
            </a:r>
            <a:r>
              <a:rPr lang="de-CH" dirty="0"/>
              <a:t>) &amp; halboffene Frage (F120)</a:t>
            </a:r>
          </a:p>
        </p:txBody>
      </p:sp>
      <p:sp>
        <p:nvSpPr>
          <p:cNvPr id="24" name="Textfeld 23">
            <a:extLst>
              <a:ext uri="{FF2B5EF4-FFF2-40B4-BE49-F238E27FC236}">
                <a16:creationId xmlns:a16="http://schemas.microsoft.com/office/drawing/2014/main" id="{2461A25D-BCCE-44BA-AD87-54BC5ADFD421}"/>
              </a:ext>
            </a:extLst>
          </p:cNvPr>
          <p:cNvSpPr txBox="1"/>
          <p:nvPr/>
        </p:nvSpPr>
        <p:spPr>
          <a:xfrm>
            <a:off x="5552324" y="1579209"/>
            <a:ext cx="5701605" cy="184666"/>
          </a:xfrm>
          <a:prstGeom prst="rect">
            <a:avLst/>
          </a:prstGeom>
          <a:noFill/>
        </p:spPr>
        <p:txBody>
          <a:bodyPr wrap="squar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Barrieren </a:t>
            </a:r>
            <a:r>
              <a:rPr kumimoji="0" lang="de-CH" sz="1200" i="0" u="none" strike="noStrike" kern="1200" cap="none" spc="0" normalizeH="0" baseline="0" noProof="0" dirty="0">
                <a:ln>
                  <a:noFill/>
                </a:ln>
                <a:solidFill>
                  <a:srgbClr val="000000"/>
                </a:solidFill>
                <a:effectLst/>
                <a:uLnTx/>
                <a:uFillTx/>
                <a:latin typeface="Arial"/>
                <a:ea typeface="+mn-ea"/>
                <a:cs typeface="+mn-cs"/>
              </a:rPr>
              <a:t>[902]</a:t>
            </a:r>
            <a:endParaRPr kumimoji="0" lang="en-GB" sz="120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Rechteck 20">
            <a:extLst>
              <a:ext uri="{FF2B5EF4-FFF2-40B4-BE49-F238E27FC236}">
                <a16:creationId xmlns:a16="http://schemas.microsoft.com/office/drawing/2014/main" id="{447A77EE-B03F-A7E6-7EE5-1B03CE23C345}"/>
              </a:ext>
            </a:extLst>
          </p:cNvPr>
          <p:cNvSpPr/>
          <p:nvPr/>
        </p:nvSpPr>
        <p:spPr>
          <a:xfrm>
            <a:off x="3430872" y="3359000"/>
            <a:ext cx="1807103" cy="7208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srgbClr val="FFFFFF">
                    <a:lumMod val="75000"/>
                  </a:srgbClr>
                </a:solidFill>
                <a:effectLst/>
                <a:uLnTx/>
                <a:uFillTx/>
                <a:latin typeface="Arial"/>
                <a:ea typeface="+mn-ea"/>
                <a:cs typeface="+mn-cs"/>
              </a:rPr>
              <a:t>der Befragten</a:t>
            </a:r>
          </a:p>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schemeClr val="accent5"/>
                </a:solidFill>
                <a:effectLst/>
                <a:uLnTx/>
                <a:uFillTx/>
                <a:latin typeface="Arial"/>
                <a:ea typeface="+mn-ea"/>
                <a:cs typeface="+mn-cs"/>
              </a:rPr>
              <a:t>haben nie </a:t>
            </a:r>
            <a:r>
              <a:rPr kumimoji="0" lang="de-CH" sz="1600" b="1" i="0" u="none" strike="noStrike" kern="1200" cap="none" spc="0" normalizeH="0" baseline="0" noProof="0" dirty="0">
                <a:ln>
                  <a:noFill/>
                </a:ln>
                <a:solidFill>
                  <a:srgbClr val="FFFFFF">
                    <a:lumMod val="75000"/>
                  </a:srgbClr>
                </a:solidFill>
                <a:effectLst/>
                <a:uLnTx/>
                <a:uFillTx/>
                <a:latin typeface="Arial"/>
                <a:ea typeface="+mn-ea"/>
                <a:cs typeface="+mn-cs"/>
              </a:rPr>
              <a:t>freierhältliches CBD genutzt</a:t>
            </a:r>
            <a:endParaRPr kumimoji="0" lang="en-GB" sz="1600" b="1" i="0" u="none" strike="noStrike" kern="1200" cap="none" spc="0" normalizeH="0" baseline="0" noProof="0" dirty="0">
              <a:ln>
                <a:noFill/>
              </a:ln>
              <a:solidFill>
                <a:schemeClr val="accent5"/>
              </a:solidFill>
              <a:effectLst/>
              <a:uLnTx/>
              <a:uFillTx/>
              <a:latin typeface="Arial"/>
              <a:ea typeface="+mn-ea"/>
              <a:cs typeface="+mn-cs"/>
            </a:endParaRPr>
          </a:p>
        </p:txBody>
      </p:sp>
      <p:sp>
        <p:nvSpPr>
          <p:cNvPr id="18" name="Rechteck 21">
            <a:extLst>
              <a:ext uri="{FF2B5EF4-FFF2-40B4-BE49-F238E27FC236}">
                <a16:creationId xmlns:a16="http://schemas.microsoft.com/office/drawing/2014/main" id="{37AC0B77-8C5F-E4F3-02CE-02F85085D584}"/>
              </a:ext>
            </a:extLst>
          </p:cNvPr>
          <p:cNvSpPr/>
          <p:nvPr/>
        </p:nvSpPr>
        <p:spPr>
          <a:xfrm>
            <a:off x="2345521" y="2896231"/>
            <a:ext cx="1584000" cy="7200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3200" b="1" i="0" u="none" strike="noStrike" kern="1200" cap="none" spc="0" normalizeH="0" baseline="0" noProof="0" dirty="0">
                <a:ln>
                  <a:noFill/>
                </a:ln>
                <a:solidFill>
                  <a:schemeClr val="accent5"/>
                </a:solidFill>
                <a:effectLst/>
                <a:uLnTx/>
                <a:uFillTx/>
                <a:latin typeface="Arial"/>
                <a:ea typeface="+mn-ea"/>
                <a:cs typeface="+mn-cs"/>
              </a:rPr>
              <a:t>74%</a:t>
            </a:r>
            <a:endParaRPr kumimoji="0" lang="en-GB" sz="3200" b="1" i="0" u="none" strike="noStrike" kern="1200" cap="none" spc="0" normalizeH="0" baseline="0" noProof="0" dirty="0">
              <a:ln>
                <a:noFill/>
              </a:ln>
              <a:solidFill>
                <a:schemeClr val="accent5"/>
              </a:solidFill>
              <a:effectLst/>
              <a:uLnTx/>
              <a:uFillTx/>
              <a:latin typeface="Arial"/>
              <a:ea typeface="+mn-ea"/>
              <a:cs typeface="+mn-cs"/>
            </a:endParaRPr>
          </a:p>
        </p:txBody>
      </p:sp>
      <p:sp>
        <p:nvSpPr>
          <p:cNvPr id="7" name="Textfeld 22">
            <a:extLst>
              <a:ext uri="{FF2B5EF4-FFF2-40B4-BE49-F238E27FC236}">
                <a16:creationId xmlns:a16="http://schemas.microsoft.com/office/drawing/2014/main" id="{518E76FF-AA03-93E8-D71C-62F03B0B85BC}"/>
              </a:ext>
            </a:extLst>
          </p:cNvPr>
          <p:cNvSpPr txBox="1"/>
          <p:nvPr/>
        </p:nvSpPr>
        <p:spPr>
          <a:xfrm>
            <a:off x="318194" y="1573450"/>
            <a:ext cx="5701605" cy="184666"/>
          </a:xfrm>
          <a:prstGeom prst="rect">
            <a:avLst/>
          </a:prstGeom>
          <a:noFill/>
        </p:spPr>
        <p:txBody>
          <a:bodyPr wrap="squar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err="1">
                <a:ln>
                  <a:noFill/>
                </a:ln>
                <a:solidFill>
                  <a:srgbClr val="000000"/>
                </a:solidFill>
                <a:effectLst/>
                <a:uLnTx/>
                <a:uFillTx/>
                <a:latin typeface="Arial"/>
                <a:ea typeface="+mn-ea"/>
                <a:cs typeface="+mn-cs"/>
              </a:rPr>
              <a:t>Barrierenanalyse</a:t>
            </a:r>
            <a:r>
              <a:rPr kumimoji="0" lang="de-CH" sz="1200" b="1" i="0" u="none" strike="noStrike" kern="1200" cap="none" spc="0" normalizeH="0" baseline="0" noProof="0" dirty="0">
                <a:ln>
                  <a:noFill/>
                </a:ln>
                <a:solidFill>
                  <a:srgbClr val="000000"/>
                </a:solidFill>
                <a:effectLst/>
                <a:uLnTx/>
                <a:uFillTx/>
                <a:latin typeface="Arial"/>
                <a:ea typeface="+mn-ea"/>
                <a:cs typeface="+mn-cs"/>
              </a:rPr>
              <a:t> </a:t>
            </a:r>
            <a:r>
              <a:rPr kumimoji="0" lang="de-CH" sz="1200" i="0" u="none" strike="noStrike" kern="1200" cap="none" spc="0" normalizeH="0" baseline="0" noProof="0" dirty="0">
                <a:ln>
                  <a:noFill/>
                </a:ln>
                <a:solidFill>
                  <a:srgbClr val="000000"/>
                </a:solidFill>
                <a:effectLst/>
                <a:uLnTx/>
                <a:uFillTx/>
                <a:latin typeface="Arial"/>
                <a:ea typeface="+mn-ea"/>
                <a:cs typeface="+mn-cs"/>
              </a:rPr>
              <a:t>[1`196]</a:t>
            </a:r>
            <a:endParaRPr kumimoji="0" lang="en-GB" sz="120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feld 7">
            <a:extLst>
              <a:ext uri="{FF2B5EF4-FFF2-40B4-BE49-F238E27FC236}">
                <a16:creationId xmlns:a16="http://schemas.microsoft.com/office/drawing/2014/main" id="{3A6AD41D-AF08-B0AD-B268-D938BFC69D99}"/>
              </a:ext>
            </a:extLst>
          </p:cNvPr>
          <p:cNvSpPr txBox="1"/>
          <p:nvPr/>
        </p:nvSpPr>
        <p:spPr>
          <a:xfrm>
            <a:off x="6639024" y="1879041"/>
            <a:ext cx="4023225" cy="430887"/>
          </a:xfrm>
          <a:prstGeom prst="rect">
            <a:avLst/>
          </a:prstGeom>
          <a:noFill/>
          <a:ln>
            <a:solidFill>
              <a:schemeClr val="accent2"/>
            </a:solidFill>
          </a:ln>
        </p:spPr>
        <p:txBody>
          <a:bodyPr wrap="square" lIns="0" tIns="0" rIns="0" bIns="0" rtlCol="0">
            <a:spAutoFit/>
          </a:bodyPr>
          <a:lstStyle/>
          <a:p>
            <a:pPr algn="l"/>
            <a:endParaRPr lang="de-CH" sz="1400" dirty="0"/>
          </a:p>
          <a:p>
            <a:pPr algn="l"/>
            <a:endParaRPr lang="de-CH" sz="1400" dirty="0"/>
          </a:p>
        </p:txBody>
      </p:sp>
      <p:sp>
        <p:nvSpPr>
          <p:cNvPr id="9" name="Sprechblase: rechteckig 8">
            <a:extLst>
              <a:ext uri="{FF2B5EF4-FFF2-40B4-BE49-F238E27FC236}">
                <a16:creationId xmlns:a16="http://schemas.microsoft.com/office/drawing/2014/main" id="{139632B8-8C45-3C20-48B1-DFB8676EF8E0}"/>
              </a:ext>
            </a:extLst>
          </p:cNvPr>
          <p:cNvSpPr/>
          <p:nvPr/>
        </p:nvSpPr>
        <p:spPr>
          <a:xfrm>
            <a:off x="10550106" y="949491"/>
            <a:ext cx="1323700" cy="887935"/>
          </a:xfrm>
          <a:prstGeom prst="wedgeRectCallout">
            <a:avLst>
              <a:gd name="adj1" fmla="val -83940"/>
              <a:gd name="adj2" fmla="val 52147"/>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0" bIns="0" rtlCol="0" anchor="t">
            <a:normAutofit/>
          </a:bodyPr>
          <a:lstStyle/>
          <a:p>
            <a:pPr algn="l"/>
            <a:r>
              <a:rPr lang="de-CH" sz="1000" dirty="0">
                <a:solidFill>
                  <a:schemeClr val="tx1"/>
                </a:solidFill>
              </a:rPr>
              <a:t>18-29 (C): 77% F</a:t>
            </a:r>
          </a:p>
          <a:p>
            <a:pPr algn="l"/>
            <a:r>
              <a:rPr lang="de-CH" sz="1000" dirty="0">
                <a:solidFill>
                  <a:schemeClr val="tx1"/>
                </a:solidFill>
              </a:rPr>
              <a:t>30-44 (D): 79% F</a:t>
            </a:r>
          </a:p>
          <a:p>
            <a:pPr algn="l"/>
            <a:r>
              <a:rPr lang="de-CH" sz="1000" dirty="0">
                <a:solidFill>
                  <a:schemeClr val="tx1"/>
                </a:solidFill>
              </a:rPr>
              <a:t>45-59 (E): 77% F</a:t>
            </a:r>
          </a:p>
          <a:p>
            <a:pPr algn="l"/>
            <a:r>
              <a:rPr lang="de-CH" sz="1000" dirty="0">
                <a:solidFill>
                  <a:schemeClr val="tx1"/>
                </a:solidFill>
              </a:rPr>
              <a:t>60-79 (F): 65%</a:t>
            </a:r>
          </a:p>
        </p:txBody>
      </p:sp>
      <p:sp>
        <p:nvSpPr>
          <p:cNvPr id="13" name="Textplatzhalter 12">
            <a:extLst>
              <a:ext uri="{FF2B5EF4-FFF2-40B4-BE49-F238E27FC236}">
                <a16:creationId xmlns:a16="http://schemas.microsoft.com/office/drawing/2014/main" id="{249C6F1A-B9C2-5447-0E1F-C199C7C41378}"/>
              </a:ext>
            </a:extLst>
          </p:cNvPr>
          <p:cNvSpPr>
            <a:spLocks noGrp="1"/>
          </p:cNvSpPr>
          <p:nvPr>
            <p:ph type="body" sz="quarter" idx="24"/>
          </p:nvPr>
        </p:nvSpPr>
        <p:spPr/>
        <p:txBody>
          <a:bodyPr/>
          <a:lstStyle/>
          <a:p>
            <a:endParaRPr lang="de-CH"/>
          </a:p>
        </p:txBody>
      </p:sp>
    </p:spTree>
    <p:extLst>
      <p:ext uri="{BB962C8B-B14F-4D97-AF65-F5344CB8AC3E}">
        <p14:creationId xmlns:p14="http://schemas.microsoft.com/office/powerpoint/2010/main" val="9302168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D31909-F4A1-1142-4CAA-0618715E9F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 name="Object 1" hidden="1">
                        <a:extLst>
                          <a:ext uri="{FF2B5EF4-FFF2-40B4-BE49-F238E27FC236}">
                            <a16:creationId xmlns:a16="http://schemas.microsoft.com/office/drawing/2014/main" id="{63D31909-F4A1-1142-4CAA-0618715E9F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32DE6835-2BA5-4907-960B-26860B9E3DE3}"/>
              </a:ext>
            </a:extLst>
          </p:cNvPr>
          <p:cNvSpPr>
            <a:spLocks noGrp="1"/>
          </p:cNvSpPr>
          <p:nvPr>
            <p:ph type="title"/>
          </p:nvPr>
        </p:nvSpPr>
        <p:spPr/>
        <p:txBody>
          <a:bodyPr vert="horz"/>
          <a:lstStyle/>
          <a:p>
            <a:r>
              <a:rPr lang="de-CH" dirty="0"/>
              <a:t>Assoziationen mit CBD (Personen, welche bereits CBD genutzt haben)</a:t>
            </a:r>
          </a:p>
        </p:txBody>
      </p:sp>
      <p:sp>
        <p:nvSpPr>
          <p:cNvPr id="3" name="Fußzeilenplatzhalter 2">
            <a:extLst>
              <a:ext uri="{FF2B5EF4-FFF2-40B4-BE49-F238E27FC236}">
                <a16:creationId xmlns:a16="http://schemas.microsoft.com/office/drawing/2014/main" id="{EEAA9A00-01CA-433A-84C7-95D45FA98B7F}"/>
              </a:ext>
            </a:extLst>
          </p:cNvPr>
          <p:cNvSpPr>
            <a:spLocks noGrp="1"/>
          </p:cNvSpPr>
          <p:nvPr>
            <p:ph type="ftr" sz="quarter" idx="10"/>
          </p:nvPr>
        </p:nvSpPr>
        <p:spPr/>
        <p:txBody>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8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rPr>
              <a:t>© LINK | CBD Image Studie 2023 | 12485 | Juni 2023</a:t>
            </a:r>
          </a:p>
        </p:txBody>
      </p:sp>
      <p:sp>
        <p:nvSpPr>
          <p:cNvPr id="4" name="Foliennummernplatzhalter 3">
            <a:extLst>
              <a:ext uri="{FF2B5EF4-FFF2-40B4-BE49-F238E27FC236}">
                <a16:creationId xmlns:a16="http://schemas.microsoft.com/office/drawing/2014/main" id="{23749EA7-1EEE-426D-A122-5F4BF08D59E6}"/>
              </a:ext>
            </a:extLst>
          </p:cNvPr>
          <p:cNvSpPr>
            <a:spLocks noGrp="1"/>
          </p:cNvSpPr>
          <p:nvPr>
            <p:ph type="sldNum" sz="quarter" idx="11"/>
          </p:nvPr>
        </p:nvSpPr>
        <p:spPr/>
        <p:txBody>
          <a:bodyPr/>
          <a:lstStyle/>
          <a:p>
            <a:pPr marL="0" marR="0" lvl="0" indent="0" algn="r" defTabSz="768004" rtl="0" eaLnBrk="1" fontAlgn="auto" latinLnBrk="0" hangingPunct="1">
              <a:lnSpc>
                <a:spcPct val="100000"/>
              </a:lnSpc>
              <a:spcBef>
                <a:spcPts val="0"/>
              </a:spcBef>
              <a:spcAft>
                <a:spcPts val="0"/>
              </a:spcAft>
              <a:buClrTx/>
              <a:buSzTx/>
              <a:buFontTx/>
              <a:buNone/>
              <a:tabLst/>
              <a:defRPr/>
            </a:pPr>
            <a:fld id="{3E554A25-EF9F-433F-A2C4-DF94129C44D1}" type="slidenum">
              <a:rPr kumimoji="0" lang="de-CH" sz="900" b="0" i="0" u="none" strike="noStrike" kern="1200" cap="none" spc="0" normalizeH="0" baseline="0" noProof="0" smtClean="0">
                <a:ln>
                  <a:noFill/>
                </a:ln>
                <a:solidFill>
                  <a:srgbClr val="4D514E"/>
                </a:solidFill>
                <a:effectLst/>
                <a:uLnTx/>
                <a:uFillTx/>
                <a:latin typeface="Arial" panose="020B0604020202020204" pitchFamily="34" charset="0"/>
                <a:ea typeface="+mn-ea"/>
                <a:cs typeface="Arial" panose="020B0604020202020204" pitchFamily="34" charset="0"/>
              </a:rPr>
              <a:pPr marL="0" marR="0" lvl="0" indent="0" algn="r" defTabSz="768004" rtl="0" eaLnBrk="1" fontAlgn="auto" latinLnBrk="0" hangingPunct="1">
                <a:lnSpc>
                  <a:spcPct val="100000"/>
                </a:lnSpc>
                <a:spcBef>
                  <a:spcPts val="0"/>
                </a:spcBef>
                <a:spcAft>
                  <a:spcPts val="0"/>
                </a:spcAft>
                <a:buClrTx/>
                <a:buSzTx/>
                <a:buFontTx/>
                <a:buNone/>
                <a:tabLst/>
                <a:defRPr/>
              </a:pPr>
              <a:t>9</a:t>
            </a:fld>
            <a:endParaRPr kumimoji="0" lang="de-CH" sz="900" b="0" i="0" u="none" strike="noStrike" kern="1200" cap="none" spc="0" normalizeH="0" baseline="0" noProof="0">
              <a:ln>
                <a:noFill/>
              </a:ln>
              <a:solidFill>
                <a:srgbClr val="4D514E"/>
              </a:solidFill>
              <a:effectLst/>
              <a:uLnTx/>
              <a:uFillTx/>
              <a:latin typeface="Arial" panose="020B0604020202020204" pitchFamily="34" charset="0"/>
              <a:ea typeface="+mn-ea"/>
              <a:cs typeface="Arial" panose="020B0604020202020204" pitchFamily="34" charset="0"/>
            </a:endParaRPr>
          </a:p>
        </p:txBody>
      </p:sp>
      <p:sp>
        <p:nvSpPr>
          <p:cNvPr id="12" name="Inhaltsplatzhalter 11">
            <a:extLst>
              <a:ext uri="{FF2B5EF4-FFF2-40B4-BE49-F238E27FC236}">
                <a16:creationId xmlns:a16="http://schemas.microsoft.com/office/drawing/2014/main" id="{CA6F02A4-D978-41C9-9C79-EEA6C42D7CCB}"/>
              </a:ext>
            </a:extLst>
          </p:cNvPr>
          <p:cNvSpPr>
            <a:spLocks noGrp="1"/>
          </p:cNvSpPr>
          <p:nvPr>
            <p:ph sz="quarter" idx="14"/>
          </p:nvPr>
        </p:nvSpPr>
        <p:spPr/>
        <p:txBody>
          <a:bodyPr>
            <a:noAutofit/>
          </a:bodyPr>
          <a:lstStyle/>
          <a:p>
            <a:pPr>
              <a:lnSpc>
                <a:spcPct val="100000"/>
              </a:lnSpc>
            </a:pPr>
            <a:r>
              <a:rPr lang="de-CH" dirty="0"/>
              <a:t>F100: </a:t>
            </a:r>
            <a:r>
              <a:rPr lang="de-DE" dirty="0"/>
              <a:t>Ganz allgemein, was kommt Ihnen spontan in den Sinn, wenn Sie an die Nutzung von frei erhältlichem CBD denken? Bitte notieren Sie alles, was Sie spontan mit der Nutzung von CBD in Verbindung bringen.  </a:t>
            </a:r>
            <a:endParaRPr lang="de-CH" dirty="0"/>
          </a:p>
          <a:p>
            <a:pPr>
              <a:lnSpc>
                <a:spcPct val="100000"/>
              </a:lnSpc>
            </a:pPr>
            <a:r>
              <a:rPr lang="de-CH" dirty="0"/>
              <a:t>Basis: n=[ ] | Filter CBD-Nutzer | Offene Frage | Top 10 ausgewiesen | *Kleine Basis n&lt;50</a:t>
            </a:r>
            <a:br>
              <a:rPr lang="de-CH" dirty="0"/>
            </a:br>
            <a:r>
              <a:rPr lang="de-DE" dirty="0"/>
              <a:t>Die hinter den Wert gesetzten Buchstaben bedeuten einen signifikanten Unterschied (95% Niveau) im Vergleich zu den jeweiligen Gruppen, für die die Buchstaben stellvertretend stehen.</a:t>
            </a:r>
            <a:endParaRPr lang="de-CH" dirty="0"/>
          </a:p>
        </p:txBody>
      </p:sp>
      <p:sp>
        <p:nvSpPr>
          <p:cNvPr id="8" name="Textfeld 7">
            <a:extLst>
              <a:ext uri="{FF2B5EF4-FFF2-40B4-BE49-F238E27FC236}">
                <a16:creationId xmlns:a16="http://schemas.microsoft.com/office/drawing/2014/main" id="{7C72A440-0DD4-CC73-87F5-1978CE3AE8C5}"/>
              </a:ext>
            </a:extLst>
          </p:cNvPr>
          <p:cNvSpPr txBox="1"/>
          <p:nvPr/>
        </p:nvSpPr>
        <p:spPr>
          <a:xfrm>
            <a:off x="2343147" y="1331239"/>
            <a:ext cx="741998"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Total </a:t>
            </a:r>
            <a:r>
              <a:rPr kumimoji="0" lang="en-US" sz="1200" b="0" i="0" u="none" strike="noStrike" kern="1200" cap="none" spc="0" normalizeH="0" baseline="0" noProof="0" dirty="0">
                <a:ln>
                  <a:noFill/>
                </a:ln>
                <a:solidFill>
                  <a:srgbClr val="000000"/>
                </a:solidFill>
                <a:effectLst/>
                <a:uLnTx/>
                <a:uFillTx/>
                <a:latin typeface="Arial"/>
                <a:ea typeface="+mn-ea"/>
                <a:cs typeface="+mn-cs"/>
              </a:rPr>
              <a:t>[406]</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Textfeld 23">
            <a:extLst>
              <a:ext uri="{FF2B5EF4-FFF2-40B4-BE49-F238E27FC236}">
                <a16:creationId xmlns:a16="http://schemas.microsoft.com/office/drawing/2014/main" id="{E3C781BB-1553-9978-58D7-673F738EA859}"/>
              </a:ext>
            </a:extLst>
          </p:cNvPr>
          <p:cNvSpPr txBox="1"/>
          <p:nvPr/>
        </p:nvSpPr>
        <p:spPr>
          <a:xfrm>
            <a:off x="5239516" y="1328156"/>
            <a:ext cx="743658" cy="177189"/>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Geschlecht</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feld 23">
            <a:extLst>
              <a:ext uri="{FF2B5EF4-FFF2-40B4-BE49-F238E27FC236}">
                <a16:creationId xmlns:a16="http://schemas.microsoft.com/office/drawing/2014/main" id="{B41E1223-AF48-63C5-B989-5D0D9A22DB86}"/>
              </a:ext>
            </a:extLst>
          </p:cNvPr>
          <p:cNvSpPr txBox="1"/>
          <p:nvPr/>
        </p:nvSpPr>
        <p:spPr>
          <a:xfrm>
            <a:off x="7533857" y="1328156"/>
            <a:ext cx="349455"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Alter</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feld 23">
            <a:extLst>
              <a:ext uri="{FF2B5EF4-FFF2-40B4-BE49-F238E27FC236}">
                <a16:creationId xmlns:a16="http://schemas.microsoft.com/office/drawing/2014/main" id="{101312E9-A8F0-79AD-E3D8-969630F9F558}"/>
              </a:ext>
            </a:extLst>
          </p:cNvPr>
          <p:cNvSpPr txBox="1"/>
          <p:nvPr/>
        </p:nvSpPr>
        <p:spPr>
          <a:xfrm>
            <a:off x="9918402" y="1328156"/>
            <a:ext cx="522579" cy="184666"/>
          </a:xfrm>
          <a:prstGeom prst="rect">
            <a:avLst/>
          </a:prstGeom>
          <a:noFill/>
        </p:spPr>
        <p:txBody>
          <a:bodyPr wrap="none" lIns="0" tIns="0" rIns="0" bIns="0" rtlCol="0">
            <a:spAutoFit/>
          </a:bodyPr>
          <a:lstStyle/>
          <a:p>
            <a:pPr marL="0" marR="0" lvl="0" indent="0" algn="l" defTabSz="768004"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dirty="0">
                <a:ln>
                  <a:noFill/>
                </a:ln>
                <a:solidFill>
                  <a:srgbClr val="000000"/>
                </a:solidFill>
                <a:effectLst/>
                <a:uLnTx/>
                <a:uFillTx/>
                <a:latin typeface="Arial"/>
                <a:ea typeface="+mn-ea"/>
                <a:cs typeface="+mn-cs"/>
              </a:rPr>
              <a:t>Region</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6" name="Inhaltsplatzhalter 7">
            <a:extLst>
              <a:ext uri="{FF2B5EF4-FFF2-40B4-BE49-F238E27FC236}">
                <a16:creationId xmlns:a16="http://schemas.microsoft.com/office/drawing/2014/main" id="{188ED1E8-E2E4-F18C-F2E8-5C7CA90C00DF}"/>
              </a:ext>
            </a:extLst>
          </p:cNvPr>
          <p:cNvGraphicFramePr>
            <a:graphicFrameLocks noGrp="1"/>
          </p:cNvGraphicFramePr>
          <p:nvPr>
            <p:ph sz="quarter" idx="22"/>
          </p:nvPr>
        </p:nvGraphicFramePr>
        <p:xfrm>
          <a:off x="304798" y="1177871"/>
          <a:ext cx="4642329" cy="486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nhaltsplatzhalter 7">
            <a:extLst>
              <a:ext uri="{FF2B5EF4-FFF2-40B4-BE49-F238E27FC236}">
                <a16:creationId xmlns:a16="http://schemas.microsoft.com/office/drawing/2014/main" id="{97992E8E-FB26-52AC-F4FC-7461F6262F9B}"/>
              </a:ext>
            </a:extLst>
          </p:cNvPr>
          <p:cNvGraphicFramePr>
            <a:graphicFrameLocks/>
          </p:cNvGraphicFramePr>
          <p:nvPr/>
        </p:nvGraphicFramePr>
        <p:xfrm>
          <a:off x="4178521" y="1177871"/>
          <a:ext cx="2829526" cy="486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Inhaltsplatzhalter 7">
            <a:extLst>
              <a:ext uri="{FF2B5EF4-FFF2-40B4-BE49-F238E27FC236}">
                <a16:creationId xmlns:a16="http://schemas.microsoft.com/office/drawing/2014/main" id="{4CF2BEF9-5E2D-DA0D-A18A-B3F459766F3B}"/>
              </a:ext>
            </a:extLst>
          </p:cNvPr>
          <p:cNvGraphicFramePr>
            <a:graphicFrameLocks/>
          </p:cNvGraphicFramePr>
          <p:nvPr/>
        </p:nvGraphicFramePr>
        <p:xfrm>
          <a:off x="7019327" y="1177871"/>
          <a:ext cx="2829526" cy="486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Inhaltsplatzhalter 7">
            <a:extLst>
              <a:ext uri="{FF2B5EF4-FFF2-40B4-BE49-F238E27FC236}">
                <a16:creationId xmlns:a16="http://schemas.microsoft.com/office/drawing/2014/main" id="{8FB9F7BD-EBCC-A3CC-4B5B-508F2F442ABE}"/>
              </a:ext>
            </a:extLst>
          </p:cNvPr>
          <p:cNvGraphicFramePr>
            <a:graphicFrameLocks/>
          </p:cNvGraphicFramePr>
          <p:nvPr/>
        </p:nvGraphicFramePr>
        <p:xfrm>
          <a:off x="9181919" y="1177871"/>
          <a:ext cx="2829526" cy="4860000"/>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feld 8">
            <a:extLst>
              <a:ext uri="{FF2B5EF4-FFF2-40B4-BE49-F238E27FC236}">
                <a16:creationId xmlns:a16="http://schemas.microsoft.com/office/drawing/2014/main" id="{801D36EE-B5D2-02C7-8A59-F2F3B1AC9D5C}"/>
              </a:ext>
            </a:extLst>
          </p:cNvPr>
          <p:cNvSpPr txBox="1"/>
          <p:nvPr/>
        </p:nvSpPr>
        <p:spPr>
          <a:xfrm>
            <a:off x="5009484" y="2006617"/>
            <a:ext cx="1471343" cy="434459"/>
          </a:xfrm>
          <a:prstGeom prst="rect">
            <a:avLst/>
          </a:prstGeom>
          <a:noFill/>
          <a:ln>
            <a:solidFill>
              <a:schemeClr val="accent2"/>
            </a:solidFill>
          </a:ln>
        </p:spPr>
        <p:txBody>
          <a:bodyPr wrap="square" lIns="0" tIns="0" rIns="0" bIns="0" rtlCol="0">
            <a:spAutoFit/>
          </a:bodyPr>
          <a:lstStyle/>
          <a:p>
            <a:pPr algn="l"/>
            <a:endParaRPr lang="de-CH" sz="1400" dirty="0"/>
          </a:p>
        </p:txBody>
      </p:sp>
      <p:sp>
        <p:nvSpPr>
          <p:cNvPr id="14" name="Textfeld 13">
            <a:extLst>
              <a:ext uri="{FF2B5EF4-FFF2-40B4-BE49-F238E27FC236}">
                <a16:creationId xmlns:a16="http://schemas.microsoft.com/office/drawing/2014/main" id="{6E9C29E8-FA0D-588D-D52F-44E49B480B97}"/>
              </a:ext>
            </a:extLst>
          </p:cNvPr>
          <p:cNvSpPr txBox="1"/>
          <p:nvPr/>
        </p:nvSpPr>
        <p:spPr>
          <a:xfrm>
            <a:off x="5009484" y="2467170"/>
            <a:ext cx="1471343" cy="434459"/>
          </a:xfrm>
          <a:prstGeom prst="rect">
            <a:avLst/>
          </a:prstGeom>
          <a:noFill/>
          <a:ln>
            <a:solidFill>
              <a:schemeClr val="accent2"/>
            </a:solidFill>
          </a:ln>
        </p:spPr>
        <p:txBody>
          <a:bodyPr wrap="square" lIns="0" tIns="0" rIns="0" bIns="0" rtlCol="0">
            <a:spAutoFit/>
          </a:bodyPr>
          <a:lstStyle/>
          <a:p>
            <a:pPr algn="l"/>
            <a:endParaRPr lang="de-CH" sz="1400" dirty="0"/>
          </a:p>
        </p:txBody>
      </p:sp>
      <p:sp>
        <p:nvSpPr>
          <p:cNvPr id="22" name="Textfeld 21">
            <a:extLst>
              <a:ext uri="{FF2B5EF4-FFF2-40B4-BE49-F238E27FC236}">
                <a16:creationId xmlns:a16="http://schemas.microsoft.com/office/drawing/2014/main" id="{3C6BA012-D28F-087B-D36B-5E4A1983740F}"/>
              </a:ext>
            </a:extLst>
          </p:cNvPr>
          <p:cNvSpPr txBox="1"/>
          <p:nvPr/>
        </p:nvSpPr>
        <p:spPr>
          <a:xfrm>
            <a:off x="7289961" y="2007751"/>
            <a:ext cx="1471343" cy="434459"/>
          </a:xfrm>
          <a:prstGeom prst="rect">
            <a:avLst/>
          </a:prstGeom>
          <a:noFill/>
          <a:ln>
            <a:solidFill>
              <a:schemeClr val="accent2"/>
            </a:solidFill>
          </a:ln>
        </p:spPr>
        <p:txBody>
          <a:bodyPr wrap="square" lIns="0" tIns="0" rIns="0" bIns="0" rtlCol="0">
            <a:spAutoFit/>
          </a:bodyPr>
          <a:lstStyle/>
          <a:p>
            <a:pPr algn="l"/>
            <a:endParaRPr lang="de-CH" sz="1400" dirty="0"/>
          </a:p>
        </p:txBody>
      </p:sp>
      <p:sp>
        <p:nvSpPr>
          <p:cNvPr id="34" name="Textfeld 33">
            <a:extLst>
              <a:ext uri="{FF2B5EF4-FFF2-40B4-BE49-F238E27FC236}">
                <a16:creationId xmlns:a16="http://schemas.microsoft.com/office/drawing/2014/main" id="{D492B23B-33A4-A804-8578-764CEDA2EB60}"/>
              </a:ext>
            </a:extLst>
          </p:cNvPr>
          <p:cNvSpPr txBox="1"/>
          <p:nvPr/>
        </p:nvSpPr>
        <p:spPr>
          <a:xfrm>
            <a:off x="7289961" y="2433672"/>
            <a:ext cx="1471343" cy="434459"/>
          </a:xfrm>
          <a:prstGeom prst="rect">
            <a:avLst/>
          </a:prstGeom>
          <a:noFill/>
          <a:ln>
            <a:solidFill>
              <a:schemeClr val="accent2"/>
            </a:solidFill>
          </a:ln>
        </p:spPr>
        <p:txBody>
          <a:bodyPr wrap="square" lIns="0" tIns="0" rIns="0" bIns="0" rtlCol="0">
            <a:spAutoFit/>
          </a:bodyPr>
          <a:lstStyle/>
          <a:p>
            <a:pPr algn="l"/>
            <a:endParaRPr lang="de-CH" sz="1400" dirty="0"/>
          </a:p>
        </p:txBody>
      </p:sp>
      <p:sp>
        <p:nvSpPr>
          <p:cNvPr id="36" name="Textplatzhalter 35">
            <a:extLst>
              <a:ext uri="{FF2B5EF4-FFF2-40B4-BE49-F238E27FC236}">
                <a16:creationId xmlns:a16="http://schemas.microsoft.com/office/drawing/2014/main" id="{820FBB76-F6E8-AC8B-4145-1534DC87D300}"/>
              </a:ext>
            </a:extLst>
          </p:cNvPr>
          <p:cNvSpPr>
            <a:spLocks noGrp="1"/>
          </p:cNvSpPr>
          <p:nvPr>
            <p:ph type="body" sz="quarter" idx="26"/>
          </p:nvPr>
        </p:nvSpPr>
        <p:spPr/>
        <p:txBody>
          <a:bodyPr/>
          <a:lstStyle/>
          <a:p>
            <a:endParaRPr lang="de-CH"/>
          </a:p>
        </p:txBody>
      </p:sp>
    </p:spTree>
    <p:extLst>
      <p:ext uri="{BB962C8B-B14F-4D97-AF65-F5344CB8AC3E}">
        <p14:creationId xmlns:p14="http://schemas.microsoft.com/office/powerpoint/2010/main" val="38833594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s">
  <a:themeElements>
    <a:clrScheme name="Custom 30">
      <a:dk1>
        <a:srgbClr val="000000"/>
      </a:dk1>
      <a:lt1>
        <a:srgbClr val="FFFFFF"/>
      </a:lt1>
      <a:dk2>
        <a:srgbClr val="4D514E"/>
      </a:dk2>
      <a:lt2>
        <a:srgbClr val="E7E6E6"/>
      </a:lt2>
      <a:accent1>
        <a:srgbClr val="3C82DC"/>
      </a:accent1>
      <a:accent2>
        <a:srgbClr val="0E59D8"/>
      </a:accent2>
      <a:accent3>
        <a:srgbClr val="AA7800"/>
      </a:accent3>
      <a:accent4>
        <a:srgbClr val="FA9E27"/>
      </a:accent4>
      <a:accent5>
        <a:srgbClr val="BE1800"/>
      </a:accent5>
      <a:accent6>
        <a:srgbClr val="70AD47"/>
      </a:accent6>
      <a:hlink>
        <a:srgbClr val="0E59D8"/>
      </a:hlink>
      <a:folHlink>
        <a:srgbClr val="FACF70"/>
      </a:folHlink>
    </a:clrScheme>
    <a:fontScheme name="LINK Institu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Feb 22_LINK_Ergebnispr„sentation_Manual Charting" id="{B10E6C19-2BF8-4318-AE35-F393EB99B152}" vid="{5184AFA9-F213-482D-A66D-C9793579AAE5}"/>
    </a:ext>
  </a:extLst>
</a:theme>
</file>

<file path=ppt/theme/theme2.xml><?xml version="1.0" encoding="utf-8"?>
<a:theme xmlns:a="http://schemas.openxmlformats.org/drawingml/2006/main" name="Master 2022">
  <a:themeElements>
    <a:clrScheme name="Custom 31">
      <a:dk1>
        <a:srgbClr val="000000"/>
      </a:dk1>
      <a:lt1>
        <a:srgbClr val="FFFFFF"/>
      </a:lt1>
      <a:dk2>
        <a:srgbClr val="4D514E"/>
      </a:dk2>
      <a:lt2>
        <a:srgbClr val="E7E6E6"/>
      </a:lt2>
      <a:accent1>
        <a:srgbClr val="3C82DC"/>
      </a:accent1>
      <a:accent2>
        <a:srgbClr val="0E59D8"/>
      </a:accent2>
      <a:accent3>
        <a:srgbClr val="AA7800"/>
      </a:accent3>
      <a:accent4>
        <a:srgbClr val="FA9E27"/>
      </a:accent4>
      <a:accent5>
        <a:srgbClr val="BE1800"/>
      </a:accent5>
      <a:accent6>
        <a:srgbClr val="70AD47"/>
      </a:accent6>
      <a:hlink>
        <a:srgbClr val="0E59D8"/>
      </a:hlink>
      <a:folHlink>
        <a:srgbClr val="FACF70"/>
      </a:folHlink>
    </a:clrScheme>
    <a:fontScheme name="LINK Institu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144000" tIns="144000" rIns="0" bIns="0" rtlCol="0" anchor="t">
        <a:normAutofit/>
      </a:bodyPr>
      <a:lstStyle>
        <a:defPPr algn="l">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defRPr sz="1400" dirty="0" smtClean="0"/>
        </a:defPPr>
      </a:lstStyle>
    </a:txDef>
  </a:objectDefaults>
  <a:extraClrSchemeLst/>
  <a:extLst>
    <a:ext uri="{05A4C25C-085E-4340-85A3-A5531E510DB2}">
      <thm15:themeFamily xmlns:thm15="http://schemas.microsoft.com/office/thememl/2012/main" name="Feb 22_LINK_Ergebnispr„sentation_Manual Charting" id="{B10E6C19-2BF8-4318-AE35-F393EB99B152}" vid="{02A34CE8-80D7-4A4C-890F-44FFE0D95D86}"/>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7c40c2f3-a812-4b08-9696-9be9c59b3c00" xsi:nil="true"/>
    <lcf76f155ced4ddcb4097134ff3c332f xmlns="958328e8-391f-483a-a495-c7fdd98bb4c4">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377D3431BBFF6946A46C8B2C3503248F" ma:contentTypeVersion="11" ma:contentTypeDescription="Ein neues Dokument erstellen." ma:contentTypeScope="" ma:versionID="e4b096a3c5fa84c79fbd7ae21c76957f">
  <xsd:schema xmlns:xsd="http://www.w3.org/2001/XMLSchema" xmlns:xs="http://www.w3.org/2001/XMLSchema" xmlns:p="http://schemas.microsoft.com/office/2006/metadata/properties" xmlns:ns2="958328e8-391f-483a-a495-c7fdd98bb4c4" xmlns:ns3="7c40c2f3-a812-4b08-9696-9be9c59b3c00" targetNamespace="http://schemas.microsoft.com/office/2006/metadata/properties" ma:root="true" ma:fieldsID="39095951fbf3c30bf3701ebce957e612" ns2:_="" ns3:_="">
    <xsd:import namespace="958328e8-391f-483a-a495-c7fdd98bb4c4"/>
    <xsd:import namespace="7c40c2f3-a812-4b08-9696-9be9c59b3c0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8328e8-391f-483a-a495-c7fdd98bb4c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69f882ce-0dba-43fc-9e17-6f8dc09573d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c40c2f3-a812-4b08-9696-9be9c59b3c00"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14" nillable="true" ma:displayName="Taxonomy Catch All Column" ma:hidden="true" ma:list="{7d89f61d-b611-488d-a33a-a98bbefacfeb}" ma:internalName="TaxCatchAll" ma:showField="CatchAllData" ma:web="7c40c2f3-a812-4b08-9696-9be9c59b3c0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F47BAD-315D-4B4A-8120-079CC061725E}">
  <ds:schemaRefs>
    <ds:schemaRef ds:uri="http://purl.org/dc/terms/"/>
    <ds:schemaRef ds:uri="da30c981-2d6c-4286-87e8-5c69c6d8559e"/>
    <ds:schemaRef ds:uri="http://www.w3.org/XML/1998/namespace"/>
    <ds:schemaRef ds:uri="8be6ffaf-f5d6-4faf-9b40-8a0636ee74e1"/>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6C1CB3BD-14BB-4051-A409-FE3074B6DDCA}">
  <ds:schemaRefs>
    <ds:schemaRef ds:uri="http://schemas.microsoft.com/sharepoint/v3/contenttype/forms"/>
  </ds:schemaRefs>
</ds:datastoreItem>
</file>

<file path=customXml/itemProps3.xml><?xml version="1.0" encoding="utf-8"?>
<ds:datastoreItem xmlns:ds="http://schemas.openxmlformats.org/officeDocument/2006/customXml" ds:itemID="{4E9522A1-C507-44D4-87F3-CB0142B86B8C}"/>
</file>

<file path=docProps/app.xml><?xml version="1.0" encoding="utf-8"?>
<Properties xmlns="http://schemas.openxmlformats.org/officeDocument/2006/extended-properties" xmlns:vt="http://schemas.openxmlformats.org/officeDocument/2006/docPropsVTypes">
  <Template>Aug 22_LINK_Ergebnispräsentation_Manual Charting</Template>
  <TotalTime>0</TotalTime>
  <Words>1569</Words>
  <Application>Microsoft Office PowerPoint</Application>
  <PresentationFormat>Breitbild</PresentationFormat>
  <Paragraphs>239</Paragraphs>
  <Slides>17</Slides>
  <Notes>0</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2</vt:i4>
      </vt:variant>
      <vt:variant>
        <vt:lpstr>Folientitel</vt:lpstr>
      </vt:variant>
      <vt:variant>
        <vt:i4>17</vt:i4>
      </vt:variant>
    </vt:vector>
  </HeadingPairs>
  <TitlesOfParts>
    <vt:vector size="25" baseType="lpstr">
      <vt:lpstr>Arial</vt:lpstr>
      <vt:lpstr>Calibri</vt:lpstr>
      <vt:lpstr>Symbol</vt:lpstr>
      <vt:lpstr>Wingdings</vt:lpstr>
      <vt:lpstr>Covers</vt:lpstr>
      <vt:lpstr>Master 2022</vt:lpstr>
      <vt:lpstr>think-cell Slide</vt:lpstr>
      <vt:lpstr>Arbeitsblatt</vt:lpstr>
      <vt:lpstr>CBD Nutzungs-Studie 2023</vt:lpstr>
      <vt:lpstr>Studiendesign</vt:lpstr>
      <vt:lpstr>Studiendesign</vt:lpstr>
      <vt:lpstr>Nutzungsanalyse</vt:lpstr>
      <vt:lpstr>Bekanntheit &amp; Nutzung</vt:lpstr>
      <vt:lpstr>Nutzung im Detail (Kenner)</vt:lpstr>
      <vt:lpstr>Nutzungsabsicht von Personen, die noch nie frei erhältliche CBD-Produkte genutzt haben</vt:lpstr>
      <vt:lpstr>Nutzungsbarrieren</vt:lpstr>
      <vt:lpstr>Assoziationen mit CBD (Personen, welche bereits CBD genutzt haben)</vt:lpstr>
      <vt:lpstr>Vertiefung Nutzung</vt:lpstr>
      <vt:lpstr>Nutzungsgründe von Personen die CBD nutzen / genutzt haben</vt:lpstr>
      <vt:lpstr>Wichtigster Nutzungs-Grund</vt:lpstr>
      <vt:lpstr>Kaufkriterien von Personen, die CBD in den letzten 12 Monaten genutzt haben</vt:lpstr>
      <vt:lpstr>Kaufauslöser</vt:lpstr>
      <vt:lpstr>Appendix</vt:lpstr>
      <vt:lpstr>Stichprobenstruktur (Kenner) </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haltsverzeichnis</dc:title>
  <dc:creator>Marco Schulz</dc:creator>
  <cp:lastModifiedBy>Laura Colledani</cp:lastModifiedBy>
  <cp:revision>70</cp:revision>
  <cp:lastPrinted>2021-02-03T14:58:47Z</cp:lastPrinted>
  <dcterms:created xsi:type="dcterms:W3CDTF">2022-08-03T12:17:18Z</dcterms:created>
  <dcterms:modified xsi:type="dcterms:W3CDTF">2023-07-18T13:2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F0F810EEEC0C47A49FF335319D3C8F</vt:lpwstr>
  </property>
  <property fmtid="{D5CDD505-2E9C-101B-9397-08002B2CF9AE}" pid="3" name="MediaServiceImageTags">
    <vt:lpwstr/>
  </property>
</Properties>
</file>